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54"/>
  </p:notesMasterIdLst>
  <p:sldIdLst>
    <p:sldId id="256" r:id="rId2"/>
    <p:sldId id="330" r:id="rId3"/>
    <p:sldId id="4106" r:id="rId4"/>
    <p:sldId id="4121" r:id="rId5"/>
    <p:sldId id="4107" r:id="rId6"/>
    <p:sldId id="3326" r:id="rId7"/>
    <p:sldId id="4109" r:id="rId8"/>
    <p:sldId id="4110" r:id="rId9"/>
    <p:sldId id="4111" r:id="rId10"/>
    <p:sldId id="4112" r:id="rId11"/>
    <p:sldId id="4113" r:id="rId12"/>
    <p:sldId id="4108" r:id="rId13"/>
    <p:sldId id="4122" r:id="rId14"/>
    <p:sldId id="4125" r:id="rId15"/>
    <p:sldId id="4095" r:id="rId16"/>
    <p:sldId id="261" r:id="rId17"/>
    <p:sldId id="263" r:id="rId18"/>
    <p:sldId id="264" r:id="rId19"/>
    <p:sldId id="265" r:id="rId20"/>
    <p:sldId id="325" r:id="rId21"/>
    <p:sldId id="266" r:id="rId22"/>
    <p:sldId id="326" r:id="rId23"/>
    <p:sldId id="267" r:id="rId24"/>
    <p:sldId id="4120" r:id="rId25"/>
    <p:sldId id="268" r:id="rId26"/>
    <p:sldId id="4129" r:id="rId27"/>
    <p:sldId id="4130" r:id="rId28"/>
    <p:sldId id="4123" r:id="rId29"/>
    <p:sldId id="257" r:id="rId30"/>
    <p:sldId id="4119" r:id="rId31"/>
    <p:sldId id="284" r:id="rId32"/>
    <p:sldId id="4117" r:id="rId33"/>
    <p:sldId id="4118" r:id="rId34"/>
    <p:sldId id="4126" r:id="rId35"/>
    <p:sldId id="4128" r:id="rId36"/>
    <p:sldId id="331" r:id="rId37"/>
    <p:sldId id="332" r:id="rId38"/>
    <p:sldId id="333" r:id="rId39"/>
    <p:sldId id="269" r:id="rId40"/>
    <p:sldId id="334" r:id="rId41"/>
    <p:sldId id="335" r:id="rId42"/>
    <p:sldId id="4127" r:id="rId43"/>
    <p:sldId id="336" r:id="rId44"/>
    <p:sldId id="337" r:id="rId45"/>
    <p:sldId id="338" r:id="rId46"/>
    <p:sldId id="339" r:id="rId47"/>
    <p:sldId id="270" r:id="rId48"/>
    <p:sldId id="340" r:id="rId49"/>
    <p:sldId id="272" r:id="rId50"/>
    <p:sldId id="273" r:id="rId51"/>
    <p:sldId id="343" r:id="rId52"/>
    <p:sldId id="4099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ppt.com" initials="W" lastIdx="1" clrIdx="0">
    <p:extLst>
      <p:ext uri="{19B8F6BF-5375-455C-9EA6-DF929625EA0E}">
        <p15:presenceInfo xmlns:p15="http://schemas.microsoft.com/office/powerpoint/2012/main" userId="Allpp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5C72"/>
    <a:srgbClr val="061F41"/>
    <a:srgbClr val="25E555"/>
    <a:srgbClr val="FFC805"/>
    <a:srgbClr val="FF9A00"/>
    <a:srgbClr val="DDDD00"/>
    <a:srgbClr val="719AC2"/>
    <a:srgbClr val="445C73"/>
    <a:srgbClr val="943639"/>
    <a:srgbClr val="941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57" autoAdjust="0"/>
    <p:restoredTop sz="94660"/>
  </p:normalViewPr>
  <p:slideViewPr>
    <p:cSldViewPr snapToGrid="0" showGuides="1">
      <p:cViewPr varScale="1">
        <p:scale>
          <a:sx n="141" d="100"/>
          <a:sy n="141" d="100"/>
        </p:scale>
        <p:origin x="200" y="760"/>
      </p:cViewPr>
      <p:guideLst>
        <p:guide orient="horz" pos="242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3FA2F-0C42-E645-8BB8-E6AE6E488ED5}" type="datetimeFigureOut">
              <a:rPr lang="en-PK" smtClean="0"/>
              <a:t>13/03/2022</a:t>
            </a:fld>
            <a:endParaRPr lang="en-P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5F67AE-C874-0745-8ED4-D9265C6D1C4C}" type="slidenum">
              <a:rPr lang="en-PK" smtClean="0"/>
              <a:t>‹#›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869498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23838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90989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83225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1" name="Google Shape;151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500341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65286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15443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793342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77445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74319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71190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463668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999312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533555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393515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5" name="Google Shape;16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6430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g33c6571278_0_17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address translation logic is also known as </a:t>
            </a:r>
            <a:r>
              <a:rPr lang="en" i="1"/>
              <a:t>page table walking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page table walk is expensive because it may require multiple memory accesses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Using large pages to </a:t>
            </a:r>
            <a:r>
              <a:rPr lang="en" sz="1200">
                <a:solidFill>
                  <a:srgbClr val="1B2024"/>
                </a:solidFill>
              </a:rPr>
              <a:t>improve the effectiveness of the TLB</a:t>
            </a:r>
            <a:endParaRPr sz="1200">
              <a:solidFill>
                <a:srgbClr val="1B2024"/>
              </a:solidFill>
            </a:endParaRPr>
          </a:p>
          <a:p>
            <a:pPr marL="914400" lvl="1" indent="-304800" algn="l" rtl="0">
              <a:spcBef>
                <a:spcPts val="0"/>
              </a:spcBef>
              <a:spcAft>
                <a:spcPts val="0"/>
              </a:spcAft>
              <a:buClr>
                <a:srgbClr val="1B2024"/>
              </a:buClr>
              <a:buSzPts val="1200"/>
              <a:buChar char="○"/>
            </a:pPr>
            <a:r>
              <a:rPr lang="en" sz="1350">
                <a:solidFill>
                  <a:srgbClr val="494E52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by increasing the page size we'll have less pages to map</a:t>
            </a:r>
            <a:endParaRPr sz="1200">
              <a:solidFill>
                <a:srgbClr val="1B2024"/>
              </a:solidFill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g33c657127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32709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3c6571278_0_2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"</a:t>
            </a:r>
            <a:r>
              <a:rPr lang="en" b="1"/>
              <a:t>Default</a:t>
            </a:r>
            <a:r>
              <a:rPr lang="en"/>
              <a:t>" huge page size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DirectMap here is related to TLB use, I'm unsure if accurate though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" name="Google Shape;403;g33c6571278_0_2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456795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g33c6571278_0_30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uge page size can only be changed at boot time</a:t>
            </a:r>
            <a:endParaRPr/>
          </a:p>
        </p:txBody>
      </p:sp>
      <p:sp>
        <p:nvSpPr>
          <p:cNvPr id="410" name="Google Shape;410;g33c6571278_0_3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8996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009751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g33c6571278_0_4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2" name="Google Shape;502;g33c6571278_0_4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37265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g33c6571278_0_2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 sz="1200"/>
              <a:t>Transparent Hugepage Support is an alternative means of using huge pages for the backing of virtual memory with huge pages that supports the automatic promotion and demotion of page size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g33c6571278_0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48602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g33c6571278_0_3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1" name="Google Shape;461;g33c6571278_0_3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641646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2" name="Google Shape;172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923044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25386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6" name="Google Shape;18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4526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" name="Google Shape;193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03647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39695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6658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63698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81702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" name="Google Shape;127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28670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3470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9A7228FB-846F-7D46-B04C-C5300274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 algn="ctr"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2D1548D0-8471-7E44-A186-73E6C937D618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259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9A7228FB-846F-7D46-B04C-C5300274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 algn="ctr"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2D1548D0-8471-7E44-A186-73E6C937D618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1A162B-5110-3646-B717-85EC74AB25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4910" y="912565"/>
            <a:ext cx="11846761" cy="539125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6599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8483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7736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1_Section head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20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960033" y="5321600"/>
            <a:ext cx="3573200" cy="8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503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4042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3EF303D-B5F2-9F41-A5AD-80DA37A6A7E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796" y="6458194"/>
            <a:ext cx="1224204" cy="379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25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4" r:id="rId2"/>
    <p:sldLayoutId id="2147483710" r:id="rId3"/>
    <p:sldLayoutId id="2147483711" r:id="rId4"/>
    <p:sldLayoutId id="2147483712" r:id="rId5"/>
    <p:sldLayoutId id="2147483713" r:id="rId6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simple.wikipedia.org/wiki/Windows_200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://pngimg.com/download/27010" TargetMode="Externa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myedmondsnews.com/2018/04/live-in-edmonds-what-do-you-call-yourself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pngimg.com/download/27010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n.wikipedia.org/wiki/Page_table" TargetMode="External"/><Relationship Id="rId4" Type="http://schemas.openxmlformats.org/officeDocument/2006/relationships/hyperlink" Target="https://en.wikipedia.org/wiki/Virtual_memor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.wikipedia.org/wiki/PostgreSQL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simple.wikipedia.org/wiki/Windows_200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://pngimg.com/download/27010" TargetMode="Externa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rcona.com/blog/2018/08/29/tune-linux-kernel-parameters-for-postgresql-optimization/" TargetMode="External"/><Relationship Id="rId2" Type="http://schemas.openxmlformats.org/officeDocument/2006/relationships/hyperlink" Target="https://www.percona.com/blog/2018/08/31/tuning-postgresql-database-parameters-to-optimize-performance/" TargetMode="Externa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inkedin.com/in/ibrarahmed74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pngimg.com/download/27010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simple.wikipedia.org/wiki/Windows_2000" TargetMode="Externa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5C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79743" y="3136612"/>
            <a:ext cx="8500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bg1"/>
                </a:solidFill>
              </a:rPr>
              <a:t>Tune PostgreSQL for Read/Write Scalability.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3200" b="1" dirty="0">
                <a:solidFill>
                  <a:schemeClr val="bg1"/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bg1"/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bg1"/>
                </a:solidFill>
              </a:rPr>
              <a:t>Percona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379743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Technical Breakout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0" name="文本框 11">
            <a:extLst>
              <a:ext uri="{FF2B5EF4-FFF2-40B4-BE49-F238E27FC236}">
                <a16:creationId xmlns:a16="http://schemas.microsoft.com/office/drawing/2014/main" id="{06A55628-0258-9B46-B8F9-1B6DAA39F5A1}"/>
              </a:ext>
            </a:extLst>
          </p:cNvPr>
          <p:cNvSpPr txBox="1"/>
          <p:nvPr/>
        </p:nvSpPr>
        <p:spPr>
          <a:xfrm>
            <a:off x="379743" y="400957"/>
            <a:ext cx="78062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Postgres Conference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4800" b="1" dirty="0">
                <a:solidFill>
                  <a:schemeClr val="bg1"/>
                </a:solidFill>
              </a:rPr>
              <a:t>Silicon Valley 2022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3200" dirty="0">
                <a:solidFill>
                  <a:schemeClr val="bg1"/>
                </a:solidFill>
              </a:rPr>
              <a:t>San Jose / United Statues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3200" dirty="0">
                <a:solidFill>
                  <a:schemeClr val="bg1"/>
                </a:solidFill>
              </a:rPr>
              <a:t>April 07-08, 2022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Picture 103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DD1F06-E49A-4241-8E87-F626F360F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 flipH="1">
            <a:off x="3700301" y="1043786"/>
            <a:ext cx="5040000" cy="51996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7B42C9-487F-1B42-9C2D-577E58219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</a:t>
            </a:r>
          </a:p>
        </p:txBody>
      </p:sp>
    </p:spTree>
    <p:extLst>
      <p:ext uri="{BB962C8B-B14F-4D97-AF65-F5344CB8AC3E}">
        <p14:creationId xmlns:p14="http://schemas.microsoft.com/office/powerpoint/2010/main" val="133485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3200" dirty="0"/>
              <a:t>PostgreSQL Architecture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30515081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ounded Rectangle 131">
            <a:extLst>
              <a:ext uri="{FF2B5EF4-FFF2-40B4-BE49-F238E27FC236}">
                <a16:creationId xmlns:a16="http://schemas.microsoft.com/office/drawing/2014/main" id="{B7658D73-81DB-BC4B-8096-463CB332030B}"/>
              </a:ext>
            </a:extLst>
          </p:cNvPr>
          <p:cNvSpPr/>
          <p:nvPr/>
        </p:nvSpPr>
        <p:spPr>
          <a:xfrm>
            <a:off x="4835999" y="2739137"/>
            <a:ext cx="7231309" cy="356468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5A316C94-720B-234D-95D8-7AC4A918370D}"/>
              </a:ext>
            </a:extLst>
          </p:cNvPr>
          <p:cNvSpPr/>
          <p:nvPr/>
        </p:nvSpPr>
        <p:spPr>
          <a:xfrm>
            <a:off x="5065916" y="3987133"/>
            <a:ext cx="6754241" cy="1031843"/>
          </a:xfrm>
          <a:prstGeom prst="roundRect">
            <a:avLst/>
          </a:prstGeom>
          <a:solidFill>
            <a:srgbClr val="FFC80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DD01642-A0F7-5D48-8331-4482F8ADFB63}"/>
              </a:ext>
            </a:extLst>
          </p:cNvPr>
          <p:cNvSpPr/>
          <p:nvPr/>
        </p:nvSpPr>
        <p:spPr>
          <a:xfrm>
            <a:off x="1626651" y="2739137"/>
            <a:ext cx="12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master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42AF91F7-F58F-5D4D-B90A-5D7235778ABE}"/>
              </a:ext>
            </a:extLst>
          </p:cNvPr>
          <p:cNvSpPr/>
          <p:nvPr/>
        </p:nvSpPr>
        <p:spPr>
          <a:xfrm>
            <a:off x="231052" y="3766336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0D09F409-1AC4-2940-A120-26D045B3954E}"/>
              </a:ext>
            </a:extLst>
          </p:cNvPr>
          <p:cNvSpPr/>
          <p:nvPr/>
        </p:nvSpPr>
        <p:spPr>
          <a:xfrm>
            <a:off x="1626651" y="380052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147799F9-1ED7-174C-AB83-1ACD44CCDA25}"/>
              </a:ext>
            </a:extLst>
          </p:cNvPr>
          <p:cNvSpPr/>
          <p:nvPr/>
        </p:nvSpPr>
        <p:spPr>
          <a:xfrm>
            <a:off x="3066651" y="380052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9C4681-3B0E-CC40-A90E-741CBD1FA794}"/>
              </a:ext>
            </a:extLst>
          </p:cNvPr>
          <p:cNvCxnSpPr>
            <a:cxnSpLocks/>
            <a:stCxn id="4" idx="1"/>
            <a:endCxn id="88" idx="0"/>
          </p:cNvCxnSpPr>
          <p:nvPr/>
        </p:nvCxnSpPr>
        <p:spPr>
          <a:xfrm flipH="1">
            <a:off x="861052" y="3009137"/>
            <a:ext cx="765599" cy="7571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5E3899F-7196-2949-BA8D-6571A895644C}"/>
              </a:ext>
            </a:extLst>
          </p:cNvPr>
          <p:cNvCxnSpPr>
            <a:cxnSpLocks/>
            <a:stCxn id="4" idx="2"/>
            <a:endCxn id="92" idx="0"/>
          </p:cNvCxnSpPr>
          <p:nvPr/>
        </p:nvCxnSpPr>
        <p:spPr>
          <a:xfrm>
            <a:off x="2256651" y="3279137"/>
            <a:ext cx="0" cy="5213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08C38F35-9A40-5342-AE6C-B5658727EC5B}"/>
              </a:ext>
            </a:extLst>
          </p:cNvPr>
          <p:cNvCxnSpPr>
            <a:cxnSpLocks/>
            <a:stCxn id="4" idx="3"/>
            <a:endCxn id="95" idx="0"/>
          </p:cNvCxnSpPr>
          <p:nvPr/>
        </p:nvCxnSpPr>
        <p:spPr>
          <a:xfrm>
            <a:off x="2886651" y="3009137"/>
            <a:ext cx="810000" cy="7913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105">
            <a:extLst>
              <a:ext uri="{FF2B5EF4-FFF2-40B4-BE49-F238E27FC236}">
                <a16:creationId xmlns:a16="http://schemas.microsoft.com/office/drawing/2014/main" id="{0C4CF5A7-6FF0-E440-8EB6-8079156EC337}"/>
              </a:ext>
            </a:extLst>
          </p:cNvPr>
          <p:cNvSpPr/>
          <p:nvPr/>
        </p:nvSpPr>
        <p:spPr>
          <a:xfrm>
            <a:off x="231050" y="4484563"/>
            <a:ext cx="2655601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S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hared</a:t>
            </a:r>
            <a:r>
              <a:rPr lang="en-PK" dirty="0"/>
              <a:t>_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sp>
        <p:nvSpPr>
          <p:cNvPr id="108" name="Rounded Rectangle 107">
            <a:extLst>
              <a:ext uri="{FF2B5EF4-FFF2-40B4-BE49-F238E27FC236}">
                <a16:creationId xmlns:a16="http://schemas.microsoft.com/office/drawing/2014/main" id="{CEB1E2EE-EAC7-3241-A8A1-29A016B661CF}"/>
              </a:ext>
            </a:extLst>
          </p:cNvPr>
          <p:cNvSpPr/>
          <p:nvPr/>
        </p:nvSpPr>
        <p:spPr>
          <a:xfrm>
            <a:off x="3066651" y="4484563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WAL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3798D0D9-5218-494A-821A-00A31E5CA6FF}"/>
              </a:ext>
            </a:extLst>
          </p:cNvPr>
          <p:cNvSpPr/>
          <p:nvPr/>
        </p:nvSpPr>
        <p:spPr>
          <a:xfrm>
            <a:off x="3066651" y="5139136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Temp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1EEDA3C3-7C04-444F-B63F-C804BA24E42D}"/>
              </a:ext>
            </a:extLst>
          </p:cNvPr>
          <p:cNvSpPr/>
          <p:nvPr/>
        </p:nvSpPr>
        <p:spPr>
          <a:xfrm>
            <a:off x="231050" y="5139136"/>
            <a:ext cx="2655601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CLOG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56D9195A-E952-0945-8EDB-1D22C561629E}"/>
              </a:ext>
            </a:extLst>
          </p:cNvPr>
          <p:cNvSpPr/>
          <p:nvPr/>
        </p:nvSpPr>
        <p:spPr>
          <a:xfrm>
            <a:off x="5178176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Logging Collector</a:t>
            </a: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FC381193-E95D-4946-8B41-5B5166E2E275}"/>
              </a:ext>
            </a:extLst>
          </p:cNvPr>
          <p:cNvSpPr/>
          <p:nvPr/>
        </p:nvSpPr>
        <p:spPr>
          <a:xfrm>
            <a:off x="6182845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Auto VACUUM</a:t>
            </a: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825883AF-850D-0840-8748-C31AB5AF61BE}"/>
              </a:ext>
            </a:extLst>
          </p:cNvPr>
          <p:cNvSpPr/>
          <p:nvPr/>
        </p:nvSpPr>
        <p:spPr>
          <a:xfrm>
            <a:off x="7187514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WAL Writter</a:t>
            </a:r>
          </a:p>
        </p:txBody>
      </p: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E5D0C6F5-7D6C-CE49-8274-98232B587E2D}"/>
              </a:ext>
            </a:extLst>
          </p:cNvPr>
          <p:cNvSpPr/>
          <p:nvPr/>
        </p:nvSpPr>
        <p:spPr>
          <a:xfrm>
            <a:off x="8192183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</a:t>
            </a:r>
            <a:r>
              <a:rPr lang="en-PK" dirty="0"/>
              <a:t>g Writters</a:t>
            </a:r>
          </a:p>
        </p:txBody>
      </p:sp>
      <p:sp>
        <p:nvSpPr>
          <p:cNvPr id="123" name="Rounded Rectangle 122">
            <a:extLst>
              <a:ext uri="{FF2B5EF4-FFF2-40B4-BE49-F238E27FC236}">
                <a16:creationId xmlns:a16="http://schemas.microsoft.com/office/drawing/2014/main" id="{D90B5D87-1F09-5249-B9B3-4B3353177ECC}"/>
              </a:ext>
            </a:extLst>
          </p:cNvPr>
          <p:cNvSpPr/>
          <p:nvPr/>
        </p:nvSpPr>
        <p:spPr>
          <a:xfrm>
            <a:off x="9196852" y="1407630"/>
            <a:ext cx="2160000" cy="540000"/>
          </a:xfrm>
          <a:prstGeom prst="roundRect">
            <a:avLst/>
          </a:prstGeom>
          <a:solidFill>
            <a:srgbClr val="445C73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Checkpointer</a:t>
            </a:r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BC4E96A7-9174-6445-8E03-04CACBCA5573}"/>
              </a:ext>
            </a:extLst>
          </p:cNvPr>
          <p:cNvSpPr/>
          <p:nvPr/>
        </p:nvSpPr>
        <p:spPr>
          <a:xfrm>
            <a:off x="4173507" y="1407630"/>
            <a:ext cx="2160000" cy="540000"/>
          </a:xfrm>
          <a:prstGeom prst="roundRect">
            <a:avLst/>
          </a:prstGeom>
          <a:solidFill>
            <a:srgbClr val="C000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/>
              <a:t>Archiver process</a:t>
            </a: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236F9C7B-D565-E34D-B2F7-D2FFCA61383C}"/>
              </a:ext>
            </a:extLst>
          </p:cNvPr>
          <p:cNvSpPr/>
          <p:nvPr/>
        </p:nvSpPr>
        <p:spPr>
          <a:xfrm>
            <a:off x="10201519" y="1407630"/>
            <a:ext cx="2160000" cy="540000"/>
          </a:xfrm>
          <a:prstGeom prst="roundRect">
            <a:avLst/>
          </a:prstGeom>
          <a:solidFill>
            <a:srgbClr val="941100"/>
          </a:solidFill>
          <a:ln>
            <a:solidFill>
              <a:srgbClr val="445C73"/>
            </a:solidFill>
          </a:ln>
          <a:scene3d>
            <a:camera prst="isometricLeftDown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</a:t>
            </a:r>
            <a:r>
              <a:rPr lang="en-PK" dirty="0"/>
              <a:t>tat collector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66" name="3D Model 65" descr="Group">
                <a:extLst>
                  <a:ext uri="{FF2B5EF4-FFF2-40B4-BE49-F238E27FC236}">
                    <a16:creationId xmlns:a16="http://schemas.microsoft.com/office/drawing/2014/main" id="{21AE3F71-6374-5341-8648-D03C508ECAC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4505218"/>
                  </p:ext>
                </p:extLst>
              </p:nvPr>
            </p:nvGraphicFramePr>
            <p:xfrm>
              <a:off x="403557" y="889693"/>
              <a:ext cx="3623057" cy="1194772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3623057" cy="1194772"/>
                    </a:xfrm>
                    <a:prstGeom prst="rect">
                      <a:avLst/>
                    </a:prstGeom>
                    <a:noFill/>
                  </am3d:spPr>
                  <am3d:camera>
                    <am3d:pos x="0" y="0" z="67562836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17406" d="1000000"/>
                    <am3d:preTrans dx="0" dy="-4526626" dz="0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5272842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66" name="3D Model 65" descr="Group">
                <a:extLst>
                  <a:ext uri="{FF2B5EF4-FFF2-40B4-BE49-F238E27FC236}">
                    <a16:creationId xmlns:a16="http://schemas.microsoft.com/office/drawing/2014/main" id="{21AE3F71-6374-5341-8648-D03C508ECAC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3557" y="889693"/>
                <a:ext cx="3623057" cy="1194772"/>
              </a:xfrm>
              <a:prstGeom prst="rect">
                <a:avLst/>
              </a:prstGeom>
              <a:noFill/>
            </p:spPr>
          </p:pic>
        </mc:Fallback>
      </mc:AlternateContent>
      <p:sp>
        <p:nvSpPr>
          <p:cNvPr id="133" name="Rounded Rectangle 132">
            <a:extLst>
              <a:ext uri="{FF2B5EF4-FFF2-40B4-BE49-F238E27FC236}">
                <a16:creationId xmlns:a16="http://schemas.microsoft.com/office/drawing/2014/main" id="{18EAF1C6-76B5-904E-9703-60E5E17D6392}"/>
              </a:ext>
            </a:extLst>
          </p:cNvPr>
          <p:cNvSpPr/>
          <p:nvPr/>
        </p:nvSpPr>
        <p:spPr>
          <a:xfrm>
            <a:off x="5065916" y="2893653"/>
            <a:ext cx="4239433" cy="1062662"/>
          </a:xfrm>
          <a:prstGeom prst="roundRect">
            <a:avLst/>
          </a:prstGeom>
          <a:solidFill>
            <a:srgbClr val="25E55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id="{5A0AB72D-02FC-7D47-964F-62DAD0A1DA8C}"/>
              </a:ext>
            </a:extLst>
          </p:cNvPr>
          <p:cNvSpPr/>
          <p:nvPr/>
        </p:nvSpPr>
        <p:spPr>
          <a:xfrm>
            <a:off x="9375184" y="2893653"/>
            <a:ext cx="2396565" cy="1017830"/>
          </a:xfrm>
          <a:prstGeom prst="roundRect">
            <a:avLst/>
          </a:prstGeom>
          <a:solidFill>
            <a:srgbClr val="25E555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42" name="Rounded Rectangle 141">
            <a:extLst>
              <a:ext uri="{FF2B5EF4-FFF2-40B4-BE49-F238E27FC236}">
                <a16:creationId xmlns:a16="http://schemas.microsoft.com/office/drawing/2014/main" id="{5082102F-7B9E-B841-BD08-BF2B082D7085}"/>
              </a:ext>
            </a:extLst>
          </p:cNvPr>
          <p:cNvSpPr/>
          <p:nvPr/>
        </p:nvSpPr>
        <p:spPr>
          <a:xfrm>
            <a:off x="5155191" y="3189721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K" sz="1200" dirty="0">
                <a:solidFill>
                  <a:schemeClr val="tx1"/>
                </a:solidFill>
              </a:rPr>
              <a:t>13007/12831</a:t>
            </a:r>
          </a:p>
        </p:txBody>
      </p:sp>
      <p:sp>
        <p:nvSpPr>
          <p:cNvPr id="143" name="Rounded Rectangle 142">
            <a:extLst>
              <a:ext uri="{FF2B5EF4-FFF2-40B4-BE49-F238E27FC236}">
                <a16:creationId xmlns:a16="http://schemas.microsoft.com/office/drawing/2014/main" id="{5A7367F8-349E-B245-B268-6FF4C655E31E}"/>
              </a:ext>
            </a:extLst>
          </p:cNvPr>
          <p:cNvSpPr/>
          <p:nvPr/>
        </p:nvSpPr>
        <p:spPr>
          <a:xfrm>
            <a:off x="6550790" y="3189721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K" sz="1200" dirty="0">
                <a:solidFill>
                  <a:schemeClr val="tx1"/>
                </a:solidFill>
              </a:rPr>
              <a:t>13007/12833</a:t>
            </a:r>
          </a:p>
        </p:txBody>
      </p:sp>
      <p:sp>
        <p:nvSpPr>
          <p:cNvPr id="144" name="Rounded Rectangle 143">
            <a:extLst>
              <a:ext uri="{FF2B5EF4-FFF2-40B4-BE49-F238E27FC236}">
                <a16:creationId xmlns:a16="http://schemas.microsoft.com/office/drawing/2014/main" id="{4159CBCB-1728-CF44-BD06-D144D7F0BB34}"/>
              </a:ext>
            </a:extLst>
          </p:cNvPr>
          <p:cNvSpPr/>
          <p:nvPr/>
        </p:nvSpPr>
        <p:spPr>
          <a:xfrm>
            <a:off x="7990790" y="3189721"/>
            <a:ext cx="126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K" sz="1200" dirty="0">
                <a:solidFill>
                  <a:schemeClr val="tx1"/>
                </a:solidFill>
              </a:rPr>
              <a:t>13007/12832</a:t>
            </a:r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8C459488-986A-814D-9DF2-DD5AB0E2BB5D}"/>
              </a:ext>
            </a:extLst>
          </p:cNvPr>
          <p:cNvSpPr/>
          <p:nvPr/>
        </p:nvSpPr>
        <p:spPr>
          <a:xfrm>
            <a:off x="5222565" y="4345186"/>
            <a:ext cx="2115611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en-PK" sz="900" dirty="0"/>
            </a:br>
            <a:r>
              <a:rPr lang="en-PK" sz="900" dirty="0"/>
              <a:t>000000010000000000000085</a:t>
            </a:r>
          </a:p>
          <a:p>
            <a:pPr algn="ctr"/>
            <a:endParaRPr lang="en-PK" dirty="0">
              <a:solidFill>
                <a:schemeClr val="tx1"/>
              </a:solidFill>
            </a:endParaRPr>
          </a:p>
        </p:txBody>
      </p:sp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BD6B0FDA-06A1-6F4C-B0CA-7814ACE7208C}"/>
              </a:ext>
            </a:extLst>
          </p:cNvPr>
          <p:cNvSpPr/>
          <p:nvPr/>
        </p:nvSpPr>
        <p:spPr>
          <a:xfrm>
            <a:off x="7445844" y="4345186"/>
            <a:ext cx="189176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br>
              <a:rPr lang="en-PK" sz="900" dirty="0"/>
            </a:br>
            <a:r>
              <a:rPr lang="en-PK" sz="900" dirty="0"/>
              <a:t>000000010000000000000090</a:t>
            </a:r>
          </a:p>
          <a:p>
            <a:pPr algn="ctr"/>
            <a:endParaRPr lang="en-PK" dirty="0">
              <a:solidFill>
                <a:schemeClr val="tx1"/>
              </a:solidFill>
            </a:endParaRPr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9870087C-0592-CA44-B6C2-CEDEEDAC9E43}"/>
              </a:ext>
            </a:extLst>
          </p:cNvPr>
          <p:cNvSpPr/>
          <p:nvPr/>
        </p:nvSpPr>
        <p:spPr>
          <a:xfrm>
            <a:off x="9445273" y="4345186"/>
            <a:ext cx="2115611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en-GB" sz="900" dirty="0"/>
            </a:br>
            <a:r>
              <a:rPr lang="en-GB" sz="900" dirty="0"/>
              <a:t>00000001000000000000009B</a:t>
            </a:r>
          </a:p>
          <a:p>
            <a:pPr algn="ctr"/>
            <a:endParaRPr lang="en-PK" dirty="0">
              <a:solidFill>
                <a:schemeClr val="tx1"/>
              </a:solidFill>
            </a:endParaRPr>
          </a:p>
        </p:txBody>
      </p: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33DF2FB8-EECD-B24A-82E2-E4E245CB2118}"/>
              </a:ext>
            </a:extLst>
          </p:cNvPr>
          <p:cNvSpPr/>
          <p:nvPr/>
        </p:nvSpPr>
        <p:spPr>
          <a:xfrm>
            <a:off x="5065916" y="5080613"/>
            <a:ext cx="6754241" cy="1031843"/>
          </a:xfrm>
          <a:prstGeom prst="roundRect">
            <a:avLst/>
          </a:prstGeom>
          <a:solidFill>
            <a:srgbClr val="DDDD00"/>
          </a:solidFill>
          <a:ln>
            <a:solidFill>
              <a:srgbClr val="445C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4683D613-B28F-9840-9D66-A9EDDB682C42}"/>
              </a:ext>
            </a:extLst>
          </p:cNvPr>
          <p:cNvSpPr/>
          <p:nvPr/>
        </p:nvSpPr>
        <p:spPr>
          <a:xfrm>
            <a:off x="5194856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2" name="Rounded Rectangle 151">
            <a:extLst>
              <a:ext uri="{FF2B5EF4-FFF2-40B4-BE49-F238E27FC236}">
                <a16:creationId xmlns:a16="http://schemas.microsoft.com/office/drawing/2014/main" id="{01792342-86CB-D940-86BC-465E86420A98}"/>
              </a:ext>
            </a:extLst>
          </p:cNvPr>
          <p:cNvSpPr/>
          <p:nvPr/>
        </p:nvSpPr>
        <p:spPr>
          <a:xfrm>
            <a:off x="6584671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4" name="Rounded Rectangle 153">
            <a:extLst>
              <a:ext uri="{FF2B5EF4-FFF2-40B4-BE49-F238E27FC236}">
                <a16:creationId xmlns:a16="http://schemas.microsoft.com/office/drawing/2014/main" id="{42A39F57-68AC-C545-9525-F11BF65CA197}"/>
              </a:ext>
            </a:extLst>
          </p:cNvPr>
          <p:cNvSpPr/>
          <p:nvPr/>
        </p:nvSpPr>
        <p:spPr>
          <a:xfrm>
            <a:off x="9364301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0" name="Rounded Rectangle 159">
            <a:extLst>
              <a:ext uri="{FF2B5EF4-FFF2-40B4-BE49-F238E27FC236}">
                <a16:creationId xmlns:a16="http://schemas.microsoft.com/office/drawing/2014/main" id="{85D00FB4-55DA-AC4B-AAC5-94CC99960FD4}"/>
              </a:ext>
            </a:extLst>
          </p:cNvPr>
          <p:cNvSpPr/>
          <p:nvPr/>
        </p:nvSpPr>
        <p:spPr>
          <a:xfrm>
            <a:off x="7974486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1" name="Rounded Rectangle 160">
            <a:extLst>
              <a:ext uri="{FF2B5EF4-FFF2-40B4-BE49-F238E27FC236}">
                <a16:creationId xmlns:a16="http://schemas.microsoft.com/office/drawing/2014/main" id="{52F71BC6-6ACF-5349-9001-A2F6F9568BB7}"/>
              </a:ext>
            </a:extLst>
          </p:cNvPr>
          <p:cNvSpPr/>
          <p:nvPr/>
        </p:nvSpPr>
        <p:spPr>
          <a:xfrm>
            <a:off x="10754114" y="5429346"/>
            <a:ext cx="900000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62" name="Rounded Rectangle 161">
            <a:extLst>
              <a:ext uri="{FF2B5EF4-FFF2-40B4-BE49-F238E27FC236}">
                <a16:creationId xmlns:a16="http://schemas.microsoft.com/office/drawing/2014/main" id="{55C4D2D7-9B01-A44A-9F79-A7B87BB9158C}"/>
              </a:ext>
            </a:extLst>
          </p:cNvPr>
          <p:cNvSpPr/>
          <p:nvPr/>
        </p:nvSpPr>
        <p:spPr>
          <a:xfrm>
            <a:off x="271641" y="5793709"/>
            <a:ext cx="4074542" cy="540000"/>
          </a:xfrm>
          <a:prstGeom prst="roundRect">
            <a:avLst/>
          </a:prstGeom>
          <a:solidFill>
            <a:srgbClr val="719AC2"/>
          </a:solidFill>
          <a:ln>
            <a:solidFill>
              <a:srgbClr val="445C7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Buffers</a:t>
            </a: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709CF52-9DD5-1D41-A09A-52EF5B9EBCBA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2256651" y="2084465"/>
            <a:ext cx="0" cy="6546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ounded Rectangle 163">
            <a:extLst>
              <a:ext uri="{FF2B5EF4-FFF2-40B4-BE49-F238E27FC236}">
                <a16:creationId xmlns:a16="http://schemas.microsoft.com/office/drawing/2014/main" id="{5C4804C1-2E61-2A48-AB11-F1E6CA509913}"/>
              </a:ext>
            </a:extLst>
          </p:cNvPr>
          <p:cNvSpPr/>
          <p:nvPr/>
        </p:nvSpPr>
        <p:spPr>
          <a:xfrm>
            <a:off x="9443886" y="3189721"/>
            <a:ext cx="1121463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dirty="0">
                <a:solidFill>
                  <a:schemeClr val="tx1"/>
                </a:solidFill>
              </a:rPr>
              <a:t>12832</a:t>
            </a:r>
            <a:endParaRPr lang="en-PK" sz="1200" dirty="0"/>
          </a:p>
        </p:txBody>
      </p:sp>
      <p:sp>
        <p:nvSpPr>
          <p:cNvPr id="165" name="Rounded Rectangle 164">
            <a:extLst>
              <a:ext uri="{FF2B5EF4-FFF2-40B4-BE49-F238E27FC236}">
                <a16:creationId xmlns:a16="http://schemas.microsoft.com/office/drawing/2014/main" id="{FFBA289B-2311-9145-BFFD-0621B0C979AD}"/>
              </a:ext>
            </a:extLst>
          </p:cNvPr>
          <p:cNvSpPr/>
          <p:nvPr/>
        </p:nvSpPr>
        <p:spPr>
          <a:xfrm>
            <a:off x="10634052" y="3189721"/>
            <a:ext cx="1070646" cy="540000"/>
          </a:xfrm>
          <a:prstGeom prst="roundRect">
            <a:avLst/>
          </a:prstGeom>
          <a:solidFill>
            <a:srgbClr val="719AC2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sz="1200" dirty="0">
                <a:solidFill>
                  <a:schemeClr val="tx1"/>
                </a:solidFill>
              </a:rPr>
              <a:t>12832</a:t>
            </a:r>
            <a:endParaRPr lang="en-PK" sz="1200" dirty="0"/>
          </a:p>
        </p:txBody>
      </p:sp>
      <p:sp>
        <p:nvSpPr>
          <p:cNvPr id="80" name="Title 79">
            <a:extLst>
              <a:ext uri="{FF2B5EF4-FFF2-40B4-BE49-F238E27FC236}">
                <a16:creationId xmlns:a16="http://schemas.microsoft.com/office/drawing/2014/main" id="{088E4EDE-BB62-7840-B05E-96E78E9E9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Archite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B6C173-AE26-194D-9BE8-EC4464E93FF7}"/>
              </a:ext>
            </a:extLst>
          </p:cNvPr>
          <p:cNvSpPr txBox="1"/>
          <p:nvPr/>
        </p:nvSpPr>
        <p:spPr>
          <a:xfrm>
            <a:off x="7831314" y="5029196"/>
            <a:ext cx="1015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Log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Fil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A499E8B-74E3-B645-B1BE-0B5D81A141BA}"/>
              </a:ext>
            </a:extLst>
          </p:cNvPr>
          <p:cNvSpPr txBox="1"/>
          <p:nvPr/>
        </p:nvSpPr>
        <p:spPr>
          <a:xfrm>
            <a:off x="6313938" y="2880810"/>
            <a:ext cx="2044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Data Files ($PGDATA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9E7CC40-1CE1-084F-A265-EAA69FC451CA}"/>
              </a:ext>
            </a:extLst>
          </p:cNvPr>
          <p:cNvSpPr txBox="1"/>
          <p:nvPr/>
        </p:nvSpPr>
        <p:spPr>
          <a:xfrm>
            <a:off x="7795497" y="3969158"/>
            <a:ext cx="18293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WAL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Files (pg_wal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86AE556-66E1-8840-BF82-480104F7888E}"/>
              </a:ext>
            </a:extLst>
          </p:cNvPr>
          <p:cNvSpPr txBox="1"/>
          <p:nvPr/>
        </p:nvSpPr>
        <p:spPr>
          <a:xfrm>
            <a:off x="9445658" y="2800150"/>
            <a:ext cx="2387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en-PK" dirty="0"/>
              <a:t> </a:t>
            </a:r>
            <a:r>
              <a:rPr lang="en-PK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Files (table space)</a:t>
            </a:r>
          </a:p>
        </p:txBody>
      </p:sp>
    </p:spTree>
    <p:extLst>
      <p:ext uri="{BB962C8B-B14F-4D97-AF65-F5344CB8AC3E}">
        <p14:creationId xmlns:p14="http://schemas.microsoft.com/office/powerpoint/2010/main" val="10154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ym typeface="Arial"/>
              </a:rPr>
              <a:t>PostgreSQL Performance Tuning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836334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687A959-3B8F-1244-ADE2-52529F4484FE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314400" y="1693199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00" y="1693199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026" y="3467452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2906" y="1693199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solidFill>
                  <a:schemeClr val="bg2"/>
                </a:solidFill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0788" y="3467452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748332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nning Parameter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738152" y="3172119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 Tunning Parameter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380159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Partitioning</a:t>
              </a:r>
              <a:endParaRPr lang="ko-KR" altLang="en-US" sz="1400" b="1" dirty="0">
                <a:solidFill>
                  <a:schemeClr val="tx2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380159" y="4930523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rtition your database when requir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037407" y="2844839"/>
              <a:ext cx="2238882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 Indexe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037406" y="3172119"/>
              <a:ext cx="2134705" cy="660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Impact of index on Database Performanc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679413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Monitor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679413" y="4930523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nitor your database to identify the bottleneck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326765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Query Analysi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334384" y="3172119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alyze your queries for optimal database performance</a:t>
              </a:r>
            </a:p>
          </p:txBody>
        </p:sp>
        <p:pic>
          <p:nvPicPr>
            <p:cNvPr id="76" name="Picture 7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77E5C37-8266-4E4C-B540-27AFA6CB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 flipH="1">
              <a:off x="7498109" y="3982648"/>
              <a:ext cx="494290" cy="509943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17A8074-FACB-1540-87D6-EC54D67A7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784327" y="2099901"/>
              <a:ext cx="623346" cy="30777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90FBA5B1-33B6-3A41-84CA-8252509AD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5803331" y="2459537"/>
              <a:ext cx="585337" cy="293436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002731" y="3998587"/>
              <a:ext cx="1146623" cy="660792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359746" y="1933640"/>
              <a:ext cx="826799" cy="846919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8901173" y="2045864"/>
              <a:ext cx="983921" cy="723627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947C71-FCDD-2740-86A0-9426083EA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 Performance</a:t>
            </a:r>
          </a:p>
        </p:txBody>
      </p:sp>
    </p:spTree>
    <p:extLst>
      <p:ext uri="{BB962C8B-B14F-4D97-AF65-F5344CB8AC3E}">
        <p14:creationId xmlns:p14="http://schemas.microsoft.com/office/powerpoint/2010/main" val="18178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96A22A9D-4D6D-4815-AE6C-F635C610B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138" y="4418538"/>
            <a:ext cx="2885901" cy="1570504"/>
          </a:xfrm>
          <a:prstGeom prst="roundRect">
            <a:avLst>
              <a:gd name="adj" fmla="val 963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1C319915-092C-488C-BCB0-ED9AAA6BC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4418538"/>
            <a:ext cx="2883909" cy="1570504"/>
          </a:xfrm>
          <a:prstGeom prst="roundRect">
            <a:avLst>
              <a:gd name="adj" fmla="val 1026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0" name="Freeform 74">
            <a:extLst>
              <a:ext uri="{FF2B5EF4-FFF2-40B4-BE49-F238E27FC236}">
                <a16:creationId xmlns:a16="http://schemas.microsoft.com/office/drawing/2014/main" id="{38974F59-A0AD-4C75-A136-90888154B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280" y="4418538"/>
            <a:ext cx="2885901" cy="1570504"/>
          </a:xfrm>
          <a:prstGeom prst="roundRect">
            <a:avLst>
              <a:gd name="adj" fmla="val 987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8" name="Freeform 71">
            <a:extLst>
              <a:ext uri="{FF2B5EF4-FFF2-40B4-BE49-F238E27FC236}">
                <a16:creationId xmlns:a16="http://schemas.microsoft.com/office/drawing/2014/main" id="{9F5B66EF-FE0A-44E8-8165-359AF63DD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337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3050 h 1516"/>
              <a:gd name="T16" fmla="*/ 545740 w 1517"/>
              <a:gd name="T17" fmla="*/ 27305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0" name="Freeform 73">
            <a:extLst>
              <a:ext uri="{FF2B5EF4-FFF2-40B4-BE49-F238E27FC236}">
                <a16:creationId xmlns:a16="http://schemas.microsoft.com/office/drawing/2014/main" id="{40227C0D-9619-4B62-88E2-8AABC6F3E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3050 h 1516"/>
              <a:gd name="T18" fmla="*/ 545740 w 1517"/>
              <a:gd name="T19" fmla="*/ 27305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2" name="Freeform 75">
            <a:extLst>
              <a:ext uri="{FF2B5EF4-FFF2-40B4-BE49-F238E27FC236}">
                <a16:creationId xmlns:a16="http://schemas.microsoft.com/office/drawing/2014/main" id="{25BE3F63-D919-4FF5-9C08-A8CA3B2EB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3480" y="4860989"/>
            <a:ext cx="685601" cy="685601"/>
          </a:xfrm>
          <a:custGeom>
            <a:avLst/>
            <a:gdLst>
              <a:gd name="T0" fmla="*/ 272690 w 1516"/>
              <a:gd name="T1" fmla="*/ 545740 h 1516"/>
              <a:gd name="T2" fmla="*/ 272690 w 1516"/>
              <a:gd name="T3" fmla="*/ 545740 h 1516"/>
              <a:gd name="T4" fmla="*/ 272690 w 1516"/>
              <a:gd name="T5" fmla="*/ 545740 h 1516"/>
              <a:gd name="T6" fmla="*/ 0 w 1516"/>
              <a:gd name="T7" fmla="*/ 273050 h 1516"/>
              <a:gd name="T8" fmla="*/ 0 w 1516"/>
              <a:gd name="T9" fmla="*/ 273050 h 1516"/>
              <a:gd name="T10" fmla="*/ 272690 w 1516"/>
              <a:gd name="T11" fmla="*/ 0 h 1516"/>
              <a:gd name="T12" fmla="*/ 272690 w 1516"/>
              <a:gd name="T13" fmla="*/ 0 h 1516"/>
              <a:gd name="T14" fmla="*/ 272690 w 1516"/>
              <a:gd name="T15" fmla="*/ 0 h 1516"/>
              <a:gd name="T16" fmla="*/ 545740 w 1516"/>
              <a:gd name="T17" fmla="*/ 273050 h 1516"/>
              <a:gd name="T18" fmla="*/ 545740 w 1516"/>
              <a:gd name="T19" fmla="*/ 273050 h 1516"/>
              <a:gd name="T20" fmla="*/ 272690 w 1516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6" h="1516">
                <a:moveTo>
                  <a:pt x="757" y="1515"/>
                </a:moveTo>
                <a:lnTo>
                  <a:pt x="757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7" y="0"/>
                </a:cubicBezTo>
                <a:cubicBezTo>
                  <a:pt x="1176" y="0"/>
                  <a:pt x="1515" y="339"/>
                  <a:pt x="1515" y="758"/>
                </a:cubicBezTo>
                <a:cubicBezTo>
                  <a:pt x="1515" y="1177"/>
                  <a:pt x="1176" y="1515"/>
                  <a:pt x="757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6" name="Freeform 395">
            <a:extLst>
              <a:ext uri="{FF2B5EF4-FFF2-40B4-BE49-F238E27FC236}">
                <a16:creationId xmlns:a16="http://schemas.microsoft.com/office/drawing/2014/main" id="{73BC68BF-3C68-47B3-AB13-72F2AC1F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4914801"/>
            <a:ext cx="577978" cy="577978"/>
          </a:xfrm>
          <a:custGeom>
            <a:avLst/>
            <a:gdLst>
              <a:gd name="T0" fmla="*/ 460014 w 1277"/>
              <a:gd name="T1" fmla="*/ 229827 h 1278"/>
              <a:gd name="T2" fmla="*/ 460014 w 1277"/>
              <a:gd name="T3" fmla="*/ 229827 h 1278"/>
              <a:gd name="T4" fmla="*/ 230007 w 1277"/>
              <a:gd name="T5" fmla="*/ 460015 h 1278"/>
              <a:gd name="T6" fmla="*/ 230007 w 1277"/>
              <a:gd name="T7" fmla="*/ 460015 h 1278"/>
              <a:gd name="T8" fmla="*/ 0 w 1277"/>
              <a:gd name="T9" fmla="*/ 229827 h 1278"/>
              <a:gd name="T10" fmla="*/ 0 w 1277"/>
              <a:gd name="T11" fmla="*/ 229827 h 1278"/>
              <a:gd name="T12" fmla="*/ 230007 w 1277"/>
              <a:gd name="T13" fmla="*/ 0 h 1278"/>
              <a:gd name="T14" fmla="*/ 230007 w 1277"/>
              <a:gd name="T15" fmla="*/ 0 h 1278"/>
              <a:gd name="T16" fmla="*/ 460014 w 1277"/>
              <a:gd name="T17" fmla="*/ 229827 h 12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8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7"/>
                  <a:pt x="638" y="1277"/>
                </a:cubicBezTo>
                <a:cubicBezTo>
                  <a:pt x="285" y="1277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0" name="Freeform 397">
            <a:extLst>
              <a:ext uri="{FF2B5EF4-FFF2-40B4-BE49-F238E27FC236}">
                <a16:creationId xmlns:a16="http://schemas.microsoft.com/office/drawing/2014/main" id="{B1E5DA25-E7E0-4439-BA16-386D6B607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4915797"/>
            <a:ext cx="577978" cy="575985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30188 w 1278"/>
              <a:gd name="T5" fmla="*/ 458428 h 1276"/>
              <a:gd name="T6" fmla="*/ 230188 w 1278"/>
              <a:gd name="T7" fmla="*/ 458428 h 1276"/>
              <a:gd name="T8" fmla="*/ 0 w 1278"/>
              <a:gd name="T9" fmla="*/ 229394 h 1276"/>
              <a:gd name="T10" fmla="*/ 0 w 1278"/>
              <a:gd name="T11" fmla="*/ 229394 h 1276"/>
              <a:gd name="T12" fmla="*/ 230188 w 1278"/>
              <a:gd name="T13" fmla="*/ 0 h 1276"/>
              <a:gd name="T14" fmla="*/ 230188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9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9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4" name="Freeform 399">
            <a:extLst>
              <a:ext uri="{FF2B5EF4-FFF2-40B4-BE49-F238E27FC236}">
                <a16:creationId xmlns:a16="http://schemas.microsoft.com/office/drawing/2014/main" id="{0ED1CCB6-8157-474B-BA0E-57662BB7A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491480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29827 w 1278"/>
              <a:gd name="T5" fmla="*/ 460014 h 1277"/>
              <a:gd name="T6" fmla="*/ 229827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29827 w 1278"/>
              <a:gd name="T13" fmla="*/ 0 h 1277"/>
              <a:gd name="T14" fmla="*/ 229827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8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424FBA-1634-4D2B-8255-176E0D0A4161}"/>
              </a:ext>
            </a:extLst>
          </p:cNvPr>
          <p:cNvSpPr txBox="1"/>
          <p:nvPr/>
        </p:nvSpPr>
        <p:spPr>
          <a:xfrm>
            <a:off x="4152685" y="918789"/>
            <a:ext cx="3886641" cy="352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 dirty="0">
                <a:latin typeface="Poppins" panose="00000500000000000000" pitchFamily="2" charset="0"/>
                <a:cs typeface="Poppins" panose="00000500000000000000" pitchFamily="2" charset="0"/>
              </a:rPr>
              <a:t>Memory based configuration parame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907933" y="2201532"/>
            <a:ext cx="1930873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shared_buff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94F503-BF2F-430E-AFAE-EC21B2BC4B27}"/>
              </a:ext>
            </a:extLst>
          </p:cNvPr>
          <p:cNvSpPr txBox="1"/>
          <p:nvPr/>
        </p:nvSpPr>
        <p:spPr>
          <a:xfrm>
            <a:off x="1907933" y="2552745"/>
            <a:ext cx="1607067" cy="544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PostgreSQL Memory buff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7609CE-9E1D-4780-80BD-8263E2554313}"/>
              </a:ext>
            </a:extLst>
          </p:cNvPr>
          <p:cNvSpPr txBox="1"/>
          <p:nvPr/>
        </p:nvSpPr>
        <p:spPr>
          <a:xfrm>
            <a:off x="1907933" y="4662755"/>
            <a:ext cx="1607067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work_me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32E9F2-741F-45D3-B706-78DAC6416663}"/>
              </a:ext>
            </a:extLst>
          </p:cNvPr>
          <p:cNvSpPr txBox="1"/>
          <p:nvPr/>
        </p:nvSpPr>
        <p:spPr>
          <a:xfrm>
            <a:off x="1907933" y="5017815"/>
            <a:ext cx="1607067" cy="31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Buffer for sort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67065" y="2197685"/>
            <a:ext cx="1607067" cy="3231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wal</a:t>
            </a:r>
            <a:r>
              <a:rPr lang="en-US" sz="1400" b="1" spc="-15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_</a:t>
            </a: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buffers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86238A7-3856-4CA1-9982-369CEEE09D01}"/>
              </a:ext>
            </a:extLst>
          </p:cNvPr>
          <p:cNvSpPr txBox="1"/>
          <p:nvPr/>
        </p:nvSpPr>
        <p:spPr>
          <a:xfrm>
            <a:off x="5467065" y="2552745"/>
            <a:ext cx="1607067" cy="31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Buffer for WA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05F21C-1ADC-408B-BCE7-41C0C2BE47DA}"/>
              </a:ext>
            </a:extLst>
          </p:cNvPr>
          <p:cNvSpPr txBox="1"/>
          <p:nvPr/>
        </p:nvSpPr>
        <p:spPr>
          <a:xfrm>
            <a:off x="5100467" y="4666602"/>
            <a:ext cx="2291904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maintenance_work_me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2B2DF7C-4CAA-4B59-B98D-C137AF2DE23B}"/>
              </a:ext>
            </a:extLst>
          </p:cNvPr>
          <p:cNvSpPr txBox="1"/>
          <p:nvPr/>
        </p:nvSpPr>
        <p:spPr>
          <a:xfrm>
            <a:off x="546706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Buffer for Maintenance activ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8655600" y="2201532"/>
            <a:ext cx="2372617" cy="31931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400" b="1" spc="-15" dirty="0"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effective_cache_size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B4874D-47D9-43CC-BC3F-5BBE5BD5CCF9}"/>
              </a:ext>
            </a:extLst>
          </p:cNvPr>
          <p:cNvSpPr txBox="1"/>
          <p:nvPr/>
        </p:nvSpPr>
        <p:spPr>
          <a:xfrm>
            <a:off x="9014005" y="2552745"/>
            <a:ext cx="1607067" cy="31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PostgreSQL Cach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B1F01E-497F-41EB-AE0C-90AB696A012D}"/>
              </a:ext>
            </a:extLst>
          </p:cNvPr>
          <p:cNvSpPr txBox="1"/>
          <p:nvPr/>
        </p:nvSpPr>
        <p:spPr>
          <a:xfrm>
            <a:off x="9014005" y="4655060"/>
            <a:ext cx="1607067" cy="33086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s-NI" sz="1400" b="1" spc="-15" dirty="0">
                <a:latin typeface="Courier New" panose="02070309020205020404" pitchFamily="49" charset="0"/>
                <a:cs typeface="Courier New" panose="02070309020205020404" pitchFamily="49" charset="0"/>
              </a:rPr>
              <a:t>Other</a:t>
            </a:r>
            <a:endParaRPr lang="en-US" sz="1400" b="1" spc="-15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57B9BC5-4EDE-4998-AAD1-384B9CFB31D7}"/>
              </a:ext>
            </a:extLst>
          </p:cNvPr>
          <p:cNvSpPr txBox="1"/>
          <p:nvPr/>
        </p:nvSpPr>
        <p:spPr>
          <a:xfrm>
            <a:off x="9014005" y="5017815"/>
            <a:ext cx="1607067" cy="775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 err="1">
                <a:latin typeface="Poppins" panose="00000500000000000000" pitchFamily="2" charset="0"/>
                <a:cs typeface="Poppins" panose="00000500000000000000" pitchFamily="2" charset="0"/>
              </a:rPr>
              <a:t>postgresql.conf</a:t>
            </a: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 file contains all the parameter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93E148-699E-4314-B9EF-8FF989562721}"/>
              </a:ext>
            </a:extLst>
          </p:cNvPr>
          <p:cNvSpPr txBox="1"/>
          <p:nvPr/>
        </p:nvSpPr>
        <p:spPr>
          <a:xfrm>
            <a:off x="98456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4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1E4FDAD-E54F-49F6-89E3-03640C9DC386}"/>
              </a:ext>
            </a:extLst>
          </p:cNvPr>
          <p:cNvSpPr txBox="1"/>
          <p:nvPr/>
        </p:nvSpPr>
        <p:spPr>
          <a:xfrm>
            <a:off x="455072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E73223-BE6F-4164-902D-CC684CC471F5}"/>
              </a:ext>
            </a:extLst>
          </p:cNvPr>
          <p:cNvSpPr txBox="1"/>
          <p:nvPr/>
        </p:nvSpPr>
        <p:spPr>
          <a:xfrm>
            <a:off x="8105861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1E450F-1694-0B42-B420-8CAAE77C6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</p:spTree>
    <p:extLst>
      <p:ext uri="{BB962C8B-B14F-4D97-AF65-F5344CB8AC3E}">
        <p14:creationId xmlns:p14="http://schemas.microsoft.com/office/powerpoint/2010/main" val="380323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B065576-9E9D-0541-B218-7E5BB4105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PK" dirty="0"/>
              <a:t>hared_buffer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6FFB3A6-65B7-AD4A-A0CA-A47E35BB116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  <a:p>
            <a:endParaRPr lang="en-PK" dirty="0"/>
          </a:p>
        </p:txBody>
      </p:sp>
      <p:sp>
        <p:nvSpPr>
          <p:cNvPr id="109" name="Google Shape;109;p14"/>
          <p:cNvSpPr txBox="1"/>
          <p:nvPr/>
        </p:nvSpPr>
        <p:spPr>
          <a:xfrm>
            <a:off x="484189" y="2884133"/>
            <a:ext cx="7024129" cy="25977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60933" tIns="60933" rIns="60933" bIns="60933" anchor="t" anchorCtr="0">
            <a:noAutofit/>
          </a:bodyPr>
          <a:lstStyle/>
          <a:p>
            <a:pPr>
              <a:buClr>
                <a:srgbClr val="993F3D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ql=# 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HOW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shared_buffers;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shared_buffers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128MB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10" name="Google Shape;110;p14"/>
          <p:cNvSpPr txBox="1"/>
          <p:nvPr/>
        </p:nvSpPr>
        <p:spPr>
          <a:xfrm>
            <a:off x="508545" y="6214239"/>
            <a:ext cx="11414511" cy="505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proper size for the POSTGRESQL shared buffer cache is the largest useful size that does not adversely affect other activity.</a:t>
            </a:r>
            <a:endParaRPr lang="en-US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										—Bruce Momjian</a:t>
            </a:r>
            <a:endParaRPr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674B0-D255-FA40-959E-152AFD2072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668211" y="1916704"/>
            <a:ext cx="2263222" cy="2188810"/>
          </a:xfrm>
          <a:prstGeom prst="rect">
            <a:avLst/>
          </a:prstGeom>
          <a:solidFill>
            <a:srgbClr val="0070C0"/>
          </a:solidFill>
        </p:spPr>
      </p:pic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CC87569D-92CD-1949-8BF3-452923052F75}"/>
              </a:ext>
            </a:extLst>
          </p:cNvPr>
          <p:cNvSpPr/>
          <p:nvPr/>
        </p:nvSpPr>
        <p:spPr>
          <a:xfrm rot="16200000" flipH="1">
            <a:off x="160593" y="6243975"/>
            <a:ext cx="378996" cy="319524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2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671B6-D251-BE4F-AA7F-D1D62EC0A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al_buffer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571DC0-9A6E-8E49-BD66-418685EA3A4E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54910" y="912565"/>
            <a:ext cx="11846761" cy="5391254"/>
          </a:xfrm>
        </p:spPr>
        <p:txBody>
          <a:bodyPr/>
          <a:lstStyle/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o you have Transaction?  Obviously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AL – (Write Ahead LOG) Log your transactions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Size of WAL files 16MB  with 8K Block size (can be changed at compile time) 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writes WAL into the buffers(</a:t>
            </a:r>
            <a:r>
              <a:rPr lang="en-US" i="1" dirty="0" err="1"/>
              <a:t>wal_buffer</a:t>
            </a:r>
            <a:r>
              <a:rPr lang="en-US" i="1" dirty="0"/>
              <a:t> </a:t>
            </a:r>
            <a:r>
              <a:rPr lang="en-US" dirty="0"/>
              <a:t>) and then these buffers are flushed to disk.</a:t>
            </a:r>
          </a:p>
          <a:p>
            <a:endParaRPr lang="en-PK" dirty="0"/>
          </a:p>
        </p:txBody>
      </p:sp>
      <p:sp>
        <p:nvSpPr>
          <p:cNvPr id="6" name="Google Shape;110;p14">
            <a:extLst>
              <a:ext uri="{FF2B5EF4-FFF2-40B4-BE49-F238E27FC236}">
                <a16:creationId xmlns:a16="http://schemas.microsoft.com/office/drawing/2014/main" id="{32894597-8A94-B841-8C57-BBFB14386767}"/>
              </a:ext>
            </a:extLst>
          </p:cNvPr>
          <p:cNvSpPr txBox="1"/>
          <p:nvPr/>
        </p:nvSpPr>
        <p:spPr>
          <a:xfrm>
            <a:off x="625495" y="6288185"/>
            <a:ext cx="11276571" cy="452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Bigger value for wal_buffer in case of lot of concurrent connection gives better performance. </a:t>
            </a:r>
          </a:p>
        </p:txBody>
      </p:sp>
      <p:sp>
        <p:nvSpPr>
          <p:cNvPr id="7" name="Rounded Rectangle 51">
            <a:extLst>
              <a:ext uri="{FF2B5EF4-FFF2-40B4-BE49-F238E27FC236}">
                <a16:creationId xmlns:a16="http://schemas.microsoft.com/office/drawing/2014/main" id="{E9F0CE3F-CA08-E841-AE37-DEC959D21549}"/>
              </a:ext>
            </a:extLst>
          </p:cNvPr>
          <p:cNvSpPr/>
          <p:nvPr/>
        </p:nvSpPr>
        <p:spPr>
          <a:xfrm rot="16200000" flipH="1">
            <a:off x="268054" y="6273280"/>
            <a:ext cx="317404" cy="397478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0" name="Frame 17">
            <a:extLst>
              <a:ext uri="{FF2B5EF4-FFF2-40B4-BE49-F238E27FC236}">
                <a16:creationId xmlns:a16="http://schemas.microsoft.com/office/drawing/2014/main" id="{10AE15AF-0ED6-614F-823F-455D5A1232B3}"/>
              </a:ext>
            </a:extLst>
          </p:cNvPr>
          <p:cNvSpPr/>
          <p:nvPr/>
        </p:nvSpPr>
        <p:spPr>
          <a:xfrm>
            <a:off x="4231347" y="842848"/>
            <a:ext cx="508153" cy="5081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1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FED64-0E7D-3F4A-886B-D64F7A857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ym typeface="Calibri"/>
              </a:rPr>
              <a:t>effective_cache_size 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9F831-D083-634D-A199-FE3B2273F0C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This used by the optimizer to estimate the size of the kernel's disk buffer cache.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The effective_cache_size provides an estimate of the memory available for disk caching. 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It is just a guideline, not the exact allocated memory or cache size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65471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C4494-922D-674A-BE67-06C7E8048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ork_mem</a:t>
            </a:r>
            <a:endParaRPr lang="en-P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B406B5-795C-CD46-9228-6F6D8B1CCFE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configuration is used for complex sorting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GB" dirty="0"/>
              <a:t>It allows PostgreSQL to do larger in-memory sorts.</a:t>
            </a:r>
            <a:endParaRPr lang="en-US" dirty="0">
              <a:sym typeface="Calibri"/>
            </a:endParaRP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Each value is per session based, that means if you set that value to 10MB and 10 users issue sort queries then 100MB will be allocat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 case of merge sort, if x number of tables are involved in the sort then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x * work_mem</a:t>
            </a:r>
            <a:r>
              <a:rPr lang="en-US" dirty="0">
                <a:sym typeface="Calibri"/>
              </a:rPr>
              <a:t> will be us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t will allocate when required.</a:t>
            </a:r>
            <a:r>
              <a:rPr lang="en-GB" dirty="0"/>
              <a:t> </a:t>
            </a:r>
          </a:p>
          <a:p>
            <a:pPr marL="457200" indent="-457200">
              <a:lnSpc>
                <a:spcPct val="200000"/>
              </a:lnSpc>
            </a:pPr>
            <a:r>
              <a:rPr lang="en-GB" dirty="0"/>
              <a:t>Line in </a:t>
            </a:r>
            <a:r>
              <a:rPr lang="en-GB" dirty="0">
                <a:solidFill>
                  <a:srgbClr val="0070C0"/>
                </a:solidFill>
              </a:rPr>
              <a:t>EXPLAIN ANALYZE </a:t>
            </a:r>
            <a:r>
              <a:rPr lang="en-GB" dirty="0"/>
              <a:t>“Sort Method: external merge  Disk: 70208kB”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79714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78" r="19278"/>
          <a:stretch/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  <p:grpSp>
        <p:nvGrpSpPr>
          <p:cNvPr id="22" name="Google Shape;16970;p75">
            <a:extLst>
              <a:ext uri="{FF2B5EF4-FFF2-40B4-BE49-F238E27FC236}">
                <a16:creationId xmlns:a16="http://schemas.microsoft.com/office/drawing/2014/main" id="{70B1B09F-265C-7345-BA25-0D1A1856CE01}"/>
              </a:ext>
            </a:extLst>
          </p:cNvPr>
          <p:cNvGrpSpPr/>
          <p:nvPr/>
        </p:nvGrpSpPr>
        <p:grpSpPr>
          <a:xfrm>
            <a:off x="4253183" y="4767115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7" name="Google Shape;16971;p75">
              <a:extLst>
                <a:ext uri="{FF2B5EF4-FFF2-40B4-BE49-F238E27FC236}">
                  <a16:creationId xmlns:a16="http://schemas.microsoft.com/office/drawing/2014/main" id="{ADDD582E-C925-7F47-B93B-9A12DA297162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72;p75">
              <a:extLst>
                <a:ext uri="{FF2B5EF4-FFF2-40B4-BE49-F238E27FC236}">
                  <a16:creationId xmlns:a16="http://schemas.microsoft.com/office/drawing/2014/main" id="{0ABFB0C0-9EE1-9747-92DE-C71A8D32D389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73;p75">
              <a:extLst>
                <a:ext uri="{FF2B5EF4-FFF2-40B4-BE49-F238E27FC236}">
                  <a16:creationId xmlns:a16="http://schemas.microsoft.com/office/drawing/2014/main" id="{DFECB5BA-7FBE-AF4F-8D9A-E369D1B0E8CB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6974;p75">
              <a:extLst>
                <a:ext uri="{FF2B5EF4-FFF2-40B4-BE49-F238E27FC236}">
                  <a16:creationId xmlns:a16="http://schemas.microsoft.com/office/drawing/2014/main" id="{18F85DB0-8A40-9B42-9972-153DA262E92E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" name="Google Shape;17065;p75">
            <a:extLst>
              <a:ext uri="{FF2B5EF4-FFF2-40B4-BE49-F238E27FC236}">
                <a16:creationId xmlns:a16="http://schemas.microsoft.com/office/drawing/2014/main" id="{2F6B7F4C-B8B4-8240-B724-B3D6522FDDA1}"/>
              </a:ext>
            </a:extLst>
          </p:cNvPr>
          <p:cNvGrpSpPr/>
          <p:nvPr/>
        </p:nvGrpSpPr>
        <p:grpSpPr>
          <a:xfrm>
            <a:off x="4274056" y="56815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49" name="Google Shape;17066;p75">
              <a:extLst>
                <a:ext uri="{FF2B5EF4-FFF2-40B4-BE49-F238E27FC236}">
                  <a16:creationId xmlns:a16="http://schemas.microsoft.com/office/drawing/2014/main" id="{BEA0FC39-2FDA-6A4B-AC21-EFC0F3B0077D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0" name="Google Shape;17067;p75">
              <a:extLst>
                <a:ext uri="{FF2B5EF4-FFF2-40B4-BE49-F238E27FC236}">
                  <a16:creationId xmlns:a16="http://schemas.microsoft.com/office/drawing/2014/main" id="{CB1DE677-1091-794E-A3D3-9539EC37DC97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7068;p75">
              <a:extLst>
                <a:ext uri="{FF2B5EF4-FFF2-40B4-BE49-F238E27FC236}">
                  <a16:creationId xmlns:a16="http://schemas.microsoft.com/office/drawing/2014/main" id="{422CAF92-FAA1-0647-B540-0E8F5EFA366B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7069;p75">
              <a:extLst>
                <a:ext uri="{FF2B5EF4-FFF2-40B4-BE49-F238E27FC236}">
                  <a16:creationId xmlns:a16="http://schemas.microsoft.com/office/drawing/2014/main" id="{3D4960EE-06EF-8549-A1D8-B2C106D85908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7070;p75">
              <a:extLst>
                <a:ext uri="{FF2B5EF4-FFF2-40B4-BE49-F238E27FC236}">
                  <a16:creationId xmlns:a16="http://schemas.microsoft.com/office/drawing/2014/main" id="{426C9450-6288-8D4C-8387-5DB9E9F7B212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7071;p75">
              <a:extLst>
                <a:ext uri="{FF2B5EF4-FFF2-40B4-BE49-F238E27FC236}">
                  <a16:creationId xmlns:a16="http://schemas.microsoft.com/office/drawing/2014/main" id="{A86E44E7-EFB0-064B-96B3-079F72962679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72;p75">
              <a:extLst>
                <a:ext uri="{FF2B5EF4-FFF2-40B4-BE49-F238E27FC236}">
                  <a16:creationId xmlns:a16="http://schemas.microsoft.com/office/drawing/2014/main" id="{EB41E621-B015-C148-A168-599AC87EDD51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3;p75">
              <a:extLst>
                <a:ext uri="{FF2B5EF4-FFF2-40B4-BE49-F238E27FC236}">
                  <a16:creationId xmlns:a16="http://schemas.microsoft.com/office/drawing/2014/main" id="{2E7BC7C3-08EA-B349-9476-4C7CDDE1D0DA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74;p75">
              <a:extLst>
                <a:ext uri="{FF2B5EF4-FFF2-40B4-BE49-F238E27FC236}">
                  <a16:creationId xmlns:a16="http://schemas.microsoft.com/office/drawing/2014/main" id="{CBA259EA-7693-3240-BBB4-799353FC5D80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8" name="Google Shape;17206;p75">
            <a:extLst>
              <a:ext uri="{FF2B5EF4-FFF2-40B4-BE49-F238E27FC236}">
                <a16:creationId xmlns:a16="http://schemas.microsoft.com/office/drawing/2014/main" id="{3B26565C-A9C7-CC48-A122-BCE242AFCF48}"/>
              </a:ext>
            </a:extLst>
          </p:cNvPr>
          <p:cNvGrpSpPr/>
          <p:nvPr/>
        </p:nvGrpSpPr>
        <p:grpSpPr>
          <a:xfrm>
            <a:off x="4212422" y="3891378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59" name="Google Shape;17207;p75">
              <a:extLst>
                <a:ext uri="{FF2B5EF4-FFF2-40B4-BE49-F238E27FC236}">
                  <a16:creationId xmlns:a16="http://schemas.microsoft.com/office/drawing/2014/main" id="{4C4D0225-0169-CE42-B0BA-B81CBF0ECADD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208;p75">
              <a:extLst>
                <a:ext uri="{FF2B5EF4-FFF2-40B4-BE49-F238E27FC236}">
                  <a16:creationId xmlns:a16="http://schemas.microsoft.com/office/drawing/2014/main" id="{F9313CBC-1607-CC41-B3E6-883F720BFA60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209;p75">
              <a:extLst>
                <a:ext uri="{FF2B5EF4-FFF2-40B4-BE49-F238E27FC236}">
                  <a16:creationId xmlns:a16="http://schemas.microsoft.com/office/drawing/2014/main" id="{CC0445A4-B953-EC47-BB7B-BB5F8E1746EC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2" name="Google Shape;17210;p75">
              <a:extLst>
                <a:ext uri="{FF2B5EF4-FFF2-40B4-BE49-F238E27FC236}">
                  <a16:creationId xmlns:a16="http://schemas.microsoft.com/office/drawing/2014/main" id="{FE5DC5C5-9D50-C440-8757-6BD18DB745E2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211;p75">
              <a:extLst>
                <a:ext uri="{FF2B5EF4-FFF2-40B4-BE49-F238E27FC236}">
                  <a16:creationId xmlns:a16="http://schemas.microsoft.com/office/drawing/2014/main" id="{FFC4D3B5-BDAB-6E4A-8265-7B89F73A911D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F431570-B6E3-1844-A2F6-90FABD10B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0000"/>
                </a:solidFill>
              </a:rPr>
              <a:t>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3C9E8D-1196-594B-B724-2689885C4CEF}"/>
              </a:ext>
            </a:extLst>
          </p:cNvPr>
          <p:cNvSpPr/>
          <p:nvPr/>
        </p:nvSpPr>
        <p:spPr>
          <a:xfrm>
            <a:off x="186653" y="872934"/>
            <a:ext cx="11780059" cy="2462213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GB" sz="14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MB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            QUERY PLAN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Gather Merge  (cost=848382.53..1917901.57 rows=9166666 width=9) (actual time=5646.575..12567.495 rows=11000000 loops=1)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Sort  (cost=847382.51..858840.84 rows=4583333 width=9) (actual time=5568.049..7110.789 rows=3666667 loops=3)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anning Time: 0.055 ms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ecution Time: 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3724.353 ms</a:t>
            </a:r>
          </a:p>
          <a:p>
            <a:endParaRPr lang="en-GB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4D31A3-0F8C-5F4D-94AD-A60C9BB55789}"/>
              </a:ext>
            </a:extLst>
          </p:cNvPr>
          <p:cNvSpPr/>
          <p:nvPr/>
        </p:nvSpPr>
        <p:spPr>
          <a:xfrm>
            <a:off x="186653" y="3581053"/>
            <a:ext cx="11780059" cy="2893100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GB" sz="14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GB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pPr algn="ctr"/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pPr algn="ctr"/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Sort  (cost=1455965.01..1483465.01 rows=11000000 width=9) (actual time=5346.423..6554.609 rows=11000000 loops=1)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Key: id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Method: quicksort  Memory: 916136kB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</a:t>
            </a:r>
            <a:r>
              <a:rPr lang="en-GB" sz="14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on foo  (cost=0.00..169460.00 rows=11000000 width=9) (actual time=0.011..1794.912 rows=11000000 loops=1)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049 ms</a:t>
            </a:r>
          </a:p>
          <a:p>
            <a:r>
              <a:rPr lang="en-GB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4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756.950 ms</a:t>
            </a:r>
          </a:p>
          <a:p>
            <a:endParaRPr lang="en-GB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12590029-1F46-7944-BA30-F55F075E61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3647" y="5829043"/>
            <a:ext cx="914400" cy="521898"/>
          </a:xfrm>
          <a:prstGeom prst="rect">
            <a:avLst/>
          </a:prstGeom>
        </p:spPr>
      </p:pic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64EEB31E-A9CA-5E4B-80D9-51B43A85D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5947" y="2712398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19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BF4571C-4C2F-6941-8DDA-7D9127264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prstClr val="black">
                    <a:lumMod val="85000"/>
                    <a:lumOff val="15000"/>
                  </a:prstClr>
                </a:solidFill>
                <a:cs typeface="Arial" pitchFamily="34" charset="0"/>
              </a:rPr>
              <a:t>maintenance_work_mem</a:t>
            </a:r>
            <a:endParaRPr lang="en-PK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BA6A9EE-6C30-074D-8625-7AEC9EE7F75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aintenance_work_mem is a memory setting used for maintenance tasks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default value is 64MB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Setting a large value helps in tasks like </a:t>
            </a:r>
          </a:p>
          <a:p>
            <a:pPr marL="628650" lvl="1" indent="-285750"/>
            <a:r>
              <a:rPr lang="en-US" dirty="0">
                <a:sym typeface="Calibri"/>
              </a:rPr>
              <a:t>VACUUM</a:t>
            </a:r>
          </a:p>
          <a:p>
            <a:pPr marL="628650" lvl="1" indent="-285750"/>
            <a:r>
              <a:rPr lang="en-US" dirty="0">
                <a:sym typeface="Calibri"/>
              </a:rPr>
              <a:t>RESTORE</a:t>
            </a:r>
          </a:p>
          <a:p>
            <a:pPr marL="628650" lvl="1" indent="-285750"/>
            <a:r>
              <a:rPr lang="en-US" dirty="0">
                <a:sym typeface="Calibri"/>
              </a:rPr>
              <a:t>CREATE INDEX</a:t>
            </a:r>
          </a:p>
          <a:p>
            <a:pPr marL="628650" lvl="1" indent="-285750"/>
            <a:r>
              <a:rPr lang="en-US" dirty="0">
                <a:sym typeface="Calibri"/>
              </a:rPr>
              <a:t>ADD FOREIGN KEY</a:t>
            </a:r>
          </a:p>
          <a:p>
            <a:pPr marL="628650" lvl="1" indent="-285750"/>
            <a:r>
              <a:rPr lang="en-US" dirty="0">
                <a:sym typeface="Calibri"/>
              </a:rPr>
              <a:t>ALTER 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K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247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B6CAC0-A028-1743-8DD7-10A01665E1C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maintenance_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C5AAEB-2473-6541-BC20-73C30B4A7BCC}"/>
              </a:ext>
            </a:extLst>
          </p:cNvPr>
          <p:cNvSpPr/>
          <p:nvPr/>
        </p:nvSpPr>
        <p:spPr>
          <a:xfrm>
            <a:off x="158475" y="898491"/>
            <a:ext cx="11843025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0MB';</a:t>
            </a:r>
          </a:p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0M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</a:t>
            </a:r>
            <a:r>
              <a:rPr lang="en-GB" sz="16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2374.931 ms 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00:12.37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CD395F-D209-E040-B77D-0EC41EFBD566}"/>
              </a:ext>
            </a:extLst>
          </p:cNvPr>
          <p:cNvSpPr/>
          <p:nvPr/>
        </p:nvSpPr>
        <p:spPr>
          <a:xfrm>
            <a:off x="174488" y="3429000"/>
            <a:ext cx="11843024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GB';</a:t>
            </a:r>
          </a:p>
          <a:p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G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</a:t>
            </a:r>
            <a:r>
              <a:rPr lang="en-GB" sz="16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9550.766 ms 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00:09.551)</a:t>
            </a: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5C3F56D0-CD73-3547-8A68-B4E8911095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2035" y="2796010"/>
            <a:ext cx="914400" cy="521898"/>
          </a:xfrm>
          <a:prstGeom prst="rect">
            <a:avLst/>
          </a:prstGeom>
        </p:spPr>
      </p:pic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4C822F65-E4EB-304F-B8C9-69FEF6DAA1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2035" y="5280279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73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4EB6C-F19D-4C49-8BEC-AE9A4859B2C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synchronous_commit</a:t>
            </a:r>
            <a:endParaRPr lang="en-P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746CE-2ABF-F14C-96C6-5F566E6C59C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used to enforce that commit will wait for WAL to be written on disk before returning a success status to the client. 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a trade-off between performance and reliability.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creasing reliability decreases performance and vice versa.</a:t>
            </a:r>
          </a:p>
          <a:p>
            <a:endParaRPr lang="en-PK" dirty="0"/>
          </a:p>
        </p:txBody>
      </p:sp>
      <p:sp>
        <p:nvSpPr>
          <p:cNvPr id="4" name="Google Shape;110;p14">
            <a:extLst>
              <a:ext uri="{FF2B5EF4-FFF2-40B4-BE49-F238E27FC236}">
                <a16:creationId xmlns:a16="http://schemas.microsoft.com/office/drawing/2014/main" id="{536C045B-8B12-DE49-A5A9-B4371B6AC609}"/>
              </a:ext>
            </a:extLst>
          </p:cNvPr>
          <p:cNvSpPr txBox="1"/>
          <p:nvPr/>
        </p:nvSpPr>
        <p:spPr>
          <a:xfrm>
            <a:off x="760521" y="6213768"/>
            <a:ext cx="11276571" cy="644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GB" sz="1200" dirty="0">
                <a:solidFill>
                  <a:srgbClr val="0070C0"/>
                </a:solidFill>
              </a:rPr>
              <a:t>Synchronous commit doesn't introduce the risk of </a:t>
            </a:r>
            <a:r>
              <a:rPr lang="en-GB" sz="1200" i="1" dirty="0">
                <a:solidFill>
                  <a:srgbClr val="0070C0"/>
                </a:solidFill>
              </a:rPr>
              <a:t>corruption</a:t>
            </a:r>
            <a:r>
              <a:rPr lang="en-GB" sz="1200" dirty="0">
                <a:solidFill>
                  <a:srgbClr val="0070C0"/>
                </a:solidFill>
              </a:rPr>
              <a:t>, which is really bad, just some risk of data </a:t>
            </a:r>
            <a:r>
              <a:rPr lang="en-GB" sz="1200" i="1" dirty="0">
                <a:solidFill>
                  <a:srgbClr val="0070C0"/>
                </a:solidFill>
              </a:rPr>
              <a:t>loss</a:t>
            </a:r>
            <a:r>
              <a:rPr lang="en-GB" sz="1200" dirty="0">
                <a:solidFill>
                  <a:srgbClr val="0070C0"/>
                </a:solidFill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https:/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wiki.postgresql.org</a:t>
            </a: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/wiki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Tuning_Your_PostgreSQL_Server</a:t>
            </a:r>
            <a:endParaRPr lang="en-US" sz="800" i="1" dirty="0">
              <a:solidFill>
                <a:schemeClr val="bg2">
                  <a:lumMod val="75000"/>
                </a:schemeClr>
              </a:solidFill>
              <a:sym typeface="Calibri"/>
            </a:endParaRPr>
          </a:p>
        </p:txBody>
      </p:sp>
      <p:sp>
        <p:nvSpPr>
          <p:cNvPr id="5" name="Rounded Rectangle 51">
            <a:extLst>
              <a:ext uri="{FF2B5EF4-FFF2-40B4-BE49-F238E27FC236}">
                <a16:creationId xmlns:a16="http://schemas.microsoft.com/office/drawing/2014/main" id="{ABED5271-FF12-3E45-B45E-71A13C0E9036}"/>
              </a:ext>
            </a:extLst>
          </p:cNvPr>
          <p:cNvSpPr/>
          <p:nvPr/>
        </p:nvSpPr>
        <p:spPr>
          <a:xfrm rot="16200000" flipH="1">
            <a:off x="408980" y="6274815"/>
            <a:ext cx="293369" cy="28998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3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424FBA-1634-4D2B-8255-176E0D0A4161}"/>
              </a:ext>
            </a:extLst>
          </p:cNvPr>
          <p:cNvSpPr txBox="1"/>
          <p:nvPr/>
        </p:nvSpPr>
        <p:spPr>
          <a:xfrm>
            <a:off x="4389614" y="918789"/>
            <a:ext cx="3412794" cy="352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 dirty="0">
                <a:latin typeface="Poppins" panose="00000500000000000000" pitchFamily="2" charset="0"/>
                <a:cs typeface="Poppins" panose="00000500000000000000" pitchFamily="2" charset="0"/>
              </a:rPr>
              <a:t>I/O based configuration parame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510150" y="2225710"/>
            <a:ext cx="2425642" cy="30899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ckpoint_timeout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94F503-BF2F-430E-AFAE-EC21B2BC4B27}"/>
              </a:ext>
            </a:extLst>
          </p:cNvPr>
          <p:cNvSpPr txBox="1"/>
          <p:nvPr/>
        </p:nvSpPr>
        <p:spPr>
          <a:xfrm>
            <a:off x="1907933" y="2552745"/>
            <a:ext cx="2027859" cy="31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Time for checkpoi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67065" y="2209226"/>
            <a:ext cx="1839082" cy="31162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GB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x_wal_size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8683839" y="1959158"/>
            <a:ext cx="2433816" cy="56169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GB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ckpoint_completion_target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5967EE-BD8B-C449-AE9A-7425B498A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00EA36E-1297-9946-AD08-E0441F24CEFF}"/>
              </a:ext>
            </a:extLst>
          </p:cNvPr>
          <p:cNvSpPr txBox="1"/>
          <p:nvPr/>
        </p:nvSpPr>
        <p:spPr>
          <a:xfrm>
            <a:off x="5223314" y="2540676"/>
            <a:ext cx="2218635" cy="31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Max WAL siz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5EB776E-02AF-3E43-B313-87CBB2FD30E5}"/>
              </a:ext>
            </a:extLst>
          </p:cNvPr>
          <p:cNvSpPr txBox="1"/>
          <p:nvPr/>
        </p:nvSpPr>
        <p:spPr>
          <a:xfrm>
            <a:off x="8711906" y="2552745"/>
            <a:ext cx="2218635" cy="544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50"/>
              </a:lnSpc>
            </a:pPr>
            <a:r>
              <a:rPr lang="en-US" sz="1250" spc="-35" dirty="0">
                <a:latin typeface="Poppins" panose="00000500000000000000" pitchFamily="2" charset="0"/>
                <a:cs typeface="Poppins" panose="00000500000000000000" pitchFamily="2" charset="0"/>
              </a:rPr>
              <a:t>Checkpoint completion target</a:t>
            </a:r>
          </a:p>
        </p:txBody>
      </p:sp>
    </p:spTree>
    <p:extLst>
      <p:ext uri="{BB962C8B-B14F-4D97-AF65-F5344CB8AC3E}">
        <p14:creationId xmlns:p14="http://schemas.microsoft.com/office/powerpoint/2010/main" val="245113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0E76-0239-8B4A-A9C1-C10E5F6F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Arial" panose="020B0604020202020204" pitchFamily="34" charset="0"/>
              </a:rPr>
              <a:t>checkpoint_timeout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E223B-3D27-CA4E-A9D5-036C0EA7721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PostgreSQL writes changes into WAL. The checkpoint process flushes the data into the data files.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ore checkpoints have a negative impact on performanc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requent checkpoint reduce the recovery time</a:t>
            </a:r>
          </a:p>
          <a:p>
            <a:pPr marL="457200" indent="-457200">
              <a:lnSpc>
                <a:spcPct val="200000"/>
              </a:lnSpc>
              <a:buChar char="•"/>
            </a:pPr>
            <a:endParaRPr lang="en-US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85231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0E76-0239-8B4A-A9C1-C10E5F6F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err="1"/>
              <a:t>checkpoint_completion_target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E223B-3D27-CA4E-A9D5-036C0EA7721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</a:pPr>
            <a:r>
              <a:rPr lang="en-GB" dirty="0"/>
              <a:t>Specifies the target of checkpoint completion, as a fraction of total time between checkpoints.</a:t>
            </a:r>
          </a:p>
          <a:p>
            <a:pPr marL="285750" indent="-285750">
              <a:lnSpc>
                <a:spcPct val="200000"/>
              </a:lnSpc>
            </a:pPr>
            <a:r>
              <a:rPr lang="en-GB" dirty="0"/>
              <a:t>This parameter can only be set in the </a:t>
            </a:r>
            <a:r>
              <a:rPr lang="en-GB" dirty="0" err="1"/>
              <a:t>postgresql.conf</a:t>
            </a:r>
            <a:r>
              <a:rPr lang="en-GB" dirty="0"/>
              <a:t> file or on the server command line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9102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0E76-0239-8B4A-A9C1-C10E5F6F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err="1"/>
              <a:t>max_wal_size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E223B-3D27-CA4E-A9D5-036C0EA7721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</a:pPr>
            <a:r>
              <a:rPr lang="en-GB" dirty="0"/>
              <a:t>Maximum size to let the WAL grow during automatic checkpoints. </a:t>
            </a:r>
          </a:p>
          <a:p>
            <a:pPr marL="285750" indent="-285750">
              <a:lnSpc>
                <a:spcPct val="200000"/>
              </a:lnSpc>
            </a:pPr>
            <a:r>
              <a:rPr lang="en-GB" dirty="0"/>
              <a:t>This is a soft limit; WAL size can exceed </a:t>
            </a:r>
            <a:r>
              <a:rPr lang="en-GB" dirty="0" err="1"/>
              <a:t>max_wal_size</a:t>
            </a:r>
            <a:r>
              <a:rPr lang="en-GB" dirty="0"/>
              <a:t> under special circumstances.</a:t>
            </a:r>
          </a:p>
          <a:p>
            <a:pPr marL="285750" indent="-285750">
              <a:lnSpc>
                <a:spcPct val="200000"/>
              </a:lnSpc>
            </a:pPr>
            <a:r>
              <a:rPr lang="en-GB" dirty="0"/>
              <a:t>This parameter can only be set in the </a:t>
            </a:r>
            <a:r>
              <a:rPr lang="en-GB" dirty="0" err="1"/>
              <a:t>postgresql.conf</a:t>
            </a:r>
            <a:r>
              <a:rPr lang="en-GB" dirty="0"/>
              <a:t> file or on the server command line.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13302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ym typeface="Arial"/>
              </a:rPr>
              <a:t>PostgreSQL Indexes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4080610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26899" y="793002"/>
            <a:ext cx="3845800" cy="52249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194881" y="793002"/>
            <a:ext cx="3756423" cy="52100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/>
        </p:blipFill>
        <p:spPr>
          <a:xfrm>
            <a:off x="109280" y="793002"/>
            <a:ext cx="3955824" cy="521002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309296-F80A-694D-B5F8-09A9DF34D66A}"/>
              </a:ext>
            </a:extLst>
          </p:cNvPr>
          <p:cNvSpPr/>
          <p:nvPr/>
        </p:nvSpPr>
        <p:spPr>
          <a:xfrm>
            <a:off x="4522304" y="4472610"/>
            <a:ext cx="596348" cy="993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A43BCA-73BB-2D4E-A395-992345A5B154}"/>
              </a:ext>
            </a:extLst>
          </p:cNvPr>
          <p:cNvSpPr/>
          <p:nvPr/>
        </p:nvSpPr>
        <p:spPr>
          <a:xfrm>
            <a:off x="5147901" y="4475924"/>
            <a:ext cx="146346" cy="960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cxnSp>
        <p:nvCxnSpPr>
          <p:cNvPr id="5" name="Elbow Connector 4">
            <a:extLst>
              <a:ext uri="{FF2B5EF4-FFF2-40B4-BE49-F238E27FC236}">
                <a16:creationId xmlns:a16="http://schemas.microsoft.com/office/drawing/2014/main" id="{287C7BD9-DB39-0045-B50A-226F7815DBA3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5324064" y="4492488"/>
            <a:ext cx="4497134" cy="98121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0941FCB-0425-2C47-A753-0F5205B662F1}"/>
              </a:ext>
            </a:extLst>
          </p:cNvPr>
          <p:cNvSpPr/>
          <p:nvPr/>
        </p:nvSpPr>
        <p:spPr>
          <a:xfrm>
            <a:off x="9821198" y="5381501"/>
            <a:ext cx="445923" cy="1844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060417-5EE4-E847-A1F4-30EBF17642DD}"/>
              </a:ext>
            </a:extLst>
          </p:cNvPr>
          <p:cNvSpPr/>
          <p:nvPr/>
        </p:nvSpPr>
        <p:spPr>
          <a:xfrm>
            <a:off x="10323446" y="1279953"/>
            <a:ext cx="728867" cy="1512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7B4276-0E71-B54A-B188-525623567ED0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480654" y="1332981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0654" y="1332981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1280" y="3107234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9160" y="1332981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7042" y="3107234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4922" y="1332981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D828CC3-899F-B24C-9358-6D194EE6F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8837" y="3612596"/>
              <a:ext cx="443377" cy="444314"/>
            </a:xfrm>
            <a:custGeom>
              <a:avLst/>
              <a:gdLst>
                <a:gd name="connsiteX0" fmla="*/ 444100 w 886754"/>
                <a:gd name="connsiteY0" fmla="*/ 463631 h 888627"/>
                <a:gd name="connsiteX1" fmla="*/ 328474 w 886754"/>
                <a:gd name="connsiteY1" fmla="*/ 578293 h 888627"/>
                <a:gd name="connsiteX2" fmla="*/ 313555 w 886754"/>
                <a:gd name="connsiteY2" fmla="*/ 582032 h 888627"/>
                <a:gd name="connsiteX3" fmla="*/ 306095 w 886754"/>
                <a:gd name="connsiteY3" fmla="*/ 569569 h 888627"/>
                <a:gd name="connsiteX4" fmla="*/ 306095 w 886754"/>
                <a:gd name="connsiteY4" fmla="*/ 489804 h 888627"/>
                <a:gd name="connsiteX5" fmla="*/ 105926 w 886754"/>
                <a:gd name="connsiteY5" fmla="*/ 690462 h 888627"/>
                <a:gd name="connsiteX6" fmla="*/ 148198 w 886754"/>
                <a:gd name="connsiteY6" fmla="*/ 740315 h 888627"/>
                <a:gd name="connsiteX7" fmla="*/ 444100 w 886754"/>
                <a:gd name="connsiteY7" fmla="*/ 862454 h 888627"/>
                <a:gd name="connsiteX8" fmla="*/ 728813 w 886754"/>
                <a:gd name="connsiteY8" fmla="*/ 749039 h 888627"/>
                <a:gd name="connsiteX9" fmla="*/ 663070 w 886754"/>
                <a:gd name="connsiteY9" fmla="*/ 428456 h 888627"/>
                <a:gd name="connsiteX10" fmla="*/ 682957 w 886754"/>
                <a:gd name="connsiteY10" fmla="*/ 443758 h 888627"/>
                <a:gd name="connsiteX11" fmla="*/ 663070 w 886754"/>
                <a:gd name="connsiteY11" fmla="*/ 460238 h 888627"/>
                <a:gd name="connsiteX12" fmla="*/ 645835 w 886754"/>
                <a:gd name="connsiteY12" fmla="*/ 443758 h 888627"/>
                <a:gd name="connsiteX13" fmla="*/ 663070 w 886754"/>
                <a:gd name="connsiteY13" fmla="*/ 428456 h 888627"/>
                <a:gd name="connsiteX14" fmla="*/ 749026 w 886754"/>
                <a:gd name="connsiteY14" fmla="*/ 373526 h 888627"/>
                <a:gd name="connsiteX15" fmla="*/ 765505 w 886754"/>
                <a:gd name="connsiteY15" fmla="*/ 392089 h 888627"/>
                <a:gd name="connsiteX16" fmla="*/ 749026 w 886754"/>
                <a:gd name="connsiteY16" fmla="*/ 410653 h 888627"/>
                <a:gd name="connsiteX17" fmla="*/ 733724 w 886754"/>
                <a:gd name="connsiteY17" fmla="*/ 392089 h 888627"/>
                <a:gd name="connsiteX18" fmla="*/ 749026 w 886754"/>
                <a:gd name="connsiteY18" fmla="*/ 373526 h 888627"/>
                <a:gd name="connsiteX19" fmla="*/ 665746 w 886754"/>
                <a:gd name="connsiteY19" fmla="*/ 358315 h 888627"/>
                <a:gd name="connsiteX20" fmla="*/ 675150 w 886754"/>
                <a:gd name="connsiteY20" fmla="*/ 362118 h 888627"/>
                <a:gd name="connsiteX21" fmla="*/ 760411 w 886754"/>
                <a:gd name="connsiteY21" fmla="*/ 448315 h 888627"/>
                <a:gd name="connsiteX22" fmla="*/ 760411 w 886754"/>
                <a:gd name="connsiteY22" fmla="*/ 467329 h 888627"/>
                <a:gd name="connsiteX23" fmla="*/ 750380 w 886754"/>
                <a:gd name="connsiteY23" fmla="*/ 471131 h 888627"/>
                <a:gd name="connsiteX24" fmla="*/ 741603 w 886754"/>
                <a:gd name="connsiteY24" fmla="*/ 467329 h 888627"/>
                <a:gd name="connsiteX25" fmla="*/ 656342 w 886754"/>
                <a:gd name="connsiteY25" fmla="*/ 381132 h 888627"/>
                <a:gd name="connsiteX26" fmla="*/ 656342 w 886754"/>
                <a:gd name="connsiteY26" fmla="*/ 362118 h 888627"/>
                <a:gd name="connsiteX27" fmla="*/ 665746 w 886754"/>
                <a:gd name="connsiteY27" fmla="*/ 358315 h 888627"/>
                <a:gd name="connsiteX28" fmla="*/ 748706 w 886754"/>
                <a:gd name="connsiteY28" fmla="*/ 158282 h 888627"/>
                <a:gd name="connsiteX29" fmla="*/ 462750 w 886754"/>
                <a:gd name="connsiteY29" fmla="*/ 443690 h 888627"/>
                <a:gd name="connsiteX30" fmla="*/ 748706 w 886754"/>
                <a:gd name="connsiteY30" fmla="*/ 730344 h 888627"/>
                <a:gd name="connsiteX31" fmla="*/ 748706 w 886754"/>
                <a:gd name="connsiteY31" fmla="*/ 158282 h 888627"/>
                <a:gd name="connsiteX32" fmla="*/ 139495 w 886754"/>
                <a:gd name="connsiteY32" fmla="*/ 158282 h 888627"/>
                <a:gd name="connsiteX33" fmla="*/ 91006 w 886754"/>
                <a:gd name="connsiteY33" fmla="*/ 668028 h 888627"/>
                <a:gd name="connsiteX34" fmla="*/ 309825 w 886754"/>
                <a:gd name="connsiteY34" fmla="*/ 448675 h 888627"/>
                <a:gd name="connsiteX35" fmla="*/ 323501 w 886754"/>
                <a:gd name="connsiteY35" fmla="*/ 446183 h 888627"/>
                <a:gd name="connsiteX36" fmla="*/ 330961 w 886754"/>
                <a:gd name="connsiteY36" fmla="*/ 458646 h 888627"/>
                <a:gd name="connsiteX37" fmla="*/ 330961 w 886754"/>
                <a:gd name="connsiteY37" fmla="*/ 537164 h 888627"/>
                <a:gd name="connsiteX38" fmla="*/ 425451 w 886754"/>
                <a:gd name="connsiteY38" fmla="*/ 443690 h 888627"/>
                <a:gd name="connsiteX39" fmla="*/ 456533 w 886754"/>
                <a:gd name="connsiteY39" fmla="*/ 26172 h 888627"/>
                <a:gd name="connsiteX40" fmla="*/ 456533 w 886754"/>
                <a:gd name="connsiteY40" fmla="*/ 412532 h 888627"/>
                <a:gd name="connsiteX41" fmla="*/ 728813 w 886754"/>
                <a:gd name="connsiteY41" fmla="*/ 139588 h 888627"/>
                <a:gd name="connsiteX42" fmla="*/ 456533 w 886754"/>
                <a:gd name="connsiteY42" fmla="*/ 26172 h 888627"/>
                <a:gd name="connsiteX43" fmla="*/ 430424 w 886754"/>
                <a:gd name="connsiteY43" fmla="*/ 26172 h 888627"/>
                <a:gd name="connsiteX44" fmla="*/ 158144 w 886754"/>
                <a:gd name="connsiteY44" fmla="*/ 139588 h 888627"/>
                <a:gd name="connsiteX45" fmla="*/ 430424 w 886754"/>
                <a:gd name="connsiteY45" fmla="*/ 412532 h 888627"/>
                <a:gd name="connsiteX46" fmla="*/ 444100 w 886754"/>
                <a:gd name="connsiteY46" fmla="*/ 0 h 888627"/>
                <a:gd name="connsiteX47" fmla="*/ 748706 w 886754"/>
                <a:gd name="connsiteY47" fmla="*/ 120893 h 888627"/>
                <a:gd name="connsiteX48" fmla="*/ 814600 w 886754"/>
                <a:gd name="connsiteY48" fmla="*/ 53592 h 888627"/>
                <a:gd name="connsiteX49" fmla="*/ 790978 w 886754"/>
                <a:gd name="connsiteY49" fmla="*/ 53592 h 888627"/>
                <a:gd name="connsiteX50" fmla="*/ 778545 w 886754"/>
                <a:gd name="connsiteY50" fmla="*/ 41128 h 888627"/>
                <a:gd name="connsiteX51" fmla="*/ 790978 w 886754"/>
                <a:gd name="connsiteY51" fmla="*/ 27419 h 888627"/>
                <a:gd name="connsiteX52" fmla="*/ 845682 w 886754"/>
                <a:gd name="connsiteY52" fmla="*/ 27419 h 888627"/>
                <a:gd name="connsiteX53" fmla="*/ 859358 w 886754"/>
                <a:gd name="connsiteY53" fmla="*/ 41128 h 888627"/>
                <a:gd name="connsiteX54" fmla="*/ 859358 w 886754"/>
                <a:gd name="connsiteY54" fmla="*/ 95966 h 888627"/>
                <a:gd name="connsiteX55" fmla="*/ 845682 w 886754"/>
                <a:gd name="connsiteY55" fmla="*/ 109676 h 888627"/>
                <a:gd name="connsiteX56" fmla="*/ 833249 w 886754"/>
                <a:gd name="connsiteY56" fmla="*/ 95966 h 888627"/>
                <a:gd name="connsiteX57" fmla="*/ 833249 w 886754"/>
                <a:gd name="connsiteY57" fmla="*/ 72286 h 888627"/>
                <a:gd name="connsiteX58" fmla="*/ 766112 w 886754"/>
                <a:gd name="connsiteY58" fmla="*/ 139588 h 888627"/>
                <a:gd name="connsiteX59" fmla="*/ 757409 w 886754"/>
                <a:gd name="connsiteY59" fmla="*/ 759009 h 888627"/>
                <a:gd name="connsiteX60" fmla="*/ 444100 w 886754"/>
                <a:gd name="connsiteY60" fmla="*/ 888627 h 888627"/>
                <a:gd name="connsiteX61" fmla="*/ 129548 w 886754"/>
                <a:gd name="connsiteY61" fmla="*/ 759009 h 888627"/>
                <a:gd name="connsiteX62" fmla="*/ 87277 w 886754"/>
                <a:gd name="connsiteY62" fmla="*/ 707910 h 888627"/>
                <a:gd name="connsiteX63" fmla="*/ 22626 w 886754"/>
                <a:gd name="connsiteY63" fmla="*/ 773965 h 888627"/>
                <a:gd name="connsiteX64" fmla="*/ 12679 w 886754"/>
                <a:gd name="connsiteY64" fmla="*/ 777704 h 888627"/>
                <a:gd name="connsiteX65" fmla="*/ 3976 w 886754"/>
                <a:gd name="connsiteY65" fmla="*/ 773965 h 888627"/>
                <a:gd name="connsiteX66" fmla="*/ 3976 w 886754"/>
                <a:gd name="connsiteY66" fmla="*/ 755270 h 888627"/>
                <a:gd name="connsiteX67" fmla="*/ 72357 w 886754"/>
                <a:gd name="connsiteY67" fmla="*/ 686723 h 888627"/>
                <a:gd name="connsiteX68" fmla="*/ 129548 w 886754"/>
                <a:gd name="connsiteY68" fmla="*/ 129617 h 888627"/>
                <a:gd name="connsiteX69" fmla="*/ 444100 w 886754"/>
                <a:gd name="connsiteY69" fmla="*/ 0 h 88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86754" h="888627">
                  <a:moveTo>
                    <a:pt x="444100" y="463631"/>
                  </a:moveTo>
                  <a:lnTo>
                    <a:pt x="328474" y="578293"/>
                  </a:lnTo>
                  <a:cubicBezTo>
                    <a:pt x="323501" y="583278"/>
                    <a:pt x="318528" y="583278"/>
                    <a:pt x="313555" y="582032"/>
                  </a:cubicBezTo>
                  <a:cubicBezTo>
                    <a:pt x="308582" y="579539"/>
                    <a:pt x="306095" y="575800"/>
                    <a:pt x="306095" y="569569"/>
                  </a:cubicBezTo>
                  <a:lnTo>
                    <a:pt x="306095" y="489804"/>
                  </a:lnTo>
                  <a:lnTo>
                    <a:pt x="105926" y="690462"/>
                  </a:lnTo>
                  <a:cubicBezTo>
                    <a:pt x="118359" y="707910"/>
                    <a:pt x="133278" y="724112"/>
                    <a:pt x="148198" y="740315"/>
                  </a:cubicBezTo>
                  <a:cubicBezTo>
                    <a:pt x="227768" y="818833"/>
                    <a:pt x="332204" y="862454"/>
                    <a:pt x="444100" y="862454"/>
                  </a:cubicBezTo>
                  <a:cubicBezTo>
                    <a:pt x="551023" y="862454"/>
                    <a:pt x="651729" y="822572"/>
                    <a:pt x="728813" y="749039"/>
                  </a:cubicBezTo>
                  <a:close/>
                  <a:moveTo>
                    <a:pt x="663070" y="428456"/>
                  </a:moveTo>
                  <a:cubicBezTo>
                    <a:pt x="673677" y="428456"/>
                    <a:pt x="682957" y="435519"/>
                    <a:pt x="682957" y="443758"/>
                  </a:cubicBezTo>
                  <a:cubicBezTo>
                    <a:pt x="682957" y="453175"/>
                    <a:pt x="673677" y="460238"/>
                    <a:pt x="663070" y="460238"/>
                  </a:cubicBezTo>
                  <a:cubicBezTo>
                    <a:pt x="653790" y="460238"/>
                    <a:pt x="645835" y="453175"/>
                    <a:pt x="645835" y="443758"/>
                  </a:cubicBezTo>
                  <a:cubicBezTo>
                    <a:pt x="645835" y="435519"/>
                    <a:pt x="653790" y="428456"/>
                    <a:pt x="663070" y="428456"/>
                  </a:cubicBezTo>
                  <a:close/>
                  <a:moveTo>
                    <a:pt x="749026" y="373526"/>
                  </a:moveTo>
                  <a:cubicBezTo>
                    <a:pt x="758442" y="373526"/>
                    <a:pt x="765505" y="381482"/>
                    <a:pt x="765505" y="392089"/>
                  </a:cubicBezTo>
                  <a:cubicBezTo>
                    <a:pt x="765505" y="402697"/>
                    <a:pt x="758442" y="410653"/>
                    <a:pt x="749026" y="410653"/>
                  </a:cubicBezTo>
                  <a:cubicBezTo>
                    <a:pt x="740786" y="410653"/>
                    <a:pt x="733724" y="402697"/>
                    <a:pt x="733724" y="392089"/>
                  </a:cubicBezTo>
                  <a:cubicBezTo>
                    <a:pt x="733724" y="381482"/>
                    <a:pt x="740786" y="373526"/>
                    <a:pt x="749026" y="373526"/>
                  </a:cubicBezTo>
                  <a:close/>
                  <a:moveTo>
                    <a:pt x="665746" y="358315"/>
                  </a:moveTo>
                  <a:cubicBezTo>
                    <a:pt x="669195" y="358315"/>
                    <a:pt x="672643" y="359583"/>
                    <a:pt x="675150" y="362118"/>
                  </a:cubicBezTo>
                  <a:lnTo>
                    <a:pt x="760411" y="448315"/>
                  </a:lnTo>
                  <a:cubicBezTo>
                    <a:pt x="765426" y="453385"/>
                    <a:pt x="765426" y="462258"/>
                    <a:pt x="760411" y="467329"/>
                  </a:cubicBezTo>
                  <a:cubicBezTo>
                    <a:pt x="757903" y="469864"/>
                    <a:pt x="754142" y="471131"/>
                    <a:pt x="750380" y="471131"/>
                  </a:cubicBezTo>
                  <a:cubicBezTo>
                    <a:pt x="747872" y="471131"/>
                    <a:pt x="744111" y="469864"/>
                    <a:pt x="741603" y="467329"/>
                  </a:cubicBezTo>
                  <a:lnTo>
                    <a:pt x="656342" y="381132"/>
                  </a:lnTo>
                  <a:cubicBezTo>
                    <a:pt x="651327" y="376062"/>
                    <a:pt x="651327" y="367188"/>
                    <a:pt x="656342" y="362118"/>
                  </a:cubicBezTo>
                  <a:cubicBezTo>
                    <a:pt x="658850" y="359583"/>
                    <a:pt x="662298" y="358315"/>
                    <a:pt x="665746" y="358315"/>
                  </a:cubicBezTo>
                  <a:close/>
                  <a:moveTo>
                    <a:pt x="748706" y="158282"/>
                  </a:moveTo>
                  <a:lnTo>
                    <a:pt x="462750" y="443690"/>
                  </a:lnTo>
                  <a:lnTo>
                    <a:pt x="748706" y="730344"/>
                  </a:lnTo>
                  <a:cubicBezTo>
                    <a:pt x="899144" y="569569"/>
                    <a:pt x="899144" y="317812"/>
                    <a:pt x="748706" y="158282"/>
                  </a:cubicBezTo>
                  <a:close/>
                  <a:moveTo>
                    <a:pt x="139495" y="158282"/>
                  </a:moveTo>
                  <a:cubicBezTo>
                    <a:pt x="7706" y="299117"/>
                    <a:pt x="-9700" y="509745"/>
                    <a:pt x="91006" y="668028"/>
                  </a:cubicBezTo>
                  <a:lnTo>
                    <a:pt x="309825" y="448675"/>
                  </a:lnTo>
                  <a:cubicBezTo>
                    <a:pt x="313555" y="446183"/>
                    <a:pt x="318528" y="443690"/>
                    <a:pt x="323501" y="446183"/>
                  </a:cubicBezTo>
                  <a:cubicBezTo>
                    <a:pt x="328474" y="447429"/>
                    <a:pt x="330961" y="453661"/>
                    <a:pt x="330961" y="458646"/>
                  </a:cubicBezTo>
                  <a:lnTo>
                    <a:pt x="330961" y="537164"/>
                  </a:lnTo>
                  <a:lnTo>
                    <a:pt x="425451" y="443690"/>
                  </a:lnTo>
                  <a:close/>
                  <a:moveTo>
                    <a:pt x="456533" y="26172"/>
                  </a:moveTo>
                  <a:lnTo>
                    <a:pt x="456533" y="412532"/>
                  </a:lnTo>
                  <a:lnTo>
                    <a:pt x="728813" y="139588"/>
                  </a:lnTo>
                  <a:cubicBezTo>
                    <a:pt x="654216" y="68547"/>
                    <a:pt x="558483" y="29911"/>
                    <a:pt x="456533" y="26172"/>
                  </a:cubicBezTo>
                  <a:close/>
                  <a:moveTo>
                    <a:pt x="430424" y="26172"/>
                  </a:moveTo>
                  <a:cubicBezTo>
                    <a:pt x="328474" y="29911"/>
                    <a:pt x="232741" y="68547"/>
                    <a:pt x="158144" y="139588"/>
                  </a:cubicBezTo>
                  <a:lnTo>
                    <a:pt x="430424" y="412532"/>
                  </a:lnTo>
                  <a:close/>
                  <a:moveTo>
                    <a:pt x="444100" y="0"/>
                  </a:moveTo>
                  <a:cubicBezTo>
                    <a:pt x="558483" y="0"/>
                    <a:pt x="665405" y="43621"/>
                    <a:pt x="748706" y="120893"/>
                  </a:cubicBezTo>
                  <a:lnTo>
                    <a:pt x="814600" y="53592"/>
                  </a:lnTo>
                  <a:lnTo>
                    <a:pt x="790978" y="53592"/>
                  </a:lnTo>
                  <a:cubicBezTo>
                    <a:pt x="783518" y="53592"/>
                    <a:pt x="778545" y="47360"/>
                    <a:pt x="778545" y="41128"/>
                  </a:cubicBezTo>
                  <a:cubicBezTo>
                    <a:pt x="778545" y="33650"/>
                    <a:pt x="783518" y="27419"/>
                    <a:pt x="790978" y="27419"/>
                  </a:cubicBezTo>
                  <a:lnTo>
                    <a:pt x="845682" y="27419"/>
                  </a:lnTo>
                  <a:cubicBezTo>
                    <a:pt x="854385" y="27419"/>
                    <a:pt x="859358" y="33650"/>
                    <a:pt x="859358" y="41128"/>
                  </a:cubicBezTo>
                  <a:lnTo>
                    <a:pt x="859358" y="95966"/>
                  </a:lnTo>
                  <a:cubicBezTo>
                    <a:pt x="859358" y="103444"/>
                    <a:pt x="854385" y="109676"/>
                    <a:pt x="845682" y="109676"/>
                  </a:cubicBezTo>
                  <a:cubicBezTo>
                    <a:pt x="839466" y="109676"/>
                    <a:pt x="833249" y="103444"/>
                    <a:pt x="833249" y="95966"/>
                  </a:cubicBezTo>
                  <a:lnTo>
                    <a:pt x="833249" y="72286"/>
                  </a:lnTo>
                  <a:lnTo>
                    <a:pt x="766112" y="139588"/>
                  </a:lnTo>
                  <a:cubicBezTo>
                    <a:pt x="930226" y="314073"/>
                    <a:pt x="926496" y="588263"/>
                    <a:pt x="757409" y="759009"/>
                  </a:cubicBezTo>
                  <a:cubicBezTo>
                    <a:pt x="674108" y="842513"/>
                    <a:pt x="562213" y="888627"/>
                    <a:pt x="444100" y="888627"/>
                  </a:cubicBezTo>
                  <a:cubicBezTo>
                    <a:pt x="324745" y="888627"/>
                    <a:pt x="214092" y="842513"/>
                    <a:pt x="129548" y="759009"/>
                  </a:cubicBezTo>
                  <a:cubicBezTo>
                    <a:pt x="114629" y="742807"/>
                    <a:pt x="100953" y="726605"/>
                    <a:pt x="87277" y="707910"/>
                  </a:cubicBezTo>
                  <a:lnTo>
                    <a:pt x="22626" y="773965"/>
                  </a:lnTo>
                  <a:cubicBezTo>
                    <a:pt x="20139" y="776458"/>
                    <a:pt x="16409" y="777704"/>
                    <a:pt x="12679" y="777704"/>
                  </a:cubicBezTo>
                  <a:cubicBezTo>
                    <a:pt x="10193" y="777704"/>
                    <a:pt x="6463" y="776458"/>
                    <a:pt x="3976" y="773965"/>
                  </a:cubicBezTo>
                  <a:cubicBezTo>
                    <a:pt x="-997" y="768980"/>
                    <a:pt x="-997" y="760256"/>
                    <a:pt x="3976" y="755270"/>
                  </a:cubicBezTo>
                  <a:lnTo>
                    <a:pt x="72357" y="686723"/>
                  </a:lnTo>
                  <a:cubicBezTo>
                    <a:pt x="-40782" y="514730"/>
                    <a:pt x="-20889" y="280422"/>
                    <a:pt x="129548" y="129617"/>
                  </a:cubicBezTo>
                  <a:cubicBezTo>
                    <a:pt x="214092" y="46114"/>
                    <a:pt x="324745" y="0"/>
                    <a:pt x="44410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A02D449-F76E-7847-A2F2-76DFFB42E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9162" y="3591246"/>
              <a:ext cx="449012" cy="446437"/>
            </a:xfrm>
            <a:custGeom>
              <a:avLst/>
              <a:gdLst>
                <a:gd name="connsiteX0" fmla="*/ 418964 w 898023"/>
                <a:gd name="connsiteY0" fmla="*/ 767781 h 892874"/>
                <a:gd name="connsiteX1" fmla="*/ 432697 w 898023"/>
                <a:gd name="connsiteY1" fmla="*/ 781514 h 892874"/>
                <a:gd name="connsiteX2" fmla="*/ 432697 w 898023"/>
                <a:gd name="connsiteY2" fmla="*/ 836445 h 892874"/>
                <a:gd name="connsiteX3" fmla="*/ 418964 w 898023"/>
                <a:gd name="connsiteY3" fmla="*/ 848930 h 892874"/>
                <a:gd name="connsiteX4" fmla="*/ 406479 w 898023"/>
                <a:gd name="connsiteY4" fmla="*/ 836445 h 892874"/>
                <a:gd name="connsiteX5" fmla="*/ 406479 w 898023"/>
                <a:gd name="connsiteY5" fmla="*/ 781514 h 892874"/>
                <a:gd name="connsiteX6" fmla="*/ 418964 w 898023"/>
                <a:gd name="connsiteY6" fmla="*/ 767781 h 892874"/>
                <a:gd name="connsiteX7" fmla="*/ 774649 w 898023"/>
                <a:gd name="connsiteY7" fmla="*/ 529988 h 892874"/>
                <a:gd name="connsiteX8" fmla="*/ 753409 w 898023"/>
                <a:gd name="connsiteY8" fmla="*/ 543705 h 892874"/>
                <a:gd name="connsiteX9" fmla="*/ 752159 w 898023"/>
                <a:gd name="connsiteY9" fmla="*/ 544952 h 892874"/>
                <a:gd name="connsiteX10" fmla="*/ 750910 w 898023"/>
                <a:gd name="connsiteY10" fmla="*/ 546199 h 892874"/>
                <a:gd name="connsiteX11" fmla="*/ 750910 w 898023"/>
                <a:gd name="connsiteY11" fmla="*/ 552435 h 892874"/>
                <a:gd name="connsiteX12" fmla="*/ 750910 w 898023"/>
                <a:gd name="connsiteY12" fmla="*/ 553682 h 892874"/>
                <a:gd name="connsiteX13" fmla="*/ 750910 w 898023"/>
                <a:gd name="connsiteY13" fmla="*/ 554929 h 892874"/>
                <a:gd name="connsiteX14" fmla="*/ 769651 w 898023"/>
                <a:gd name="connsiteY14" fmla="*/ 577375 h 892874"/>
                <a:gd name="connsiteX15" fmla="*/ 842119 w 898023"/>
                <a:gd name="connsiteY15" fmla="*/ 592340 h 892874"/>
                <a:gd name="connsiteX16" fmla="*/ 835871 w 898023"/>
                <a:gd name="connsiteY16" fmla="*/ 582363 h 892874"/>
                <a:gd name="connsiteX17" fmla="*/ 842119 w 898023"/>
                <a:gd name="connsiteY17" fmla="*/ 551188 h 892874"/>
                <a:gd name="connsiteX18" fmla="*/ 852114 w 898023"/>
                <a:gd name="connsiteY18" fmla="*/ 544952 h 892874"/>
                <a:gd name="connsiteX19" fmla="*/ 778397 w 898023"/>
                <a:gd name="connsiteY19" fmla="*/ 529988 h 892874"/>
                <a:gd name="connsiteX20" fmla="*/ 774649 w 898023"/>
                <a:gd name="connsiteY20" fmla="*/ 529988 h 892874"/>
                <a:gd name="connsiteX21" fmla="*/ 506021 w 898023"/>
                <a:gd name="connsiteY21" fmla="*/ 407779 h 892874"/>
                <a:gd name="connsiteX22" fmla="*/ 449796 w 898023"/>
                <a:gd name="connsiteY22" fmla="*/ 462648 h 892874"/>
                <a:gd name="connsiteX23" fmla="*/ 452295 w 898023"/>
                <a:gd name="connsiteY23" fmla="*/ 471377 h 892874"/>
                <a:gd name="connsiteX24" fmla="*/ 528511 w 898023"/>
                <a:gd name="connsiteY24" fmla="*/ 487589 h 892874"/>
                <a:gd name="connsiteX25" fmla="*/ 528511 w 898023"/>
                <a:gd name="connsiteY25" fmla="*/ 477613 h 892874"/>
                <a:gd name="connsiteX26" fmla="*/ 506021 w 898023"/>
                <a:gd name="connsiteY26" fmla="*/ 407779 h 892874"/>
                <a:gd name="connsiteX27" fmla="*/ 416062 w 898023"/>
                <a:gd name="connsiteY27" fmla="*/ 365380 h 892874"/>
                <a:gd name="connsiteX28" fmla="*/ 304862 w 898023"/>
                <a:gd name="connsiteY28" fmla="*/ 477613 h 892874"/>
                <a:gd name="connsiteX29" fmla="*/ 416062 w 898023"/>
                <a:gd name="connsiteY29" fmla="*/ 589846 h 892874"/>
                <a:gd name="connsiteX30" fmla="*/ 522263 w 898023"/>
                <a:gd name="connsiteY30" fmla="*/ 513777 h 892874"/>
                <a:gd name="connsiteX31" fmla="*/ 447297 w 898023"/>
                <a:gd name="connsiteY31" fmla="*/ 497565 h 892874"/>
                <a:gd name="connsiteX32" fmla="*/ 416062 w 898023"/>
                <a:gd name="connsiteY32" fmla="*/ 513777 h 892874"/>
                <a:gd name="connsiteX33" fmla="*/ 381077 w 898023"/>
                <a:gd name="connsiteY33" fmla="*/ 477613 h 892874"/>
                <a:gd name="connsiteX34" fmla="*/ 416062 w 898023"/>
                <a:gd name="connsiteY34" fmla="*/ 441449 h 892874"/>
                <a:gd name="connsiteX35" fmla="*/ 431055 w 898023"/>
                <a:gd name="connsiteY35" fmla="*/ 443943 h 892874"/>
                <a:gd name="connsiteX36" fmla="*/ 486030 w 898023"/>
                <a:gd name="connsiteY36" fmla="*/ 389073 h 892874"/>
                <a:gd name="connsiteX37" fmla="*/ 468538 w 898023"/>
                <a:gd name="connsiteY37" fmla="*/ 377850 h 892874"/>
                <a:gd name="connsiteX38" fmla="*/ 416062 w 898023"/>
                <a:gd name="connsiteY38" fmla="*/ 365380 h 892874"/>
                <a:gd name="connsiteX39" fmla="*/ 603477 w 898023"/>
                <a:gd name="connsiteY39" fmla="*/ 309263 h 892874"/>
                <a:gd name="connsiteX40" fmla="*/ 523513 w 898023"/>
                <a:gd name="connsiteY40" fmla="*/ 389073 h 892874"/>
                <a:gd name="connsiteX41" fmla="*/ 554749 w 898023"/>
                <a:gd name="connsiteY41" fmla="*/ 477613 h 892874"/>
                <a:gd name="connsiteX42" fmla="*/ 554749 w 898023"/>
                <a:gd name="connsiteY42" fmla="*/ 493824 h 892874"/>
                <a:gd name="connsiteX43" fmla="*/ 665948 w 898023"/>
                <a:gd name="connsiteY43" fmla="*/ 517518 h 892874"/>
                <a:gd name="connsiteX44" fmla="*/ 668447 w 898023"/>
                <a:gd name="connsiteY44" fmla="*/ 477613 h 892874"/>
                <a:gd name="connsiteX45" fmla="*/ 603477 w 898023"/>
                <a:gd name="connsiteY45" fmla="*/ 309263 h 892874"/>
                <a:gd name="connsiteX46" fmla="*/ 416062 w 898023"/>
                <a:gd name="connsiteY46" fmla="*/ 226959 h 892874"/>
                <a:gd name="connsiteX47" fmla="*/ 164925 w 898023"/>
                <a:gd name="connsiteY47" fmla="*/ 477613 h 892874"/>
                <a:gd name="connsiteX48" fmla="*/ 416062 w 898023"/>
                <a:gd name="connsiteY48" fmla="*/ 729513 h 892874"/>
                <a:gd name="connsiteX49" fmla="*/ 660951 w 898023"/>
                <a:gd name="connsiteY49" fmla="*/ 542458 h 892874"/>
                <a:gd name="connsiteX50" fmla="*/ 548502 w 898023"/>
                <a:gd name="connsiteY50" fmla="*/ 518765 h 892874"/>
                <a:gd name="connsiteX51" fmla="*/ 416062 w 898023"/>
                <a:gd name="connsiteY51" fmla="*/ 616033 h 892874"/>
                <a:gd name="connsiteX52" fmla="*/ 277374 w 898023"/>
                <a:gd name="connsiteY52" fmla="*/ 477613 h 892874"/>
                <a:gd name="connsiteX53" fmla="*/ 416062 w 898023"/>
                <a:gd name="connsiteY53" fmla="*/ 339192 h 892874"/>
                <a:gd name="connsiteX54" fmla="*/ 479783 w 898023"/>
                <a:gd name="connsiteY54" fmla="*/ 354156 h 892874"/>
                <a:gd name="connsiteX55" fmla="*/ 506021 w 898023"/>
                <a:gd name="connsiteY55" fmla="*/ 371615 h 892874"/>
                <a:gd name="connsiteX56" fmla="*/ 585985 w 898023"/>
                <a:gd name="connsiteY56" fmla="*/ 291805 h 892874"/>
                <a:gd name="connsiteX57" fmla="*/ 416062 w 898023"/>
                <a:gd name="connsiteY57" fmla="*/ 226959 h 892874"/>
                <a:gd name="connsiteX58" fmla="*/ 700933 w 898023"/>
                <a:gd name="connsiteY58" fmla="*/ 211995 h 892874"/>
                <a:gd name="connsiteX59" fmla="*/ 622218 w 898023"/>
                <a:gd name="connsiteY59" fmla="*/ 291805 h 892874"/>
                <a:gd name="connsiteX60" fmla="*/ 694685 w 898023"/>
                <a:gd name="connsiteY60" fmla="*/ 477613 h 892874"/>
                <a:gd name="connsiteX61" fmla="*/ 690937 w 898023"/>
                <a:gd name="connsiteY61" fmla="*/ 522506 h 892874"/>
                <a:gd name="connsiteX62" fmla="*/ 729670 w 898023"/>
                <a:gd name="connsiteY62" fmla="*/ 531235 h 892874"/>
                <a:gd name="connsiteX63" fmla="*/ 783395 w 898023"/>
                <a:gd name="connsiteY63" fmla="*/ 505047 h 892874"/>
                <a:gd name="connsiteX64" fmla="*/ 804636 w 898023"/>
                <a:gd name="connsiteY64" fmla="*/ 508789 h 892874"/>
                <a:gd name="connsiteX65" fmla="*/ 807134 w 898023"/>
                <a:gd name="connsiteY65" fmla="*/ 477613 h 892874"/>
                <a:gd name="connsiteX66" fmla="*/ 700933 w 898023"/>
                <a:gd name="connsiteY66" fmla="*/ 211995 h 892874"/>
                <a:gd name="connsiteX67" fmla="*/ 416062 w 898023"/>
                <a:gd name="connsiteY67" fmla="*/ 88539 h 892874"/>
                <a:gd name="connsiteX68" fmla="*/ 27488 w 898023"/>
                <a:gd name="connsiteY68" fmla="*/ 477613 h 892874"/>
                <a:gd name="connsiteX69" fmla="*/ 416062 w 898023"/>
                <a:gd name="connsiteY69" fmla="*/ 866686 h 892874"/>
                <a:gd name="connsiteX70" fmla="*/ 784645 w 898023"/>
                <a:gd name="connsiteY70" fmla="*/ 607304 h 892874"/>
                <a:gd name="connsiteX71" fmla="*/ 764654 w 898023"/>
                <a:gd name="connsiteY71" fmla="*/ 602316 h 892874"/>
                <a:gd name="connsiteX72" fmla="*/ 724672 w 898023"/>
                <a:gd name="connsiteY72" fmla="*/ 557423 h 892874"/>
                <a:gd name="connsiteX73" fmla="*/ 724672 w 898023"/>
                <a:gd name="connsiteY73" fmla="*/ 556176 h 892874"/>
                <a:gd name="connsiteX74" fmla="*/ 685939 w 898023"/>
                <a:gd name="connsiteY74" fmla="*/ 548694 h 892874"/>
                <a:gd name="connsiteX75" fmla="*/ 416062 w 898023"/>
                <a:gd name="connsiteY75" fmla="*/ 755701 h 892874"/>
                <a:gd name="connsiteX76" fmla="*/ 138687 w 898023"/>
                <a:gd name="connsiteY76" fmla="*/ 477613 h 892874"/>
                <a:gd name="connsiteX77" fmla="*/ 416062 w 898023"/>
                <a:gd name="connsiteY77" fmla="*/ 199525 h 892874"/>
                <a:gd name="connsiteX78" fmla="*/ 603477 w 898023"/>
                <a:gd name="connsiteY78" fmla="*/ 271852 h 892874"/>
                <a:gd name="connsiteX79" fmla="*/ 682191 w 898023"/>
                <a:gd name="connsiteY79" fmla="*/ 193290 h 892874"/>
                <a:gd name="connsiteX80" fmla="*/ 416062 w 898023"/>
                <a:gd name="connsiteY80" fmla="*/ 88539 h 892874"/>
                <a:gd name="connsiteX81" fmla="*/ 827125 w 898023"/>
                <a:gd name="connsiteY81" fmla="*/ 38658 h 892874"/>
                <a:gd name="connsiteX82" fmla="*/ 774649 w 898023"/>
                <a:gd name="connsiteY82" fmla="*/ 91033 h 892874"/>
                <a:gd name="connsiteX83" fmla="*/ 770901 w 898023"/>
                <a:gd name="connsiteY83" fmla="*/ 118468 h 892874"/>
                <a:gd name="connsiteX84" fmla="*/ 772150 w 898023"/>
                <a:gd name="connsiteY84" fmla="*/ 119715 h 892874"/>
                <a:gd name="connsiteX85" fmla="*/ 773400 w 898023"/>
                <a:gd name="connsiteY85" fmla="*/ 120962 h 892874"/>
                <a:gd name="connsiteX86" fmla="*/ 777148 w 898023"/>
                <a:gd name="connsiteY86" fmla="*/ 125950 h 892874"/>
                <a:gd name="connsiteX87" fmla="*/ 779647 w 898023"/>
                <a:gd name="connsiteY87" fmla="*/ 127197 h 892874"/>
                <a:gd name="connsiteX88" fmla="*/ 808384 w 898023"/>
                <a:gd name="connsiteY88" fmla="*/ 123456 h 892874"/>
                <a:gd name="connsiteX89" fmla="*/ 859611 w 898023"/>
                <a:gd name="connsiteY89" fmla="*/ 71081 h 892874"/>
                <a:gd name="connsiteX90" fmla="*/ 849615 w 898023"/>
                <a:gd name="connsiteY90" fmla="*/ 71081 h 892874"/>
                <a:gd name="connsiteX91" fmla="*/ 827125 w 898023"/>
                <a:gd name="connsiteY91" fmla="*/ 48634 h 892874"/>
                <a:gd name="connsiteX92" fmla="*/ 842119 w 898023"/>
                <a:gd name="connsiteY92" fmla="*/ 1247 h 892874"/>
                <a:gd name="connsiteX93" fmla="*/ 853364 w 898023"/>
                <a:gd name="connsiteY93" fmla="*/ 18705 h 892874"/>
                <a:gd name="connsiteX94" fmla="*/ 853364 w 898023"/>
                <a:gd name="connsiteY94" fmla="*/ 44893 h 892874"/>
                <a:gd name="connsiteX95" fmla="*/ 879602 w 898023"/>
                <a:gd name="connsiteY95" fmla="*/ 44893 h 892874"/>
                <a:gd name="connsiteX96" fmla="*/ 895844 w 898023"/>
                <a:gd name="connsiteY96" fmla="*/ 56116 h 892874"/>
                <a:gd name="connsiteX97" fmla="*/ 893345 w 898023"/>
                <a:gd name="connsiteY97" fmla="*/ 76069 h 892874"/>
                <a:gd name="connsiteX98" fmla="*/ 825876 w 898023"/>
                <a:gd name="connsiteY98" fmla="*/ 142161 h 892874"/>
                <a:gd name="connsiteX99" fmla="*/ 790892 w 898023"/>
                <a:gd name="connsiteY99" fmla="*/ 155879 h 892874"/>
                <a:gd name="connsiteX100" fmla="*/ 767153 w 898023"/>
                <a:gd name="connsiteY100" fmla="*/ 149643 h 892874"/>
                <a:gd name="connsiteX101" fmla="*/ 764654 w 898023"/>
                <a:gd name="connsiteY101" fmla="*/ 148396 h 892874"/>
                <a:gd name="connsiteX102" fmla="*/ 719674 w 898023"/>
                <a:gd name="connsiteY102" fmla="*/ 193290 h 892874"/>
                <a:gd name="connsiteX103" fmla="*/ 832123 w 898023"/>
                <a:gd name="connsiteY103" fmla="*/ 477613 h 892874"/>
                <a:gd name="connsiteX104" fmla="*/ 830874 w 898023"/>
                <a:gd name="connsiteY104" fmla="*/ 515024 h 892874"/>
                <a:gd name="connsiteX105" fmla="*/ 875853 w 898023"/>
                <a:gd name="connsiteY105" fmla="*/ 523753 h 892874"/>
                <a:gd name="connsiteX106" fmla="*/ 889597 w 898023"/>
                <a:gd name="connsiteY106" fmla="*/ 537470 h 892874"/>
                <a:gd name="connsiteX107" fmla="*/ 882100 w 898023"/>
                <a:gd name="connsiteY107" fmla="*/ 556176 h 892874"/>
                <a:gd name="connsiteX108" fmla="*/ 859611 w 898023"/>
                <a:gd name="connsiteY108" fmla="*/ 571140 h 892874"/>
                <a:gd name="connsiteX109" fmla="*/ 874604 w 898023"/>
                <a:gd name="connsiteY109" fmla="*/ 593587 h 892874"/>
                <a:gd name="connsiteX110" fmla="*/ 874604 w 898023"/>
                <a:gd name="connsiteY110" fmla="*/ 613539 h 892874"/>
                <a:gd name="connsiteX111" fmla="*/ 859611 w 898023"/>
                <a:gd name="connsiteY111" fmla="*/ 621021 h 892874"/>
                <a:gd name="connsiteX112" fmla="*/ 855862 w 898023"/>
                <a:gd name="connsiteY112" fmla="*/ 621021 h 892874"/>
                <a:gd name="connsiteX113" fmla="*/ 809633 w 898023"/>
                <a:gd name="connsiteY113" fmla="*/ 611045 h 892874"/>
                <a:gd name="connsiteX114" fmla="*/ 416062 w 898023"/>
                <a:gd name="connsiteY114" fmla="*/ 892874 h 892874"/>
                <a:gd name="connsiteX115" fmla="*/ 0 w 898023"/>
                <a:gd name="connsiteY115" fmla="*/ 477613 h 892874"/>
                <a:gd name="connsiteX116" fmla="*/ 416062 w 898023"/>
                <a:gd name="connsiteY116" fmla="*/ 62351 h 892874"/>
                <a:gd name="connsiteX117" fmla="*/ 700933 w 898023"/>
                <a:gd name="connsiteY117" fmla="*/ 175831 h 892874"/>
                <a:gd name="connsiteX118" fmla="*/ 747162 w 898023"/>
                <a:gd name="connsiteY118" fmla="*/ 129691 h 892874"/>
                <a:gd name="connsiteX119" fmla="*/ 755908 w 898023"/>
                <a:gd name="connsiteY119" fmla="*/ 71081 h 892874"/>
                <a:gd name="connsiteX120" fmla="*/ 822128 w 898023"/>
                <a:gd name="connsiteY120" fmla="*/ 4988 h 892874"/>
                <a:gd name="connsiteX121" fmla="*/ 842119 w 898023"/>
                <a:gd name="connsiteY121" fmla="*/ 1247 h 89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898023" h="892874">
                  <a:moveTo>
                    <a:pt x="418964" y="767781"/>
                  </a:moveTo>
                  <a:cubicBezTo>
                    <a:pt x="426454" y="767781"/>
                    <a:pt x="432697" y="774023"/>
                    <a:pt x="432697" y="781514"/>
                  </a:cubicBezTo>
                  <a:lnTo>
                    <a:pt x="432697" y="836445"/>
                  </a:lnTo>
                  <a:cubicBezTo>
                    <a:pt x="432697" y="843936"/>
                    <a:pt x="426454" y="848930"/>
                    <a:pt x="418964" y="848930"/>
                  </a:cubicBezTo>
                  <a:cubicBezTo>
                    <a:pt x="412721" y="848930"/>
                    <a:pt x="406479" y="843936"/>
                    <a:pt x="406479" y="836445"/>
                  </a:cubicBezTo>
                  <a:lnTo>
                    <a:pt x="406479" y="781514"/>
                  </a:lnTo>
                  <a:cubicBezTo>
                    <a:pt x="406479" y="774023"/>
                    <a:pt x="412721" y="767781"/>
                    <a:pt x="418964" y="767781"/>
                  </a:cubicBezTo>
                  <a:close/>
                  <a:moveTo>
                    <a:pt x="774649" y="529988"/>
                  </a:moveTo>
                  <a:cubicBezTo>
                    <a:pt x="764654" y="529988"/>
                    <a:pt x="757157" y="534976"/>
                    <a:pt x="753409" y="543705"/>
                  </a:cubicBezTo>
                  <a:lnTo>
                    <a:pt x="752159" y="544952"/>
                  </a:lnTo>
                  <a:cubicBezTo>
                    <a:pt x="750910" y="546199"/>
                    <a:pt x="750910" y="546199"/>
                    <a:pt x="750910" y="546199"/>
                  </a:cubicBezTo>
                  <a:lnTo>
                    <a:pt x="750910" y="552435"/>
                  </a:lnTo>
                  <a:cubicBezTo>
                    <a:pt x="749660" y="552435"/>
                    <a:pt x="749660" y="552435"/>
                    <a:pt x="750910" y="553682"/>
                  </a:cubicBezTo>
                  <a:lnTo>
                    <a:pt x="750910" y="554929"/>
                  </a:lnTo>
                  <a:cubicBezTo>
                    <a:pt x="750910" y="566152"/>
                    <a:pt x="758406" y="574881"/>
                    <a:pt x="769651" y="577375"/>
                  </a:cubicBezTo>
                  <a:lnTo>
                    <a:pt x="842119" y="592340"/>
                  </a:lnTo>
                  <a:lnTo>
                    <a:pt x="835871" y="582363"/>
                  </a:lnTo>
                  <a:cubicBezTo>
                    <a:pt x="829624" y="572387"/>
                    <a:pt x="830874" y="557423"/>
                    <a:pt x="842119" y="551188"/>
                  </a:cubicBezTo>
                  <a:lnTo>
                    <a:pt x="852114" y="544952"/>
                  </a:lnTo>
                  <a:lnTo>
                    <a:pt x="778397" y="529988"/>
                  </a:lnTo>
                  <a:cubicBezTo>
                    <a:pt x="777148" y="529988"/>
                    <a:pt x="775899" y="529988"/>
                    <a:pt x="774649" y="529988"/>
                  </a:cubicBezTo>
                  <a:close/>
                  <a:moveTo>
                    <a:pt x="506021" y="407779"/>
                  </a:moveTo>
                  <a:lnTo>
                    <a:pt x="449796" y="462648"/>
                  </a:lnTo>
                  <a:cubicBezTo>
                    <a:pt x="451046" y="465142"/>
                    <a:pt x="452295" y="468883"/>
                    <a:pt x="452295" y="471377"/>
                  </a:cubicBezTo>
                  <a:lnTo>
                    <a:pt x="528511" y="487589"/>
                  </a:lnTo>
                  <a:cubicBezTo>
                    <a:pt x="528511" y="485095"/>
                    <a:pt x="528511" y="481354"/>
                    <a:pt x="528511" y="477613"/>
                  </a:cubicBezTo>
                  <a:cubicBezTo>
                    <a:pt x="528511" y="451425"/>
                    <a:pt x="521014" y="427731"/>
                    <a:pt x="506021" y="407779"/>
                  </a:cubicBezTo>
                  <a:close/>
                  <a:moveTo>
                    <a:pt x="416062" y="365380"/>
                  </a:moveTo>
                  <a:cubicBezTo>
                    <a:pt x="354839" y="365380"/>
                    <a:pt x="304862" y="415261"/>
                    <a:pt x="304862" y="477613"/>
                  </a:cubicBezTo>
                  <a:cubicBezTo>
                    <a:pt x="304862" y="539964"/>
                    <a:pt x="354839" y="589846"/>
                    <a:pt x="416062" y="589846"/>
                  </a:cubicBezTo>
                  <a:cubicBezTo>
                    <a:pt x="466039" y="589846"/>
                    <a:pt x="507270" y="557423"/>
                    <a:pt x="522263" y="513777"/>
                  </a:cubicBezTo>
                  <a:lnTo>
                    <a:pt x="447297" y="497565"/>
                  </a:lnTo>
                  <a:cubicBezTo>
                    <a:pt x="441050" y="507542"/>
                    <a:pt x="429805" y="513777"/>
                    <a:pt x="416062" y="513777"/>
                  </a:cubicBezTo>
                  <a:cubicBezTo>
                    <a:pt x="397320" y="513777"/>
                    <a:pt x="381077" y="497565"/>
                    <a:pt x="381077" y="477613"/>
                  </a:cubicBezTo>
                  <a:cubicBezTo>
                    <a:pt x="381077" y="457660"/>
                    <a:pt x="397320" y="441449"/>
                    <a:pt x="416062" y="441449"/>
                  </a:cubicBezTo>
                  <a:cubicBezTo>
                    <a:pt x="422309" y="441449"/>
                    <a:pt x="427306" y="442696"/>
                    <a:pt x="431055" y="443943"/>
                  </a:cubicBezTo>
                  <a:lnTo>
                    <a:pt x="486030" y="389073"/>
                  </a:lnTo>
                  <a:cubicBezTo>
                    <a:pt x="481032" y="385332"/>
                    <a:pt x="474785" y="381591"/>
                    <a:pt x="468538" y="377850"/>
                  </a:cubicBezTo>
                  <a:cubicBezTo>
                    <a:pt x="452295" y="370368"/>
                    <a:pt x="434803" y="365380"/>
                    <a:pt x="416062" y="365380"/>
                  </a:cubicBezTo>
                  <a:close/>
                  <a:moveTo>
                    <a:pt x="603477" y="309263"/>
                  </a:moveTo>
                  <a:lnTo>
                    <a:pt x="523513" y="389073"/>
                  </a:lnTo>
                  <a:cubicBezTo>
                    <a:pt x="543504" y="414014"/>
                    <a:pt x="554749" y="443943"/>
                    <a:pt x="554749" y="477613"/>
                  </a:cubicBezTo>
                  <a:cubicBezTo>
                    <a:pt x="554749" y="483848"/>
                    <a:pt x="554749" y="488836"/>
                    <a:pt x="554749" y="493824"/>
                  </a:cubicBezTo>
                  <a:lnTo>
                    <a:pt x="665948" y="517518"/>
                  </a:lnTo>
                  <a:cubicBezTo>
                    <a:pt x="667198" y="505047"/>
                    <a:pt x="668447" y="491330"/>
                    <a:pt x="668447" y="477613"/>
                  </a:cubicBezTo>
                  <a:cubicBezTo>
                    <a:pt x="668447" y="412767"/>
                    <a:pt x="644708" y="354156"/>
                    <a:pt x="603477" y="309263"/>
                  </a:cubicBezTo>
                  <a:close/>
                  <a:moveTo>
                    <a:pt x="416062" y="226959"/>
                  </a:moveTo>
                  <a:cubicBezTo>
                    <a:pt x="277374" y="226959"/>
                    <a:pt x="164925" y="339192"/>
                    <a:pt x="164925" y="477613"/>
                  </a:cubicBezTo>
                  <a:cubicBezTo>
                    <a:pt x="164925" y="616033"/>
                    <a:pt x="277374" y="729513"/>
                    <a:pt x="416062" y="729513"/>
                  </a:cubicBezTo>
                  <a:cubicBezTo>
                    <a:pt x="533508" y="729513"/>
                    <a:pt x="630964" y="650950"/>
                    <a:pt x="660951" y="542458"/>
                  </a:cubicBezTo>
                  <a:lnTo>
                    <a:pt x="548502" y="518765"/>
                  </a:lnTo>
                  <a:cubicBezTo>
                    <a:pt x="531010" y="576128"/>
                    <a:pt x="478533" y="616033"/>
                    <a:pt x="416062" y="616033"/>
                  </a:cubicBezTo>
                  <a:cubicBezTo>
                    <a:pt x="341096" y="616033"/>
                    <a:pt x="277374" y="554929"/>
                    <a:pt x="277374" y="477613"/>
                  </a:cubicBezTo>
                  <a:cubicBezTo>
                    <a:pt x="277374" y="400297"/>
                    <a:pt x="341096" y="339192"/>
                    <a:pt x="416062" y="339192"/>
                  </a:cubicBezTo>
                  <a:cubicBezTo>
                    <a:pt x="438551" y="339192"/>
                    <a:pt x="461041" y="344180"/>
                    <a:pt x="479783" y="354156"/>
                  </a:cubicBezTo>
                  <a:cubicBezTo>
                    <a:pt x="489778" y="359145"/>
                    <a:pt x="498524" y="364133"/>
                    <a:pt x="506021" y="371615"/>
                  </a:cubicBezTo>
                  <a:lnTo>
                    <a:pt x="585985" y="291805"/>
                  </a:lnTo>
                  <a:cubicBezTo>
                    <a:pt x="541005" y="250653"/>
                    <a:pt x="482282" y="226959"/>
                    <a:pt x="416062" y="226959"/>
                  </a:cubicBezTo>
                  <a:close/>
                  <a:moveTo>
                    <a:pt x="700933" y="211995"/>
                  </a:moveTo>
                  <a:lnTo>
                    <a:pt x="622218" y="291805"/>
                  </a:lnTo>
                  <a:cubicBezTo>
                    <a:pt x="667198" y="340439"/>
                    <a:pt x="694685" y="405285"/>
                    <a:pt x="694685" y="477613"/>
                  </a:cubicBezTo>
                  <a:cubicBezTo>
                    <a:pt x="694685" y="492577"/>
                    <a:pt x="693436" y="508789"/>
                    <a:pt x="690937" y="522506"/>
                  </a:cubicBezTo>
                  <a:lnTo>
                    <a:pt x="729670" y="531235"/>
                  </a:lnTo>
                  <a:cubicBezTo>
                    <a:pt x="739665" y="511283"/>
                    <a:pt x="762155" y="501306"/>
                    <a:pt x="783395" y="505047"/>
                  </a:cubicBezTo>
                  <a:lnTo>
                    <a:pt x="804636" y="508789"/>
                  </a:lnTo>
                  <a:cubicBezTo>
                    <a:pt x="807134" y="498812"/>
                    <a:pt x="807134" y="487589"/>
                    <a:pt x="807134" y="477613"/>
                  </a:cubicBezTo>
                  <a:cubicBezTo>
                    <a:pt x="807134" y="375356"/>
                    <a:pt x="767153" y="281829"/>
                    <a:pt x="700933" y="211995"/>
                  </a:cubicBezTo>
                  <a:close/>
                  <a:moveTo>
                    <a:pt x="416062" y="88539"/>
                  </a:moveTo>
                  <a:cubicBezTo>
                    <a:pt x="202408" y="88539"/>
                    <a:pt x="27488" y="263123"/>
                    <a:pt x="27488" y="477613"/>
                  </a:cubicBezTo>
                  <a:cubicBezTo>
                    <a:pt x="27488" y="692102"/>
                    <a:pt x="202408" y="866686"/>
                    <a:pt x="416062" y="866686"/>
                  </a:cubicBezTo>
                  <a:cubicBezTo>
                    <a:pt x="583486" y="866686"/>
                    <a:pt x="729670" y="763183"/>
                    <a:pt x="784645" y="607304"/>
                  </a:cubicBezTo>
                  <a:lnTo>
                    <a:pt x="764654" y="602316"/>
                  </a:lnTo>
                  <a:cubicBezTo>
                    <a:pt x="742164" y="598575"/>
                    <a:pt x="725921" y="579869"/>
                    <a:pt x="724672" y="557423"/>
                  </a:cubicBezTo>
                  <a:cubicBezTo>
                    <a:pt x="724672" y="557423"/>
                    <a:pt x="724672" y="557423"/>
                    <a:pt x="724672" y="556176"/>
                  </a:cubicBezTo>
                  <a:lnTo>
                    <a:pt x="685939" y="548694"/>
                  </a:lnTo>
                  <a:cubicBezTo>
                    <a:pt x="654704" y="667161"/>
                    <a:pt x="546003" y="755701"/>
                    <a:pt x="416062" y="755701"/>
                  </a:cubicBezTo>
                  <a:cubicBezTo>
                    <a:pt x="263631" y="755701"/>
                    <a:pt x="138687" y="630998"/>
                    <a:pt x="138687" y="477613"/>
                  </a:cubicBezTo>
                  <a:cubicBezTo>
                    <a:pt x="138687" y="324228"/>
                    <a:pt x="263631" y="199525"/>
                    <a:pt x="416062" y="199525"/>
                  </a:cubicBezTo>
                  <a:cubicBezTo>
                    <a:pt x="488529" y="199525"/>
                    <a:pt x="554749" y="226959"/>
                    <a:pt x="603477" y="271852"/>
                  </a:cubicBezTo>
                  <a:lnTo>
                    <a:pt x="682191" y="193290"/>
                  </a:lnTo>
                  <a:cubicBezTo>
                    <a:pt x="613472" y="128444"/>
                    <a:pt x="519765" y="88539"/>
                    <a:pt x="416062" y="88539"/>
                  </a:cubicBezTo>
                  <a:close/>
                  <a:moveTo>
                    <a:pt x="827125" y="38658"/>
                  </a:moveTo>
                  <a:lnTo>
                    <a:pt x="774649" y="91033"/>
                  </a:lnTo>
                  <a:cubicBezTo>
                    <a:pt x="767153" y="97268"/>
                    <a:pt x="764654" y="109738"/>
                    <a:pt x="770901" y="118468"/>
                  </a:cubicBezTo>
                  <a:lnTo>
                    <a:pt x="772150" y="119715"/>
                  </a:lnTo>
                  <a:cubicBezTo>
                    <a:pt x="772150" y="120962"/>
                    <a:pt x="772150" y="120962"/>
                    <a:pt x="773400" y="120962"/>
                  </a:cubicBezTo>
                  <a:lnTo>
                    <a:pt x="777148" y="125950"/>
                  </a:lnTo>
                  <a:lnTo>
                    <a:pt x="779647" y="127197"/>
                  </a:lnTo>
                  <a:cubicBezTo>
                    <a:pt x="788393" y="132185"/>
                    <a:pt x="800887" y="130938"/>
                    <a:pt x="808384" y="123456"/>
                  </a:cubicBezTo>
                  <a:lnTo>
                    <a:pt x="859611" y="71081"/>
                  </a:lnTo>
                  <a:lnTo>
                    <a:pt x="849615" y="71081"/>
                  </a:lnTo>
                  <a:cubicBezTo>
                    <a:pt x="837121" y="71081"/>
                    <a:pt x="827125" y="61104"/>
                    <a:pt x="827125" y="48634"/>
                  </a:cubicBezTo>
                  <a:close/>
                  <a:moveTo>
                    <a:pt x="842119" y="1247"/>
                  </a:moveTo>
                  <a:cubicBezTo>
                    <a:pt x="848366" y="4988"/>
                    <a:pt x="853364" y="11223"/>
                    <a:pt x="853364" y="18705"/>
                  </a:cubicBezTo>
                  <a:lnTo>
                    <a:pt x="853364" y="44893"/>
                  </a:lnTo>
                  <a:lnTo>
                    <a:pt x="879602" y="44893"/>
                  </a:lnTo>
                  <a:cubicBezTo>
                    <a:pt x="887098" y="44893"/>
                    <a:pt x="893345" y="49881"/>
                    <a:pt x="895844" y="56116"/>
                  </a:cubicBezTo>
                  <a:cubicBezTo>
                    <a:pt x="899593" y="63598"/>
                    <a:pt x="898343" y="71081"/>
                    <a:pt x="893345" y="76069"/>
                  </a:cubicBezTo>
                  <a:lnTo>
                    <a:pt x="825876" y="142161"/>
                  </a:lnTo>
                  <a:cubicBezTo>
                    <a:pt x="815880" y="152138"/>
                    <a:pt x="804636" y="155879"/>
                    <a:pt x="790892" y="155879"/>
                  </a:cubicBezTo>
                  <a:cubicBezTo>
                    <a:pt x="782146" y="155879"/>
                    <a:pt x="774649" y="154632"/>
                    <a:pt x="767153" y="149643"/>
                  </a:cubicBezTo>
                  <a:cubicBezTo>
                    <a:pt x="765903" y="149643"/>
                    <a:pt x="764654" y="149643"/>
                    <a:pt x="764654" y="148396"/>
                  </a:cubicBezTo>
                  <a:lnTo>
                    <a:pt x="719674" y="193290"/>
                  </a:lnTo>
                  <a:cubicBezTo>
                    <a:pt x="789642" y="268111"/>
                    <a:pt x="832123" y="367874"/>
                    <a:pt x="832123" y="477613"/>
                  </a:cubicBezTo>
                  <a:cubicBezTo>
                    <a:pt x="832123" y="490083"/>
                    <a:pt x="832123" y="502553"/>
                    <a:pt x="830874" y="515024"/>
                  </a:cubicBezTo>
                  <a:lnTo>
                    <a:pt x="875853" y="523753"/>
                  </a:lnTo>
                  <a:cubicBezTo>
                    <a:pt x="883350" y="525000"/>
                    <a:pt x="888348" y="529988"/>
                    <a:pt x="889597" y="537470"/>
                  </a:cubicBezTo>
                  <a:cubicBezTo>
                    <a:pt x="890846" y="544952"/>
                    <a:pt x="888348" y="552435"/>
                    <a:pt x="882100" y="556176"/>
                  </a:cubicBezTo>
                  <a:lnTo>
                    <a:pt x="859611" y="571140"/>
                  </a:lnTo>
                  <a:lnTo>
                    <a:pt x="874604" y="593587"/>
                  </a:lnTo>
                  <a:cubicBezTo>
                    <a:pt x="879602" y="599822"/>
                    <a:pt x="879602" y="607304"/>
                    <a:pt x="874604" y="613539"/>
                  </a:cubicBezTo>
                  <a:cubicBezTo>
                    <a:pt x="872105" y="618527"/>
                    <a:pt x="865858" y="621021"/>
                    <a:pt x="859611" y="621021"/>
                  </a:cubicBezTo>
                  <a:cubicBezTo>
                    <a:pt x="858361" y="621021"/>
                    <a:pt x="857112" y="621021"/>
                    <a:pt x="855862" y="621021"/>
                  </a:cubicBezTo>
                  <a:lnTo>
                    <a:pt x="809633" y="611045"/>
                  </a:lnTo>
                  <a:cubicBezTo>
                    <a:pt x="753409" y="779394"/>
                    <a:pt x="595980" y="892874"/>
                    <a:pt x="416062" y="892874"/>
                  </a:cubicBezTo>
                  <a:cubicBezTo>
                    <a:pt x="187415" y="892874"/>
                    <a:pt x="0" y="707066"/>
                    <a:pt x="0" y="477613"/>
                  </a:cubicBezTo>
                  <a:cubicBezTo>
                    <a:pt x="0" y="248159"/>
                    <a:pt x="187415" y="62351"/>
                    <a:pt x="416062" y="62351"/>
                  </a:cubicBezTo>
                  <a:cubicBezTo>
                    <a:pt x="527261" y="62351"/>
                    <a:pt x="627216" y="104750"/>
                    <a:pt x="700933" y="175831"/>
                  </a:cubicBezTo>
                  <a:lnTo>
                    <a:pt x="747162" y="129691"/>
                  </a:lnTo>
                  <a:cubicBezTo>
                    <a:pt x="737166" y="110986"/>
                    <a:pt x="740914" y="87292"/>
                    <a:pt x="755908" y="71081"/>
                  </a:cubicBezTo>
                  <a:lnTo>
                    <a:pt x="822128" y="4988"/>
                  </a:lnTo>
                  <a:cubicBezTo>
                    <a:pt x="828375" y="0"/>
                    <a:pt x="835871" y="-1247"/>
                    <a:pt x="842119" y="124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914586" y="232251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abase Performance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904406" y="3032881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ey Factors about Database Performance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546413" y="407434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Database Benchmarking</a:t>
              </a:r>
              <a:endParaRPr lang="ko-KR" altLang="en-US" sz="1400" b="1" dirty="0">
                <a:solidFill>
                  <a:schemeClr val="tx2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546413" y="4570305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nchmark your databas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307837" y="232251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tectu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203660" y="3032881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stgreSQL Module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845667" y="4074348"/>
              <a:ext cx="2134705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Linux Kernel Tun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845667" y="4570305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ne you Linux Box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501137" y="2322518"/>
              <a:ext cx="2134705" cy="738664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PostgreSQL Performance Tuning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501138" y="3032881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ne your PostgreSQL Box</a:t>
              </a:r>
            </a:p>
          </p:txBody>
        </p:sp>
        <p:grpSp>
          <p:nvGrpSpPr>
            <p:cNvPr id="26" name="Google Shape;7198;p70">
              <a:extLst>
                <a:ext uri="{FF2B5EF4-FFF2-40B4-BE49-F238E27FC236}">
                  <a16:creationId xmlns:a16="http://schemas.microsoft.com/office/drawing/2014/main" id="{11C9F3FE-5A0E-8549-95DE-2B0F2C822EFA}"/>
                </a:ext>
              </a:extLst>
            </p:cNvPr>
            <p:cNvGrpSpPr/>
            <p:nvPr/>
          </p:nvGrpSpPr>
          <p:grpSpPr>
            <a:xfrm>
              <a:off x="2849426" y="1784730"/>
              <a:ext cx="281854" cy="359242"/>
              <a:chOff x="1323907" y="3359888"/>
              <a:chExt cx="281854" cy="359242"/>
            </a:xfrm>
          </p:grpSpPr>
          <p:sp>
            <p:nvSpPr>
              <p:cNvPr id="27" name="Google Shape;7199;p70">
                <a:extLst>
                  <a:ext uri="{FF2B5EF4-FFF2-40B4-BE49-F238E27FC236}">
                    <a16:creationId xmlns:a16="http://schemas.microsoft.com/office/drawing/2014/main" id="{606951A2-CCCA-CA47-93F6-717111690A9C}"/>
                  </a:ext>
                </a:extLst>
              </p:cNvPr>
              <p:cNvSpPr/>
              <p:nvPr/>
            </p:nvSpPr>
            <p:spPr>
              <a:xfrm>
                <a:off x="1352940" y="3424919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8" y="1"/>
                    </a:moveTo>
                    <a:cubicBezTo>
                      <a:pt x="203" y="1"/>
                      <a:pt x="1" y="178"/>
                      <a:pt x="1" y="404"/>
                    </a:cubicBezTo>
                    <a:lnTo>
                      <a:pt x="1" y="10637"/>
                    </a:lnTo>
                    <a:cubicBezTo>
                      <a:pt x="1" y="10858"/>
                      <a:pt x="203" y="11035"/>
                      <a:pt x="448" y="11035"/>
                    </a:cubicBezTo>
                    <a:lnTo>
                      <a:pt x="8989" y="11035"/>
                    </a:lnTo>
                    <a:cubicBezTo>
                      <a:pt x="9234" y="11035"/>
                      <a:pt x="9436" y="10858"/>
                      <a:pt x="9436" y="10637"/>
                    </a:cubicBezTo>
                    <a:lnTo>
                      <a:pt x="9436" y="404"/>
                    </a:lnTo>
                    <a:cubicBezTo>
                      <a:pt x="9436" y="178"/>
                      <a:pt x="9234" y="1"/>
                      <a:pt x="8989" y="1"/>
                    </a:cubicBezTo>
                    <a:close/>
                  </a:path>
                </a:pathLst>
              </a:custGeom>
              <a:solidFill>
                <a:srgbClr val="F9FBF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7200;p70">
                <a:extLst>
                  <a:ext uri="{FF2B5EF4-FFF2-40B4-BE49-F238E27FC236}">
                    <a16:creationId xmlns:a16="http://schemas.microsoft.com/office/drawing/2014/main" id="{76277034-A228-B747-AAF6-E942C23F73E3}"/>
                  </a:ext>
                </a:extLst>
              </p:cNvPr>
              <p:cNvSpPr/>
              <p:nvPr/>
            </p:nvSpPr>
            <p:spPr>
              <a:xfrm>
                <a:off x="1329693" y="3395100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7" y="1"/>
                    </a:moveTo>
                    <a:cubicBezTo>
                      <a:pt x="197" y="1"/>
                      <a:pt x="0" y="179"/>
                      <a:pt x="0" y="405"/>
                    </a:cubicBezTo>
                    <a:lnTo>
                      <a:pt x="0" y="10637"/>
                    </a:lnTo>
                    <a:cubicBezTo>
                      <a:pt x="0" y="10858"/>
                      <a:pt x="202" y="11036"/>
                      <a:pt x="447" y="11036"/>
                    </a:cubicBezTo>
                    <a:lnTo>
                      <a:pt x="8988" y="11036"/>
                    </a:lnTo>
                    <a:cubicBezTo>
                      <a:pt x="9233" y="11036"/>
                      <a:pt x="9435" y="10858"/>
                      <a:pt x="9435" y="10637"/>
                    </a:cubicBezTo>
                    <a:lnTo>
                      <a:pt x="9435" y="405"/>
                    </a:lnTo>
                    <a:cubicBezTo>
                      <a:pt x="9435" y="179"/>
                      <a:pt x="9233" y="1"/>
                      <a:pt x="8988" y="1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7201;p70">
                <a:extLst>
                  <a:ext uri="{FF2B5EF4-FFF2-40B4-BE49-F238E27FC236}">
                    <a16:creationId xmlns:a16="http://schemas.microsoft.com/office/drawing/2014/main" id="{E23F884C-D651-A84C-9BF3-1EB25068F5EB}"/>
                  </a:ext>
                </a:extLst>
              </p:cNvPr>
              <p:cNvSpPr/>
              <p:nvPr/>
            </p:nvSpPr>
            <p:spPr>
              <a:xfrm>
                <a:off x="1553296" y="3395100"/>
                <a:ext cx="23431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895" h="11036" extrusionOk="0">
                    <a:moveTo>
                      <a:pt x="1" y="1"/>
                    </a:moveTo>
                    <a:lnTo>
                      <a:pt x="1" y="11036"/>
                    </a:lnTo>
                    <a:lnTo>
                      <a:pt x="447" y="11036"/>
                    </a:lnTo>
                    <a:cubicBezTo>
                      <a:pt x="692" y="11036"/>
                      <a:pt x="894" y="10858"/>
                      <a:pt x="894" y="10637"/>
                    </a:cubicBezTo>
                    <a:lnTo>
                      <a:pt x="894" y="405"/>
                    </a:lnTo>
                    <a:cubicBezTo>
                      <a:pt x="894" y="179"/>
                      <a:pt x="692" y="1"/>
                      <a:pt x="447" y="1"/>
                    </a:cubicBezTo>
                    <a:close/>
                  </a:path>
                </a:pathLst>
              </a:custGeom>
              <a:solidFill>
                <a:srgbClr val="FCFC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7202;p70">
                <a:extLst>
                  <a:ext uri="{FF2B5EF4-FFF2-40B4-BE49-F238E27FC236}">
                    <a16:creationId xmlns:a16="http://schemas.microsoft.com/office/drawing/2014/main" id="{BAB9F183-3FC2-0741-AC39-B6686F501BE9}"/>
                  </a:ext>
                </a:extLst>
              </p:cNvPr>
              <p:cNvSpPr/>
              <p:nvPr/>
            </p:nvSpPr>
            <p:spPr>
              <a:xfrm>
                <a:off x="1368910" y="3473954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E4EAE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7203;p70">
                <a:extLst>
                  <a:ext uri="{FF2B5EF4-FFF2-40B4-BE49-F238E27FC236}">
                    <a16:creationId xmlns:a16="http://schemas.microsoft.com/office/drawing/2014/main" id="{0355A4F8-1C01-F843-963F-4EF628B2A40B}"/>
                  </a:ext>
                </a:extLst>
              </p:cNvPr>
              <p:cNvSpPr/>
              <p:nvPr/>
            </p:nvSpPr>
            <p:spPr>
              <a:xfrm>
                <a:off x="1368910" y="3541996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07"/>
                    </a:cubicBezTo>
                    <a:lnTo>
                      <a:pt x="1" y="1500"/>
                    </a:lnTo>
                    <a:cubicBezTo>
                      <a:pt x="1" y="1562"/>
                      <a:pt x="54" y="1610"/>
                      <a:pt x="121" y="1610"/>
                    </a:cubicBezTo>
                    <a:lnTo>
                      <a:pt x="1663" y="1610"/>
                    </a:lnTo>
                    <a:cubicBezTo>
                      <a:pt x="1726" y="1610"/>
                      <a:pt x="1778" y="1562"/>
                      <a:pt x="1783" y="1500"/>
                    </a:cubicBezTo>
                    <a:lnTo>
                      <a:pt x="1783" y="107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7DDE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7204;p70">
                <a:extLst>
                  <a:ext uri="{FF2B5EF4-FFF2-40B4-BE49-F238E27FC236}">
                    <a16:creationId xmlns:a16="http://schemas.microsoft.com/office/drawing/2014/main" id="{74EE5F45-F58D-FE41-A962-D97465A2C568}"/>
                  </a:ext>
                </a:extLst>
              </p:cNvPr>
              <p:cNvSpPr/>
              <p:nvPr/>
            </p:nvSpPr>
            <p:spPr>
              <a:xfrm>
                <a:off x="1368910" y="3610038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9E1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7205;p70">
                <a:extLst>
                  <a:ext uri="{FF2B5EF4-FFF2-40B4-BE49-F238E27FC236}">
                    <a16:creationId xmlns:a16="http://schemas.microsoft.com/office/drawing/2014/main" id="{C5524A55-FFB8-4F43-9A00-827F149801A6}"/>
                  </a:ext>
                </a:extLst>
              </p:cNvPr>
              <p:cNvSpPr/>
              <p:nvPr/>
            </p:nvSpPr>
            <p:spPr>
              <a:xfrm>
                <a:off x="1357731" y="3386435"/>
                <a:ext cx="77755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2970" h="1390" extrusionOk="0">
                    <a:moveTo>
                      <a:pt x="442" y="1"/>
                    </a:moveTo>
                    <a:cubicBezTo>
                      <a:pt x="197" y="1"/>
                      <a:pt x="0" y="178"/>
                      <a:pt x="0" y="394"/>
                    </a:cubicBezTo>
                    <a:lnTo>
                      <a:pt x="0" y="1211"/>
                    </a:lnTo>
                    <a:cubicBezTo>
                      <a:pt x="10" y="1314"/>
                      <a:pt x="91" y="1389"/>
                      <a:pt x="193" y="1389"/>
                    </a:cubicBezTo>
                    <a:cubicBezTo>
                      <a:pt x="196" y="1389"/>
                      <a:pt x="199" y="1389"/>
                      <a:pt x="202" y="1389"/>
                    </a:cubicBezTo>
                    <a:lnTo>
                      <a:pt x="2767" y="1389"/>
                    </a:lnTo>
                    <a:cubicBezTo>
                      <a:pt x="2770" y="1389"/>
                      <a:pt x="2773" y="1389"/>
                      <a:pt x="2776" y="1389"/>
                    </a:cubicBezTo>
                    <a:cubicBezTo>
                      <a:pt x="2878" y="1389"/>
                      <a:pt x="2965" y="1309"/>
                      <a:pt x="2969" y="1206"/>
                    </a:cubicBezTo>
                    <a:lnTo>
                      <a:pt x="2969" y="394"/>
                    </a:lnTo>
                    <a:cubicBezTo>
                      <a:pt x="2969" y="178"/>
                      <a:pt x="2767" y="1"/>
                      <a:pt x="2527" y="1"/>
                    </a:cubicBezTo>
                    <a:close/>
                  </a:path>
                </a:pathLst>
              </a:custGeom>
              <a:solidFill>
                <a:srgbClr val="A2B0B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7206;p70">
                <a:extLst>
                  <a:ext uri="{FF2B5EF4-FFF2-40B4-BE49-F238E27FC236}">
                    <a16:creationId xmlns:a16="http://schemas.microsoft.com/office/drawing/2014/main" id="{0C6CDDEA-9899-ED48-B1C9-CEF3AE12E21A}"/>
                  </a:ext>
                </a:extLst>
              </p:cNvPr>
              <p:cNvSpPr/>
              <p:nvPr/>
            </p:nvSpPr>
            <p:spPr>
              <a:xfrm>
                <a:off x="1400614" y="3386304"/>
                <a:ext cx="34872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390" extrusionOk="0">
                    <a:moveTo>
                      <a:pt x="236" y="1389"/>
                    </a:moveTo>
                    <a:cubicBezTo>
                      <a:pt x="239" y="1389"/>
                      <a:pt x="242" y="1389"/>
                      <a:pt x="245" y="1389"/>
                    </a:cubicBezTo>
                    <a:cubicBezTo>
                      <a:pt x="248" y="1389"/>
                      <a:pt x="251" y="1389"/>
                      <a:pt x="254" y="1389"/>
                    </a:cubicBezTo>
                    <a:close/>
                    <a:moveTo>
                      <a:pt x="1" y="1"/>
                    </a:moveTo>
                    <a:cubicBezTo>
                      <a:pt x="241" y="1"/>
                      <a:pt x="443" y="183"/>
                      <a:pt x="443" y="399"/>
                    </a:cubicBezTo>
                    <a:lnTo>
                      <a:pt x="443" y="1211"/>
                    </a:lnTo>
                    <a:cubicBezTo>
                      <a:pt x="433" y="1307"/>
                      <a:pt x="352" y="1385"/>
                      <a:pt x="254" y="1389"/>
                    </a:cubicBezTo>
                    <a:lnTo>
                      <a:pt x="1129" y="1389"/>
                    </a:lnTo>
                    <a:cubicBezTo>
                      <a:pt x="1132" y="1389"/>
                      <a:pt x="1135" y="1389"/>
                      <a:pt x="1138" y="1389"/>
                    </a:cubicBezTo>
                    <a:cubicBezTo>
                      <a:pt x="1240" y="1389"/>
                      <a:pt x="1322" y="1309"/>
                      <a:pt x="1331" y="1211"/>
                    </a:cubicBezTo>
                    <a:lnTo>
                      <a:pt x="1331" y="395"/>
                    </a:lnTo>
                    <a:cubicBezTo>
                      <a:pt x="1331" y="178"/>
                      <a:pt x="1134" y="1"/>
                      <a:pt x="889" y="1"/>
                    </a:cubicBezTo>
                    <a:close/>
                  </a:path>
                </a:pathLst>
              </a:custGeom>
              <a:solidFill>
                <a:srgbClr val="98A9B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7207;p70">
                <a:extLst>
                  <a:ext uri="{FF2B5EF4-FFF2-40B4-BE49-F238E27FC236}">
                    <a16:creationId xmlns:a16="http://schemas.microsoft.com/office/drawing/2014/main" id="{9AD7733E-94E5-404C-A63B-DF6594E26233}"/>
                  </a:ext>
                </a:extLst>
              </p:cNvPr>
              <p:cNvSpPr/>
              <p:nvPr/>
            </p:nvSpPr>
            <p:spPr>
              <a:xfrm>
                <a:off x="1323907" y="3389917"/>
                <a:ext cx="281854" cy="329214"/>
              </a:xfrm>
              <a:custGeom>
                <a:avLst/>
                <a:gdLst/>
                <a:ahLst/>
                <a:cxnLst/>
                <a:rect l="l" t="t" r="r" b="b"/>
                <a:pathLst>
                  <a:path w="10766" h="12575" extrusionOk="0">
                    <a:moveTo>
                      <a:pt x="8199" y="1"/>
                    </a:moveTo>
                    <a:cubicBezTo>
                      <a:pt x="7939" y="1"/>
                      <a:pt x="7940" y="406"/>
                      <a:pt x="8203" y="406"/>
                    </a:cubicBezTo>
                    <a:cubicBezTo>
                      <a:pt x="8210" y="406"/>
                      <a:pt x="8217" y="406"/>
                      <a:pt x="8225" y="406"/>
                    </a:cubicBezTo>
                    <a:lnTo>
                      <a:pt x="9209" y="406"/>
                    </a:lnTo>
                    <a:cubicBezTo>
                      <a:pt x="9215" y="405"/>
                      <a:pt x="9221" y="405"/>
                      <a:pt x="9226" y="405"/>
                    </a:cubicBezTo>
                    <a:cubicBezTo>
                      <a:pt x="9334" y="405"/>
                      <a:pt x="9426" y="493"/>
                      <a:pt x="9430" y="603"/>
                    </a:cubicBezTo>
                    <a:lnTo>
                      <a:pt x="9430" y="10840"/>
                    </a:lnTo>
                    <a:cubicBezTo>
                      <a:pt x="9426" y="10950"/>
                      <a:pt x="9334" y="11038"/>
                      <a:pt x="9226" y="11038"/>
                    </a:cubicBezTo>
                    <a:cubicBezTo>
                      <a:pt x="9221" y="11038"/>
                      <a:pt x="9215" y="11037"/>
                      <a:pt x="9209" y="11037"/>
                    </a:cubicBezTo>
                    <a:lnTo>
                      <a:pt x="668" y="11037"/>
                    </a:lnTo>
                    <a:cubicBezTo>
                      <a:pt x="662" y="11037"/>
                      <a:pt x="656" y="11038"/>
                      <a:pt x="651" y="11038"/>
                    </a:cubicBezTo>
                    <a:cubicBezTo>
                      <a:pt x="539" y="11038"/>
                      <a:pt x="451" y="10950"/>
                      <a:pt x="442" y="10840"/>
                    </a:cubicBezTo>
                    <a:lnTo>
                      <a:pt x="442" y="10018"/>
                    </a:lnTo>
                    <a:cubicBezTo>
                      <a:pt x="430" y="9884"/>
                      <a:pt x="326" y="9817"/>
                      <a:pt x="221" y="9817"/>
                    </a:cubicBezTo>
                    <a:cubicBezTo>
                      <a:pt x="117" y="9817"/>
                      <a:pt x="12" y="9884"/>
                      <a:pt x="0" y="10018"/>
                    </a:cubicBezTo>
                    <a:lnTo>
                      <a:pt x="0" y="10835"/>
                    </a:lnTo>
                    <a:cubicBezTo>
                      <a:pt x="0" y="11167"/>
                      <a:pt x="298" y="11436"/>
                      <a:pt x="668" y="11436"/>
                    </a:cubicBezTo>
                    <a:lnTo>
                      <a:pt x="889" y="11436"/>
                    </a:lnTo>
                    <a:lnTo>
                      <a:pt x="889" y="11974"/>
                    </a:lnTo>
                    <a:cubicBezTo>
                      <a:pt x="889" y="12305"/>
                      <a:pt x="1191" y="12574"/>
                      <a:pt x="1557" y="12574"/>
                    </a:cubicBezTo>
                    <a:lnTo>
                      <a:pt x="10098" y="12574"/>
                    </a:lnTo>
                    <a:cubicBezTo>
                      <a:pt x="10468" y="12574"/>
                      <a:pt x="10766" y="12300"/>
                      <a:pt x="10766" y="11974"/>
                    </a:cubicBezTo>
                    <a:lnTo>
                      <a:pt x="10766" y="11714"/>
                    </a:lnTo>
                    <a:cubicBezTo>
                      <a:pt x="10754" y="11580"/>
                      <a:pt x="10649" y="11512"/>
                      <a:pt x="10545" y="11512"/>
                    </a:cubicBezTo>
                    <a:cubicBezTo>
                      <a:pt x="10440" y="11512"/>
                      <a:pt x="10336" y="11580"/>
                      <a:pt x="10324" y="11714"/>
                    </a:cubicBezTo>
                    <a:lnTo>
                      <a:pt x="10324" y="11974"/>
                    </a:lnTo>
                    <a:cubicBezTo>
                      <a:pt x="10315" y="12086"/>
                      <a:pt x="10223" y="12176"/>
                      <a:pt x="10107" y="12176"/>
                    </a:cubicBezTo>
                    <a:cubicBezTo>
                      <a:pt x="10104" y="12176"/>
                      <a:pt x="10101" y="12176"/>
                      <a:pt x="10098" y="12175"/>
                    </a:cubicBezTo>
                    <a:lnTo>
                      <a:pt x="1557" y="12175"/>
                    </a:lnTo>
                    <a:cubicBezTo>
                      <a:pt x="1554" y="12176"/>
                      <a:pt x="1551" y="12176"/>
                      <a:pt x="1548" y="12176"/>
                    </a:cubicBezTo>
                    <a:cubicBezTo>
                      <a:pt x="1436" y="12176"/>
                      <a:pt x="1340" y="12086"/>
                      <a:pt x="1336" y="11974"/>
                    </a:cubicBezTo>
                    <a:lnTo>
                      <a:pt x="1336" y="11436"/>
                    </a:lnTo>
                    <a:lnTo>
                      <a:pt x="9209" y="11436"/>
                    </a:lnTo>
                    <a:cubicBezTo>
                      <a:pt x="9579" y="11436"/>
                      <a:pt x="9877" y="11167"/>
                      <a:pt x="9877" y="10835"/>
                    </a:cubicBezTo>
                    <a:lnTo>
                      <a:pt x="9877" y="1539"/>
                    </a:lnTo>
                    <a:lnTo>
                      <a:pt x="10098" y="1539"/>
                    </a:lnTo>
                    <a:cubicBezTo>
                      <a:pt x="10101" y="1539"/>
                      <a:pt x="10105" y="1539"/>
                      <a:pt x="10108" y="1539"/>
                    </a:cubicBezTo>
                    <a:cubicBezTo>
                      <a:pt x="10223" y="1539"/>
                      <a:pt x="10315" y="1624"/>
                      <a:pt x="10324" y="1741"/>
                    </a:cubicBezTo>
                    <a:lnTo>
                      <a:pt x="10324" y="10854"/>
                    </a:lnTo>
                    <a:cubicBezTo>
                      <a:pt x="10329" y="10967"/>
                      <a:pt x="10424" y="11051"/>
                      <a:pt x="10536" y="11051"/>
                    </a:cubicBezTo>
                    <a:cubicBezTo>
                      <a:pt x="10539" y="11051"/>
                      <a:pt x="10542" y="11051"/>
                      <a:pt x="10545" y="11051"/>
                    </a:cubicBezTo>
                    <a:cubicBezTo>
                      <a:pt x="10548" y="11051"/>
                      <a:pt x="10551" y="11051"/>
                      <a:pt x="10554" y="11051"/>
                    </a:cubicBezTo>
                    <a:cubicBezTo>
                      <a:pt x="10666" y="11051"/>
                      <a:pt x="10761" y="10966"/>
                      <a:pt x="10766" y="10850"/>
                    </a:cubicBezTo>
                    <a:lnTo>
                      <a:pt x="10766" y="1736"/>
                    </a:lnTo>
                    <a:cubicBezTo>
                      <a:pt x="10766" y="1405"/>
                      <a:pt x="10468" y="1136"/>
                      <a:pt x="10098" y="1136"/>
                    </a:cubicBezTo>
                    <a:lnTo>
                      <a:pt x="9877" y="1136"/>
                    </a:lnTo>
                    <a:lnTo>
                      <a:pt x="9877" y="603"/>
                    </a:lnTo>
                    <a:cubicBezTo>
                      <a:pt x="9877" y="271"/>
                      <a:pt x="9575" y="2"/>
                      <a:pt x="9209" y="2"/>
                    </a:cubicBezTo>
                    <a:lnTo>
                      <a:pt x="8225" y="2"/>
                    </a:lnTo>
                    <a:cubicBezTo>
                      <a:pt x="8216" y="1"/>
                      <a:pt x="8207" y="1"/>
                      <a:pt x="8199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7208;p70">
                <a:extLst>
                  <a:ext uri="{FF2B5EF4-FFF2-40B4-BE49-F238E27FC236}">
                    <a16:creationId xmlns:a16="http://schemas.microsoft.com/office/drawing/2014/main" id="{1BFD7371-5269-AE45-A417-3751161A60C6}"/>
                  </a:ext>
                </a:extLst>
              </p:cNvPr>
              <p:cNvSpPr/>
              <p:nvPr/>
            </p:nvSpPr>
            <p:spPr>
              <a:xfrm>
                <a:off x="1323907" y="3359888"/>
                <a:ext cx="196219" cy="274471"/>
              </a:xfrm>
              <a:custGeom>
                <a:avLst/>
                <a:gdLst/>
                <a:ahLst/>
                <a:cxnLst/>
                <a:rect l="l" t="t" r="r" b="b"/>
                <a:pathLst>
                  <a:path w="7495" h="10484" extrusionOk="0">
                    <a:moveTo>
                      <a:pt x="3069" y="409"/>
                    </a:moveTo>
                    <a:cubicBezTo>
                      <a:pt x="3142" y="409"/>
                      <a:pt x="3205" y="470"/>
                      <a:pt x="3209" y="544"/>
                    </a:cubicBezTo>
                    <a:lnTo>
                      <a:pt x="3209" y="813"/>
                    </a:lnTo>
                    <a:lnTo>
                      <a:pt x="2344" y="813"/>
                    </a:lnTo>
                    <a:lnTo>
                      <a:pt x="2344" y="544"/>
                    </a:lnTo>
                    <a:lnTo>
                      <a:pt x="2349" y="544"/>
                    </a:lnTo>
                    <a:cubicBezTo>
                      <a:pt x="2354" y="470"/>
                      <a:pt x="2417" y="409"/>
                      <a:pt x="2490" y="409"/>
                    </a:cubicBezTo>
                    <a:cubicBezTo>
                      <a:pt x="2493" y="409"/>
                      <a:pt x="2495" y="409"/>
                      <a:pt x="2498" y="409"/>
                    </a:cubicBezTo>
                    <a:lnTo>
                      <a:pt x="3060" y="409"/>
                    </a:lnTo>
                    <a:cubicBezTo>
                      <a:pt x="3063" y="409"/>
                      <a:pt x="3066" y="409"/>
                      <a:pt x="3069" y="409"/>
                    </a:cubicBezTo>
                    <a:close/>
                    <a:moveTo>
                      <a:pt x="3833" y="1211"/>
                    </a:moveTo>
                    <a:cubicBezTo>
                      <a:pt x="3940" y="1211"/>
                      <a:pt x="4031" y="1296"/>
                      <a:pt x="4040" y="1408"/>
                    </a:cubicBezTo>
                    <a:lnTo>
                      <a:pt x="4040" y="2201"/>
                    </a:lnTo>
                    <a:lnTo>
                      <a:pt x="1518" y="2201"/>
                    </a:lnTo>
                    <a:lnTo>
                      <a:pt x="1518" y="1408"/>
                    </a:lnTo>
                    <a:cubicBezTo>
                      <a:pt x="1523" y="1296"/>
                      <a:pt x="1614" y="1211"/>
                      <a:pt x="1725" y="1211"/>
                    </a:cubicBezTo>
                    <a:cubicBezTo>
                      <a:pt x="1728" y="1211"/>
                      <a:pt x="1731" y="1211"/>
                      <a:pt x="1734" y="1211"/>
                    </a:cubicBezTo>
                    <a:lnTo>
                      <a:pt x="3824" y="1211"/>
                    </a:lnTo>
                    <a:cubicBezTo>
                      <a:pt x="3827" y="1211"/>
                      <a:pt x="3830" y="1211"/>
                      <a:pt x="3833" y="1211"/>
                    </a:cubicBezTo>
                    <a:close/>
                    <a:moveTo>
                      <a:pt x="2498" y="1"/>
                    </a:moveTo>
                    <a:cubicBezTo>
                      <a:pt x="2167" y="1"/>
                      <a:pt x="1902" y="241"/>
                      <a:pt x="1902" y="539"/>
                    </a:cubicBezTo>
                    <a:lnTo>
                      <a:pt x="1902" y="808"/>
                    </a:lnTo>
                    <a:lnTo>
                      <a:pt x="1734" y="808"/>
                    </a:lnTo>
                    <a:cubicBezTo>
                      <a:pt x="1730" y="808"/>
                      <a:pt x="1725" y="808"/>
                      <a:pt x="1721" y="808"/>
                    </a:cubicBezTo>
                    <a:cubicBezTo>
                      <a:pt x="1481" y="808"/>
                      <a:pt x="1261" y="932"/>
                      <a:pt x="1139" y="1144"/>
                    </a:cubicBezTo>
                    <a:lnTo>
                      <a:pt x="668" y="1144"/>
                    </a:lnTo>
                    <a:cubicBezTo>
                      <a:pt x="298" y="1144"/>
                      <a:pt x="0" y="1413"/>
                      <a:pt x="0" y="1745"/>
                    </a:cubicBezTo>
                    <a:lnTo>
                      <a:pt x="0" y="10281"/>
                    </a:lnTo>
                    <a:cubicBezTo>
                      <a:pt x="5" y="10398"/>
                      <a:pt x="100" y="10483"/>
                      <a:pt x="212" y="10483"/>
                    </a:cubicBezTo>
                    <a:cubicBezTo>
                      <a:pt x="215" y="10483"/>
                      <a:pt x="218" y="10483"/>
                      <a:pt x="221" y="10483"/>
                    </a:cubicBezTo>
                    <a:lnTo>
                      <a:pt x="226" y="10483"/>
                    </a:lnTo>
                    <a:cubicBezTo>
                      <a:pt x="229" y="10483"/>
                      <a:pt x="232" y="10483"/>
                      <a:pt x="235" y="10483"/>
                    </a:cubicBezTo>
                    <a:cubicBezTo>
                      <a:pt x="346" y="10483"/>
                      <a:pt x="442" y="10398"/>
                      <a:pt x="447" y="10281"/>
                    </a:cubicBezTo>
                    <a:lnTo>
                      <a:pt x="447" y="1750"/>
                    </a:lnTo>
                    <a:cubicBezTo>
                      <a:pt x="451" y="1635"/>
                      <a:pt x="543" y="1547"/>
                      <a:pt x="651" y="1547"/>
                    </a:cubicBezTo>
                    <a:cubicBezTo>
                      <a:pt x="657" y="1547"/>
                      <a:pt x="662" y="1547"/>
                      <a:pt x="668" y="1548"/>
                    </a:cubicBezTo>
                    <a:lnTo>
                      <a:pt x="1071" y="1548"/>
                    </a:lnTo>
                    <a:lnTo>
                      <a:pt x="1071" y="2220"/>
                    </a:lnTo>
                    <a:cubicBezTo>
                      <a:pt x="1071" y="2432"/>
                      <a:pt x="1264" y="2600"/>
                      <a:pt x="1499" y="2600"/>
                    </a:cubicBezTo>
                    <a:lnTo>
                      <a:pt x="4059" y="2600"/>
                    </a:lnTo>
                    <a:cubicBezTo>
                      <a:pt x="4295" y="2600"/>
                      <a:pt x="4487" y="2432"/>
                      <a:pt x="4487" y="2220"/>
                    </a:cubicBezTo>
                    <a:lnTo>
                      <a:pt x="4487" y="1543"/>
                    </a:lnTo>
                    <a:lnTo>
                      <a:pt x="7273" y="1543"/>
                    </a:lnTo>
                    <a:cubicBezTo>
                      <a:pt x="7279" y="1543"/>
                      <a:pt x="7285" y="1544"/>
                      <a:pt x="7291" y="1544"/>
                    </a:cubicBezTo>
                    <a:cubicBezTo>
                      <a:pt x="7403" y="1544"/>
                      <a:pt x="7494" y="1455"/>
                      <a:pt x="7494" y="1341"/>
                    </a:cubicBezTo>
                    <a:cubicBezTo>
                      <a:pt x="7494" y="1234"/>
                      <a:pt x="7407" y="1143"/>
                      <a:pt x="7297" y="1143"/>
                    </a:cubicBezTo>
                    <a:cubicBezTo>
                      <a:pt x="7289" y="1143"/>
                      <a:pt x="7281" y="1143"/>
                      <a:pt x="7273" y="1144"/>
                    </a:cubicBezTo>
                    <a:lnTo>
                      <a:pt x="4415" y="1144"/>
                    </a:lnTo>
                    <a:cubicBezTo>
                      <a:pt x="4292" y="932"/>
                      <a:pt x="4073" y="808"/>
                      <a:pt x="3833" y="808"/>
                    </a:cubicBezTo>
                    <a:cubicBezTo>
                      <a:pt x="3828" y="808"/>
                      <a:pt x="3824" y="808"/>
                      <a:pt x="3819" y="808"/>
                    </a:cubicBezTo>
                    <a:lnTo>
                      <a:pt x="3651" y="808"/>
                    </a:lnTo>
                    <a:lnTo>
                      <a:pt x="3651" y="539"/>
                    </a:lnTo>
                    <a:cubicBezTo>
                      <a:pt x="3651" y="246"/>
                      <a:pt x="3387" y="1"/>
                      <a:pt x="3055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7209;p70">
                <a:extLst>
                  <a:ext uri="{FF2B5EF4-FFF2-40B4-BE49-F238E27FC236}">
                    <a16:creationId xmlns:a16="http://schemas.microsoft.com/office/drawing/2014/main" id="{76971AB2-3F46-F645-A692-9448B139166B}"/>
                  </a:ext>
                </a:extLst>
              </p:cNvPr>
              <p:cNvSpPr/>
              <p:nvPr/>
            </p:nvSpPr>
            <p:spPr>
              <a:xfrm>
                <a:off x="1436690" y="3477070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2"/>
                      <a:pt x="3866" y="2"/>
                    </a:cubicBezTo>
                    <a:cubicBezTo>
                      <a:pt x="3861" y="2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7210;p70">
                <a:extLst>
                  <a:ext uri="{FF2B5EF4-FFF2-40B4-BE49-F238E27FC236}">
                    <a16:creationId xmlns:a16="http://schemas.microsoft.com/office/drawing/2014/main" id="{9B76537D-FA33-6946-A982-FE04E5435210}"/>
                  </a:ext>
                </a:extLst>
              </p:cNvPr>
              <p:cNvSpPr/>
              <p:nvPr/>
            </p:nvSpPr>
            <p:spPr>
              <a:xfrm>
                <a:off x="1436690" y="3499585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204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7211;p70">
                <a:extLst>
                  <a:ext uri="{FF2B5EF4-FFF2-40B4-BE49-F238E27FC236}">
                    <a16:creationId xmlns:a16="http://schemas.microsoft.com/office/drawing/2014/main" id="{EA002D04-EF20-E440-97B7-AA3771671C5A}"/>
                  </a:ext>
                </a:extLst>
              </p:cNvPr>
              <p:cNvSpPr/>
              <p:nvPr/>
            </p:nvSpPr>
            <p:spPr>
              <a:xfrm>
                <a:off x="1436690" y="3545112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1"/>
                      <a:pt x="3866" y="1"/>
                    </a:cubicBezTo>
                    <a:cubicBezTo>
                      <a:pt x="3861" y="1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7212;p70">
                <a:extLst>
                  <a:ext uri="{FF2B5EF4-FFF2-40B4-BE49-F238E27FC236}">
                    <a16:creationId xmlns:a16="http://schemas.microsoft.com/office/drawing/2014/main" id="{404869E6-4317-8D4D-ABF9-7FBCA4AF9CDB}"/>
                  </a:ext>
                </a:extLst>
              </p:cNvPr>
              <p:cNvSpPr/>
              <p:nvPr/>
            </p:nvSpPr>
            <p:spPr>
              <a:xfrm>
                <a:off x="1436690" y="3567626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199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7213;p70">
                <a:extLst>
                  <a:ext uri="{FF2B5EF4-FFF2-40B4-BE49-F238E27FC236}">
                    <a16:creationId xmlns:a16="http://schemas.microsoft.com/office/drawing/2014/main" id="{F810C7C8-5FBC-E347-AF77-F6241D7472B4}"/>
                  </a:ext>
                </a:extLst>
              </p:cNvPr>
              <p:cNvSpPr/>
              <p:nvPr/>
            </p:nvSpPr>
            <p:spPr>
              <a:xfrm>
                <a:off x="1436664" y="3613153"/>
                <a:ext cx="106605" cy="10655"/>
              </a:xfrm>
              <a:custGeom>
                <a:avLst/>
                <a:gdLst/>
                <a:ahLst/>
                <a:cxnLst/>
                <a:rect l="l" t="t" r="r" b="b"/>
                <a:pathLst>
                  <a:path w="4072" h="407" extrusionOk="0">
                    <a:moveTo>
                      <a:pt x="264" y="1"/>
                    </a:moveTo>
                    <a:cubicBezTo>
                      <a:pt x="0" y="1"/>
                      <a:pt x="2" y="407"/>
                      <a:pt x="268" y="407"/>
                    </a:cubicBezTo>
                    <a:cubicBezTo>
                      <a:pt x="275" y="407"/>
                      <a:pt x="283" y="406"/>
                      <a:pt x="291" y="406"/>
                    </a:cubicBezTo>
                    <a:lnTo>
                      <a:pt x="3850" y="406"/>
                    </a:lnTo>
                    <a:cubicBezTo>
                      <a:pt x="3856" y="406"/>
                      <a:pt x="3862" y="406"/>
                      <a:pt x="3867" y="406"/>
                    </a:cubicBezTo>
                    <a:cubicBezTo>
                      <a:pt x="3976" y="406"/>
                      <a:pt x="4071" y="318"/>
                      <a:pt x="4071" y="204"/>
                    </a:cubicBezTo>
                    <a:cubicBezTo>
                      <a:pt x="4071" y="90"/>
                      <a:pt x="3976" y="1"/>
                      <a:pt x="3867" y="1"/>
                    </a:cubicBezTo>
                    <a:cubicBezTo>
                      <a:pt x="3862" y="1"/>
                      <a:pt x="3856" y="2"/>
                      <a:pt x="3850" y="2"/>
                    </a:cubicBezTo>
                    <a:lnTo>
                      <a:pt x="291" y="2"/>
                    </a:lnTo>
                    <a:cubicBezTo>
                      <a:pt x="281" y="1"/>
                      <a:pt x="273" y="1"/>
                      <a:pt x="26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7214;p70">
                <a:extLst>
                  <a:ext uri="{FF2B5EF4-FFF2-40B4-BE49-F238E27FC236}">
                    <a16:creationId xmlns:a16="http://schemas.microsoft.com/office/drawing/2014/main" id="{FCC43EAC-B500-DA42-84BF-B3181EA260DE}"/>
                  </a:ext>
                </a:extLst>
              </p:cNvPr>
              <p:cNvSpPr/>
              <p:nvPr/>
            </p:nvSpPr>
            <p:spPr>
              <a:xfrm>
                <a:off x="1436690" y="3635668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5" y="401"/>
                      <a:pt x="3861" y="402"/>
                      <a:pt x="3866" y="402"/>
                    </a:cubicBezTo>
                    <a:cubicBezTo>
                      <a:pt x="3975" y="402"/>
                      <a:pt x="4070" y="313"/>
                      <a:pt x="4070" y="199"/>
                    </a:cubicBezTo>
                    <a:cubicBezTo>
                      <a:pt x="4070" y="91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7215;p70">
                <a:extLst>
                  <a:ext uri="{FF2B5EF4-FFF2-40B4-BE49-F238E27FC236}">
                    <a16:creationId xmlns:a16="http://schemas.microsoft.com/office/drawing/2014/main" id="{67F225C8-7DD5-FF4A-B8BE-685990452B9F}"/>
                  </a:ext>
                </a:extLst>
              </p:cNvPr>
              <p:cNvSpPr/>
              <p:nvPr/>
            </p:nvSpPr>
            <p:spPr>
              <a:xfrm>
                <a:off x="1363124" y="3467671"/>
                <a:ext cx="72859" cy="53748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53" extrusionOk="0">
                    <a:moveTo>
                      <a:pt x="1778" y="443"/>
                    </a:moveTo>
                    <a:lnTo>
                      <a:pt x="1778" y="520"/>
                    </a:lnTo>
                    <a:lnTo>
                      <a:pt x="1336" y="861"/>
                    </a:lnTo>
                    <a:lnTo>
                      <a:pt x="1125" y="654"/>
                    </a:lnTo>
                    <a:cubicBezTo>
                      <a:pt x="1080" y="612"/>
                      <a:pt x="1022" y="590"/>
                      <a:pt x="963" y="590"/>
                    </a:cubicBezTo>
                    <a:cubicBezTo>
                      <a:pt x="910" y="590"/>
                      <a:pt x="856" y="608"/>
                      <a:pt x="813" y="645"/>
                    </a:cubicBezTo>
                    <a:cubicBezTo>
                      <a:pt x="722" y="717"/>
                      <a:pt x="717" y="851"/>
                      <a:pt x="798" y="928"/>
                    </a:cubicBezTo>
                    <a:lnTo>
                      <a:pt x="1154" y="1274"/>
                    </a:lnTo>
                    <a:cubicBezTo>
                      <a:pt x="1197" y="1317"/>
                      <a:pt x="1260" y="1341"/>
                      <a:pt x="1317" y="1341"/>
                    </a:cubicBezTo>
                    <a:cubicBezTo>
                      <a:pt x="1370" y="1341"/>
                      <a:pt x="1423" y="1327"/>
                      <a:pt x="1461" y="1293"/>
                    </a:cubicBezTo>
                    <a:lnTo>
                      <a:pt x="1778" y="1053"/>
                    </a:lnTo>
                    <a:lnTo>
                      <a:pt x="1778" y="1649"/>
                    </a:lnTo>
                    <a:lnTo>
                      <a:pt x="443" y="1649"/>
                    </a:lnTo>
                    <a:lnTo>
                      <a:pt x="443" y="443"/>
                    </a:lnTo>
                    <a:close/>
                    <a:moveTo>
                      <a:pt x="2534" y="1"/>
                    </a:moveTo>
                    <a:cubicBezTo>
                      <a:pt x="2484" y="1"/>
                      <a:pt x="2434" y="17"/>
                      <a:pt x="2393" y="49"/>
                    </a:cubicBezTo>
                    <a:lnTo>
                      <a:pt x="2187" y="207"/>
                    </a:lnTo>
                    <a:cubicBezTo>
                      <a:pt x="2120" y="102"/>
                      <a:pt x="2009" y="39"/>
                      <a:pt x="1884" y="39"/>
                    </a:cubicBezTo>
                    <a:lnTo>
                      <a:pt x="342" y="39"/>
                    </a:lnTo>
                    <a:cubicBezTo>
                      <a:pt x="339" y="39"/>
                      <a:pt x="336" y="39"/>
                      <a:pt x="333" y="39"/>
                    </a:cubicBezTo>
                    <a:cubicBezTo>
                      <a:pt x="154" y="39"/>
                      <a:pt x="10" y="172"/>
                      <a:pt x="1" y="352"/>
                    </a:cubicBezTo>
                    <a:lnTo>
                      <a:pt x="1" y="1745"/>
                    </a:lnTo>
                    <a:cubicBezTo>
                      <a:pt x="10" y="1919"/>
                      <a:pt x="154" y="2052"/>
                      <a:pt x="333" y="2052"/>
                    </a:cubicBezTo>
                    <a:cubicBezTo>
                      <a:pt x="336" y="2052"/>
                      <a:pt x="339" y="2052"/>
                      <a:pt x="342" y="2052"/>
                    </a:cubicBezTo>
                    <a:lnTo>
                      <a:pt x="1884" y="2052"/>
                    </a:lnTo>
                    <a:cubicBezTo>
                      <a:pt x="1887" y="2052"/>
                      <a:pt x="1890" y="2052"/>
                      <a:pt x="1893" y="2052"/>
                    </a:cubicBezTo>
                    <a:cubicBezTo>
                      <a:pt x="2067" y="2052"/>
                      <a:pt x="2216" y="1919"/>
                      <a:pt x="2225" y="1745"/>
                    </a:cubicBezTo>
                    <a:lnTo>
                      <a:pt x="2225" y="707"/>
                    </a:lnTo>
                    <a:lnTo>
                      <a:pt x="2682" y="356"/>
                    </a:lnTo>
                    <a:cubicBezTo>
                      <a:pt x="2773" y="289"/>
                      <a:pt x="2782" y="155"/>
                      <a:pt x="2706" y="73"/>
                    </a:cubicBezTo>
                    <a:cubicBezTo>
                      <a:pt x="2658" y="25"/>
                      <a:pt x="2595" y="1"/>
                      <a:pt x="253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7216;p70">
                <a:extLst>
                  <a:ext uri="{FF2B5EF4-FFF2-40B4-BE49-F238E27FC236}">
                    <a16:creationId xmlns:a16="http://schemas.microsoft.com/office/drawing/2014/main" id="{FAC66D6E-6585-EC43-B597-AA3120DFDB77}"/>
                  </a:ext>
                </a:extLst>
              </p:cNvPr>
              <p:cNvSpPr/>
              <p:nvPr/>
            </p:nvSpPr>
            <p:spPr>
              <a:xfrm>
                <a:off x="1363124" y="3536184"/>
                <a:ext cx="72859" cy="53145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30" extrusionOk="0">
                    <a:moveTo>
                      <a:pt x="1778" y="425"/>
                    </a:moveTo>
                    <a:lnTo>
                      <a:pt x="1778" y="521"/>
                    </a:lnTo>
                    <a:lnTo>
                      <a:pt x="1336" y="862"/>
                    </a:lnTo>
                    <a:lnTo>
                      <a:pt x="1125" y="655"/>
                    </a:lnTo>
                    <a:cubicBezTo>
                      <a:pt x="1080" y="613"/>
                      <a:pt x="1022" y="591"/>
                      <a:pt x="963" y="591"/>
                    </a:cubicBezTo>
                    <a:cubicBezTo>
                      <a:pt x="910" y="591"/>
                      <a:pt x="856" y="609"/>
                      <a:pt x="813" y="646"/>
                    </a:cubicBezTo>
                    <a:cubicBezTo>
                      <a:pt x="722" y="713"/>
                      <a:pt x="717" y="852"/>
                      <a:pt x="798" y="929"/>
                    </a:cubicBezTo>
                    <a:lnTo>
                      <a:pt x="1154" y="1275"/>
                    </a:lnTo>
                    <a:cubicBezTo>
                      <a:pt x="1197" y="1318"/>
                      <a:pt x="1260" y="1342"/>
                      <a:pt x="1317" y="1342"/>
                    </a:cubicBezTo>
                    <a:cubicBezTo>
                      <a:pt x="1370" y="1342"/>
                      <a:pt x="1423" y="1323"/>
                      <a:pt x="1461" y="1294"/>
                    </a:cubicBezTo>
                    <a:lnTo>
                      <a:pt x="1778" y="1054"/>
                    </a:lnTo>
                    <a:lnTo>
                      <a:pt x="1778" y="1631"/>
                    </a:lnTo>
                    <a:lnTo>
                      <a:pt x="443" y="1631"/>
                    </a:lnTo>
                    <a:lnTo>
                      <a:pt x="443" y="425"/>
                    </a:lnTo>
                    <a:close/>
                    <a:moveTo>
                      <a:pt x="2531" y="0"/>
                    </a:moveTo>
                    <a:cubicBezTo>
                      <a:pt x="2481" y="0"/>
                      <a:pt x="2431" y="16"/>
                      <a:pt x="2389" y="50"/>
                    </a:cubicBezTo>
                    <a:lnTo>
                      <a:pt x="2192" y="199"/>
                    </a:lnTo>
                    <a:cubicBezTo>
                      <a:pt x="2131" y="92"/>
                      <a:pt x="2017" y="21"/>
                      <a:pt x="1892" y="21"/>
                    </a:cubicBezTo>
                    <a:cubicBezTo>
                      <a:pt x="1887" y="21"/>
                      <a:pt x="1883" y="21"/>
                      <a:pt x="1879" y="21"/>
                    </a:cubicBezTo>
                    <a:lnTo>
                      <a:pt x="342" y="21"/>
                    </a:lnTo>
                    <a:cubicBezTo>
                      <a:pt x="336" y="21"/>
                      <a:pt x="330" y="21"/>
                      <a:pt x="324" y="21"/>
                    </a:cubicBezTo>
                    <a:cubicBezTo>
                      <a:pt x="150" y="21"/>
                      <a:pt x="10" y="157"/>
                      <a:pt x="1" y="329"/>
                    </a:cubicBezTo>
                    <a:lnTo>
                      <a:pt x="1" y="1722"/>
                    </a:lnTo>
                    <a:cubicBezTo>
                      <a:pt x="10" y="1894"/>
                      <a:pt x="150" y="2030"/>
                      <a:pt x="324" y="2030"/>
                    </a:cubicBezTo>
                    <a:cubicBezTo>
                      <a:pt x="330" y="2030"/>
                      <a:pt x="336" y="2030"/>
                      <a:pt x="342" y="2029"/>
                    </a:cubicBezTo>
                    <a:lnTo>
                      <a:pt x="1884" y="2029"/>
                    </a:lnTo>
                    <a:cubicBezTo>
                      <a:pt x="1890" y="2030"/>
                      <a:pt x="1896" y="2030"/>
                      <a:pt x="1901" y="2030"/>
                    </a:cubicBezTo>
                    <a:cubicBezTo>
                      <a:pt x="2072" y="2030"/>
                      <a:pt x="2216" y="1894"/>
                      <a:pt x="2225" y="1722"/>
                    </a:cubicBezTo>
                    <a:lnTo>
                      <a:pt x="2225" y="708"/>
                    </a:lnTo>
                    <a:lnTo>
                      <a:pt x="2682" y="358"/>
                    </a:lnTo>
                    <a:cubicBezTo>
                      <a:pt x="2773" y="290"/>
                      <a:pt x="2782" y="156"/>
                      <a:pt x="2706" y="74"/>
                    </a:cubicBezTo>
                    <a:cubicBezTo>
                      <a:pt x="2657" y="26"/>
                      <a:pt x="2594" y="0"/>
                      <a:pt x="253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7217;p70">
                <a:extLst>
                  <a:ext uri="{FF2B5EF4-FFF2-40B4-BE49-F238E27FC236}">
                    <a16:creationId xmlns:a16="http://schemas.microsoft.com/office/drawing/2014/main" id="{970A049C-B414-2E45-A31B-1F8BA848E542}"/>
                  </a:ext>
                </a:extLst>
              </p:cNvPr>
              <p:cNvSpPr/>
              <p:nvPr/>
            </p:nvSpPr>
            <p:spPr>
              <a:xfrm>
                <a:off x="1363124" y="3604750"/>
                <a:ext cx="72859" cy="52753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15" extrusionOk="0">
                    <a:moveTo>
                      <a:pt x="1778" y="405"/>
                    </a:moveTo>
                    <a:lnTo>
                      <a:pt x="1778" y="554"/>
                    </a:lnTo>
                    <a:lnTo>
                      <a:pt x="1336" y="890"/>
                    </a:lnTo>
                    <a:lnTo>
                      <a:pt x="1125" y="688"/>
                    </a:lnTo>
                    <a:cubicBezTo>
                      <a:pt x="1079" y="645"/>
                      <a:pt x="1020" y="623"/>
                      <a:pt x="960" y="623"/>
                    </a:cubicBezTo>
                    <a:cubicBezTo>
                      <a:pt x="908" y="623"/>
                      <a:pt x="856" y="640"/>
                      <a:pt x="813" y="674"/>
                    </a:cubicBezTo>
                    <a:cubicBezTo>
                      <a:pt x="722" y="746"/>
                      <a:pt x="717" y="880"/>
                      <a:pt x="798" y="957"/>
                    </a:cubicBezTo>
                    <a:lnTo>
                      <a:pt x="1154" y="1308"/>
                    </a:lnTo>
                    <a:cubicBezTo>
                      <a:pt x="1197" y="1351"/>
                      <a:pt x="1260" y="1370"/>
                      <a:pt x="1317" y="1370"/>
                    </a:cubicBezTo>
                    <a:cubicBezTo>
                      <a:pt x="1370" y="1370"/>
                      <a:pt x="1423" y="1356"/>
                      <a:pt x="1461" y="1322"/>
                    </a:cubicBezTo>
                    <a:lnTo>
                      <a:pt x="1778" y="1082"/>
                    </a:lnTo>
                    <a:lnTo>
                      <a:pt x="1778" y="1611"/>
                    </a:lnTo>
                    <a:lnTo>
                      <a:pt x="443" y="1611"/>
                    </a:lnTo>
                    <a:lnTo>
                      <a:pt x="443" y="405"/>
                    </a:lnTo>
                    <a:close/>
                    <a:moveTo>
                      <a:pt x="324" y="1"/>
                    </a:moveTo>
                    <a:cubicBezTo>
                      <a:pt x="150" y="1"/>
                      <a:pt x="10" y="137"/>
                      <a:pt x="1" y="309"/>
                    </a:cubicBezTo>
                    <a:lnTo>
                      <a:pt x="1" y="1702"/>
                    </a:lnTo>
                    <a:cubicBezTo>
                      <a:pt x="10" y="1881"/>
                      <a:pt x="154" y="2014"/>
                      <a:pt x="333" y="2014"/>
                    </a:cubicBezTo>
                    <a:cubicBezTo>
                      <a:pt x="336" y="2014"/>
                      <a:pt x="339" y="2014"/>
                      <a:pt x="342" y="2014"/>
                    </a:cubicBezTo>
                    <a:lnTo>
                      <a:pt x="1884" y="2014"/>
                    </a:lnTo>
                    <a:cubicBezTo>
                      <a:pt x="1887" y="2014"/>
                      <a:pt x="1890" y="2014"/>
                      <a:pt x="1893" y="2014"/>
                    </a:cubicBezTo>
                    <a:cubicBezTo>
                      <a:pt x="2067" y="2014"/>
                      <a:pt x="2216" y="1881"/>
                      <a:pt x="2225" y="1702"/>
                    </a:cubicBezTo>
                    <a:lnTo>
                      <a:pt x="2225" y="732"/>
                    </a:lnTo>
                    <a:lnTo>
                      <a:pt x="2682" y="381"/>
                    </a:lnTo>
                    <a:cubicBezTo>
                      <a:pt x="2773" y="314"/>
                      <a:pt x="2782" y="179"/>
                      <a:pt x="2706" y="97"/>
                    </a:cubicBezTo>
                    <a:cubicBezTo>
                      <a:pt x="2658" y="50"/>
                      <a:pt x="2595" y="25"/>
                      <a:pt x="2533" y="25"/>
                    </a:cubicBezTo>
                    <a:cubicBezTo>
                      <a:pt x="2482" y="25"/>
                      <a:pt x="2432" y="41"/>
                      <a:pt x="2389" y="73"/>
                    </a:cubicBezTo>
                    <a:lnTo>
                      <a:pt x="2389" y="78"/>
                    </a:lnTo>
                    <a:lnTo>
                      <a:pt x="2211" y="217"/>
                    </a:lnTo>
                    <a:cubicBezTo>
                      <a:pt x="2159" y="87"/>
                      <a:pt x="2035" y="1"/>
                      <a:pt x="1896" y="1"/>
                    </a:cubicBezTo>
                    <a:cubicBezTo>
                      <a:pt x="1892" y="1"/>
                      <a:pt x="1888" y="1"/>
                      <a:pt x="1884" y="1"/>
                    </a:cubicBezTo>
                    <a:lnTo>
                      <a:pt x="342" y="1"/>
                    </a:lnTo>
                    <a:cubicBezTo>
                      <a:pt x="336" y="1"/>
                      <a:pt x="330" y="1"/>
                      <a:pt x="32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6" name="Google Shape;5522;p67">
              <a:extLst>
                <a:ext uri="{FF2B5EF4-FFF2-40B4-BE49-F238E27FC236}">
                  <a16:creationId xmlns:a16="http://schemas.microsoft.com/office/drawing/2014/main" id="{CCB1B6C8-DCCD-BB48-BEC3-D20D72559AE8}"/>
                </a:ext>
              </a:extLst>
            </p:cNvPr>
            <p:cNvGrpSpPr/>
            <p:nvPr/>
          </p:nvGrpSpPr>
          <p:grpSpPr>
            <a:xfrm>
              <a:off x="9210336" y="1584723"/>
              <a:ext cx="698104" cy="698208"/>
              <a:chOff x="2565073" y="2075876"/>
              <a:chExt cx="672482" cy="672518"/>
            </a:xfrm>
          </p:grpSpPr>
          <p:sp>
            <p:nvSpPr>
              <p:cNvPr id="47" name="Google Shape;5523;p67">
                <a:extLst>
                  <a:ext uri="{FF2B5EF4-FFF2-40B4-BE49-F238E27FC236}">
                    <a16:creationId xmlns:a16="http://schemas.microsoft.com/office/drawing/2014/main" id="{9AAD1688-027E-6A40-9294-36C9CAB6C22A}"/>
                  </a:ext>
                </a:extLst>
              </p:cNvPr>
              <p:cNvSpPr/>
              <p:nvPr/>
            </p:nvSpPr>
            <p:spPr>
              <a:xfrm>
                <a:off x="2642193" y="2530650"/>
                <a:ext cx="419588" cy="217743"/>
              </a:xfrm>
              <a:custGeom>
                <a:avLst/>
                <a:gdLst/>
                <a:ahLst/>
                <a:cxnLst/>
                <a:rect l="l" t="t" r="r" b="b"/>
                <a:pathLst>
                  <a:path w="130611" h="67780" extrusionOk="0">
                    <a:moveTo>
                      <a:pt x="28498" y="0"/>
                    </a:moveTo>
                    <a:cubicBezTo>
                      <a:pt x="24484" y="0"/>
                      <a:pt x="20456" y="1023"/>
                      <a:pt x="16802" y="3132"/>
                    </a:cubicBezTo>
                    <a:lnTo>
                      <a:pt x="16191" y="3487"/>
                    </a:lnTo>
                    <a:cubicBezTo>
                      <a:pt x="1795" y="11796"/>
                      <a:pt x="1" y="31826"/>
                      <a:pt x="12628" y="42639"/>
                    </a:cubicBezTo>
                    <a:cubicBezTo>
                      <a:pt x="28340" y="56094"/>
                      <a:pt x="48088" y="64970"/>
                      <a:pt x="69808" y="67207"/>
                    </a:cubicBezTo>
                    <a:cubicBezTo>
                      <a:pt x="70015" y="67227"/>
                      <a:pt x="70217" y="67252"/>
                      <a:pt x="70419" y="67271"/>
                    </a:cubicBezTo>
                    <a:cubicBezTo>
                      <a:pt x="70804" y="67306"/>
                      <a:pt x="71188" y="67345"/>
                      <a:pt x="71572" y="67375"/>
                    </a:cubicBezTo>
                    <a:cubicBezTo>
                      <a:pt x="72080" y="67419"/>
                      <a:pt x="72588" y="67464"/>
                      <a:pt x="73100" y="67498"/>
                    </a:cubicBezTo>
                    <a:lnTo>
                      <a:pt x="73440" y="67523"/>
                    </a:lnTo>
                    <a:cubicBezTo>
                      <a:pt x="75877" y="67694"/>
                      <a:pt x="78323" y="67780"/>
                      <a:pt x="80773" y="67780"/>
                    </a:cubicBezTo>
                    <a:cubicBezTo>
                      <a:pt x="97672" y="67780"/>
                      <a:pt x="114788" y="63683"/>
                      <a:pt x="130611" y="55083"/>
                    </a:cubicBezTo>
                    <a:lnTo>
                      <a:pt x="106348" y="13068"/>
                    </a:lnTo>
                    <a:cubicBezTo>
                      <a:pt x="98422" y="17162"/>
                      <a:pt x="89641" y="19287"/>
                      <a:pt x="80747" y="19287"/>
                    </a:cubicBezTo>
                    <a:cubicBezTo>
                      <a:pt x="79675" y="19287"/>
                      <a:pt x="78601" y="19256"/>
                      <a:pt x="77526" y="19194"/>
                    </a:cubicBezTo>
                    <a:cubicBezTo>
                      <a:pt x="77220" y="19174"/>
                      <a:pt x="76910" y="19149"/>
                      <a:pt x="76599" y="19130"/>
                    </a:cubicBezTo>
                    <a:cubicBezTo>
                      <a:pt x="76072" y="19090"/>
                      <a:pt x="75545" y="19051"/>
                      <a:pt x="75017" y="18997"/>
                    </a:cubicBezTo>
                    <a:cubicBezTo>
                      <a:pt x="74943" y="18992"/>
                      <a:pt x="74865" y="18982"/>
                      <a:pt x="74791" y="18972"/>
                    </a:cubicBezTo>
                    <a:cubicBezTo>
                      <a:pt x="73347" y="18819"/>
                      <a:pt x="71908" y="18612"/>
                      <a:pt x="70478" y="18351"/>
                    </a:cubicBezTo>
                    <a:cubicBezTo>
                      <a:pt x="70409" y="18336"/>
                      <a:pt x="70340" y="18331"/>
                      <a:pt x="70266" y="18317"/>
                    </a:cubicBezTo>
                    <a:cubicBezTo>
                      <a:pt x="60646" y="16518"/>
                      <a:pt x="51666" y="12220"/>
                      <a:pt x="44224" y="5857"/>
                    </a:cubicBezTo>
                    <a:cubicBezTo>
                      <a:pt x="39725" y="2011"/>
                      <a:pt x="34125" y="0"/>
                      <a:pt x="2849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5524;p67">
                <a:extLst>
                  <a:ext uri="{FF2B5EF4-FFF2-40B4-BE49-F238E27FC236}">
                    <a16:creationId xmlns:a16="http://schemas.microsoft.com/office/drawing/2014/main" id="{581BC15F-109D-224B-9522-F92A04AFA3F6}"/>
                  </a:ext>
                </a:extLst>
              </p:cNvPr>
              <p:cNvSpPr/>
              <p:nvPr/>
            </p:nvSpPr>
            <p:spPr>
              <a:xfrm>
                <a:off x="2910083" y="2420918"/>
                <a:ext cx="327379" cy="312727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47" extrusionOk="0">
                    <a:moveTo>
                      <a:pt x="53377" y="1"/>
                    </a:moveTo>
                    <a:cubicBezTo>
                      <a:pt x="52884" y="9843"/>
                      <a:pt x="49823" y="19390"/>
                      <a:pt x="44495" y="27689"/>
                    </a:cubicBezTo>
                    <a:lnTo>
                      <a:pt x="44490" y="27684"/>
                    </a:lnTo>
                    <a:cubicBezTo>
                      <a:pt x="37847" y="37980"/>
                      <a:pt x="27936" y="45964"/>
                      <a:pt x="16216" y="50163"/>
                    </a:cubicBezTo>
                    <a:cubicBezTo>
                      <a:pt x="6521" y="53638"/>
                      <a:pt x="1" y="62746"/>
                      <a:pt x="1" y="73041"/>
                    </a:cubicBezTo>
                    <a:cubicBezTo>
                      <a:pt x="1" y="86873"/>
                      <a:pt x="11336" y="97347"/>
                      <a:pt x="24173" y="97347"/>
                    </a:cubicBezTo>
                    <a:cubicBezTo>
                      <a:pt x="26820" y="97347"/>
                      <a:pt x="29530" y="96902"/>
                      <a:pt x="32219" y="95949"/>
                    </a:cubicBezTo>
                    <a:cubicBezTo>
                      <a:pt x="49306" y="89897"/>
                      <a:pt x="64347" y="79537"/>
                      <a:pt x="76048" y="66171"/>
                    </a:cubicBezTo>
                    <a:cubicBezTo>
                      <a:pt x="76329" y="65870"/>
                      <a:pt x="76609" y="65570"/>
                      <a:pt x="76881" y="65254"/>
                    </a:cubicBezTo>
                    <a:cubicBezTo>
                      <a:pt x="92548" y="46905"/>
                      <a:pt x="101267" y="23751"/>
                      <a:pt x="101907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5525;p67">
                <a:extLst>
                  <a:ext uri="{FF2B5EF4-FFF2-40B4-BE49-F238E27FC236}">
                    <a16:creationId xmlns:a16="http://schemas.microsoft.com/office/drawing/2014/main" id="{26DF8CBD-C31E-D345-95C1-12285194BC34}"/>
                  </a:ext>
                </a:extLst>
              </p:cNvPr>
              <p:cNvSpPr/>
              <p:nvPr/>
            </p:nvSpPr>
            <p:spPr>
              <a:xfrm>
                <a:off x="2999034" y="2125384"/>
                <a:ext cx="238522" cy="411351"/>
              </a:xfrm>
              <a:custGeom>
                <a:avLst/>
                <a:gdLst/>
                <a:ahLst/>
                <a:cxnLst/>
                <a:rect l="l" t="t" r="r" b="b"/>
                <a:pathLst>
                  <a:path w="74248" h="128047" extrusionOk="0">
                    <a:moveTo>
                      <a:pt x="24273" y="0"/>
                    </a:moveTo>
                    <a:lnTo>
                      <a:pt x="0" y="42036"/>
                    </a:lnTo>
                    <a:cubicBezTo>
                      <a:pt x="7521" y="46866"/>
                      <a:pt x="13775" y="53430"/>
                      <a:pt x="18236" y="61173"/>
                    </a:cubicBezTo>
                    <a:cubicBezTo>
                      <a:pt x="18694" y="61966"/>
                      <a:pt x="19128" y="62765"/>
                      <a:pt x="19542" y="63573"/>
                    </a:cubicBezTo>
                    <a:cubicBezTo>
                      <a:pt x="19601" y="63696"/>
                      <a:pt x="19665" y="63829"/>
                      <a:pt x="19729" y="63953"/>
                    </a:cubicBezTo>
                    <a:cubicBezTo>
                      <a:pt x="19970" y="64426"/>
                      <a:pt x="20202" y="64904"/>
                      <a:pt x="20429" y="65382"/>
                    </a:cubicBezTo>
                    <a:cubicBezTo>
                      <a:pt x="20557" y="65658"/>
                      <a:pt x="20685" y="65929"/>
                      <a:pt x="20808" y="66210"/>
                    </a:cubicBezTo>
                    <a:cubicBezTo>
                      <a:pt x="21079" y="66806"/>
                      <a:pt x="21346" y="67408"/>
                      <a:pt x="21592" y="68014"/>
                    </a:cubicBezTo>
                    <a:cubicBezTo>
                      <a:pt x="21676" y="68226"/>
                      <a:pt x="21755" y="68433"/>
                      <a:pt x="21838" y="68645"/>
                    </a:cubicBezTo>
                    <a:cubicBezTo>
                      <a:pt x="22036" y="69142"/>
                      <a:pt x="22223" y="69645"/>
                      <a:pt x="22405" y="70148"/>
                    </a:cubicBezTo>
                    <a:cubicBezTo>
                      <a:pt x="25816" y="79561"/>
                      <a:pt x="26649" y="89714"/>
                      <a:pt x="24815" y="99561"/>
                    </a:cubicBezTo>
                    <a:cubicBezTo>
                      <a:pt x="22952" y="109586"/>
                      <a:pt x="27738" y="119679"/>
                      <a:pt x="36570" y="124780"/>
                    </a:cubicBezTo>
                    <a:cubicBezTo>
                      <a:pt x="40441" y="127014"/>
                      <a:pt x="44590" y="128047"/>
                      <a:pt x="48651" y="128047"/>
                    </a:cubicBezTo>
                    <a:cubicBezTo>
                      <a:pt x="59837" y="128047"/>
                      <a:pt x="70356" y="120215"/>
                      <a:pt x="72558" y="108102"/>
                    </a:cubicBezTo>
                    <a:cubicBezTo>
                      <a:pt x="73686" y="101887"/>
                      <a:pt x="74248" y="95579"/>
                      <a:pt x="74248" y="89261"/>
                    </a:cubicBezTo>
                    <a:cubicBezTo>
                      <a:pt x="74243" y="71168"/>
                      <a:pt x="69655" y="54150"/>
                      <a:pt x="61577" y="39305"/>
                    </a:cubicBezTo>
                    <a:lnTo>
                      <a:pt x="61557" y="39315"/>
                    </a:lnTo>
                    <a:cubicBezTo>
                      <a:pt x="61123" y="38517"/>
                      <a:pt x="60680" y="37723"/>
                      <a:pt x="60222" y="36930"/>
                    </a:cubicBezTo>
                    <a:cubicBezTo>
                      <a:pt x="51178" y="21262"/>
                      <a:pt x="38694" y="8818"/>
                      <a:pt x="24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5526;p67">
                <a:extLst>
                  <a:ext uri="{FF2B5EF4-FFF2-40B4-BE49-F238E27FC236}">
                    <a16:creationId xmlns:a16="http://schemas.microsoft.com/office/drawing/2014/main" id="{6B83F034-6750-1343-A8CB-AA1B933732A9}"/>
                  </a:ext>
                </a:extLst>
              </p:cNvPr>
              <p:cNvSpPr/>
              <p:nvPr/>
            </p:nvSpPr>
            <p:spPr>
              <a:xfrm>
                <a:off x="2740849" y="2075876"/>
                <a:ext cx="419604" cy="217734"/>
              </a:xfrm>
              <a:custGeom>
                <a:avLst/>
                <a:gdLst/>
                <a:ahLst/>
                <a:cxnLst/>
                <a:rect l="l" t="t" r="r" b="b"/>
                <a:pathLst>
                  <a:path w="130616" h="67777" extrusionOk="0">
                    <a:moveTo>
                      <a:pt x="49853" y="1"/>
                    </a:moveTo>
                    <a:cubicBezTo>
                      <a:pt x="32949" y="1"/>
                      <a:pt x="15828" y="4093"/>
                      <a:pt x="0" y="12696"/>
                    </a:cubicBezTo>
                    <a:lnTo>
                      <a:pt x="24263" y="54711"/>
                    </a:lnTo>
                    <a:cubicBezTo>
                      <a:pt x="32189" y="50621"/>
                      <a:pt x="40970" y="48497"/>
                      <a:pt x="49860" y="48497"/>
                    </a:cubicBezTo>
                    <a:cubicBezTo>
                      <a:pt x="50932" y="48497"/>
                      <a:pt x="52006" y="48528"/>
                      <a:pt x="53080" y="48590"/>
                    </a:cubicBezTo>
                    <a:cubicBezTo>
                      <a:pt x="53391" y="48605"/>
                      <a:pt x="53701" y="48630"/>
                      <a:pt x="54012" y="48649"/>
                    </a:cubicBezTo>
                    <a:cubicBezTo>
                      <a:pt x="54539" y="48689"/>
                      <a:pt x="55066" y="48728"/>
                      <a:pt x="55594" y="48782"/>
                    </a:cubicBezTo>
                    <a:cubicBezTo>
                      <a:pt x="55668" y="48792"/>
                      <a:pt x="55746" y="48802"/>
                      <a:pt x="55820" y="48807"/>
                    </a:cubicBezTo>
                    <a:cubicBezTo>
                      <a:pt x="57264" y="48960"/>
                      <a:pt x="58704" y="49172"/>
                      <a:pt x="60133" y="49433"/>
                    </a:cubicBezTo>
                    <a:cubicBezTo>
                      <a:pt x="60202" y="49448"/>
                      <a:pt x="60271" y="49453"/>
                      <a:pt x="60345" y="49462"/>
                    </a:cubicBezTo>
                    <a:cubicBezTo>
                      <a:pt x="69965" y="51266"/>
                      <a:pt x="78945" y="55564"/>
                      <a:pt x="86387" y="61927"/>
                    </a:cubicBezTo>
                    <a:cubicBezTo>
                      <a:pt x="90886" y="65767"/>
                      <a:pt x="96484" y="67777"/>
                      <a:pt x="102111" y="67777"/>
                    </a:cubicBezTo>
                    <a:cubicBezTo>
                      <a:pt x="106125" y="67777"/>
                      <a:pt x="110154" y="66754"/>
                      <a:pt x="113809" y="64642"/>
                    </a:cubicBezTo>
                    <a:lnTo>
                      <a:pt x="114420" y="64292"/>
                    </a:lnTo>
                    <a:cubicBezTo>
                      <a:pt x="128816" y="55983"/>
                      <a:pt x="130615" y="35958"/>
                      <a:pt x="117988" y="25140"/>
                    </a:cubicBezTo>
                    <a:cubicBezTo>
                      <a:pt x="102271" y="11685"/>
                      <a:pt x="82523" y="2809"/>
                      <a:pt x="60803" y="572"/>
                    </a:cubicBezTo>
                    <a:cubicBezTo>
                      <a:pt x="60596" y="552"/>
                      <a:pt x="60394" y="532"/>
                      <a:pt x="60192" y="513"/>
                    </a:cubicBezTo>
                    <a:cubicBezTo>
                      <a:pt x="59808" y="473"/>
                      <a:pt x="59423" y="439"/>
                      <a:pt x="59039" y="404"/>
                    </a:cubicBezTo>
                    <a:cubicBezTo>
                      <a:pt x="58531" y="360"/>
                      <a:pt x="58023" y="320"/>
                      <a:pt x="57511" y="281"/>
                    </a:cubicBezTo>
                    <a:lnTo>
                      <a:pt x="57171" y="256"/>
                    </a:lnTo>
                    <a:cubicBezTo>
                      <a:pt x="54739" y="86"/>
                      <a:pt x="52298" y="1"/>
                      <a:pt x="4985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527;p67">
                <a:extLst>
                  <a:ext uri="{FF2B5EF4-FFF2-40B4-BE49-F238E27FC236}">
                    <a16:creationId xmlns:a16="http://schemas.microsoft.com/office/drawing/2014/main" id="{9DDF3569-80B0-AD40-91BC-97902F12293B}"/>
                  </a:ext>
                </a:extLst>
              </p:cNvPr>
              <p:cNvSpPr/>
              <p:nvPr/>
            </p:nvSpPr>
            <p:spPr>
              <a:xfrm>
                <a:off x="2565167" y="2090625"/>
                <a:ext cx="327379" cy="312740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51" extrusionOk="0">
                    <a:moveTo>
                      <a:pt x="77732" y="1"/>
                    </a:moveTo>
                    <a:cubicBezTo>
                      <a:pt x="75086" y="1"/>
                      <a:pt x="72377" y="446"/>
                      <a:pt x="69690" y="1397"/>
                    </a:cubicBezTo>
                    <a:cubicBezTo>
                      <a:pt x="52607" y="7449"/>
                      <a:pt x="37561" y="17814"/>
                      <a:pt x="25865" y="31175"/>
                    </a:cubicBezTo>
                    <a:cubicBezTo>
                      <a:pt x="25580" y="31476"/>
                      <a:pt x="25299" y="31776"/>
                      <a:pt x="25028" y="32097"/>
                    </a:cubicBezTo>
                    <a:cubicBezTo>
                      <a:pt x="9365" y="50441"/>
                      <a:pt x="646" y="73600"/>
                      <a:pt x="1" y="97350"/>
                    </a:cubicBezTo>
                    <a:lnTo>
                      <a:pt x="48536" y="97350"/>
                    </a:lnTo>
                    <a:cubicBezTo>
                      <a:pt x="49024" y="87503"/>
                      <a:pt x="52085" y="77956"/>
                      <a:pt x="57413" y="69662"/>
                    </a:cubicBezTo>
                    <a:lnTo>
                      <a:pt x="57418" y="69662"/>
                    </a:lnTo>
                    <a:cubicBezTo>
                      <a:pt x="64061" y="59371"/>
                      <a:pt x="73977" y="51382"/>
                      <a:pt x="85697" y="47183"/>
                    </a:cubicBezTo>
                    <a:cubicBezTo>
                      <a:pt x="95382" y="43708"/>
                      <a:pt x="101907" y="34605"/>
                      <a:pt x="101907" y="24310"/>
                    </a:cubicBezTo>
                    <a:cubicBezTo>
                      <a:pt x="101907" y="10473"/>
                      <a:pt x="90570" y="1"/>
                      <a:pt x="77732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5528;p67">
                <a:extLst>
                  <a:ext uri="{FF2B5EF4-FFF2-40B4-BE49-F238E27FC236}">
                    <a16:creationId xmlns:a16="http://schemas.microsoft.com/office/drawing/2014/main" id="{ED2FDB22-8EC3-5441-8BD1-EB9133719EA0}"/>
                  </a:ext>
                </a:extLst>
              </p:cNvPr>
              <p:cNvSpPr/>
              <p:nvPr/>
            </p:nvSpPr>
            <p:spPr>
              <a:xfrm>
                <a:off x="2565073" y="2287538"/>
                <a:ext cx="218572" cy="409555"/>
              </a:xfrm>
              <a:custGeom>
                <a:avLst/>
                <a:gdLst/>
                <a:ahLst/>
                <a:cxnLst/>
                <a:rect l="l" t="t" r="r" b="b"/>
                <a:pathLst>
                  <a:path w="68038" h="127488" extrusionOk="0">
                    <a:moveTo>
                      <a:pt x="25598" y="0"/>
                    </a:moveTo>
                    <a:cubicBezTo>
                      <a:pt x="14413" y="0"/>
                      <a:pt x="3897" y="7831"/>
                      <a:pt x="1695" y="19943"/>
                    </a:cubicBezTo>
                    <a:cubicBezTo>
                      <a:pt x="567" y="26163"/>
                      <a:pt x="0" y="32466"/>
                      <a:pt x="5" y="38785"/>
                    </a:cubicBezTo>
                    <a:cubicBezTo>
                      <a:pt x="5" y="56877"/>
                      <a:pt x="4598" y="73900"/>
                      <a:pt x="12676" y="88745"/>
                    </a:cubicBezTo>
                    <a:lnTo>
                      <a:pt x="12696" y="88735"/>
                    </a:lnTo>
                    <a:cubicBezTo>
                      <a:pt x="13125" y="89533"/>
                      <a:pt x="13568" y="90327"/>
                      <a:pt x="14027" y="91120"/>
                    </a:cubicBezTo>
                    <a:cubicBezTo>
                      <a:pt x="22888" y="106463"/>
                      <a:pt x="35052" y="118705"/>
                      <a:pt x="49093" y="127488"/>
                    </a:cubicBezTo>
                    <a:cubicBezTo>
                      <a:pt x="44721" y="124742"/>
                      <a:pt x="40552" y="121677"/>
                      <a:pt x="36634" y="118316"/>
                    </a:cubicBezTo>
                    <a:cubicBezTo>
                      <a:pt x="24002" y="107503"/>
                      <a:pt x="25801" y="87473"/>
                      <a:pt x="40197" y="79164"/>
                    </a:cubicBezTo>
                    <a:lnTo>
                      <a:pt x="40808" y="78809"/>
                    </a:lnTo>
                    <a:cubicBezTo>
                      <a:pt x="44459" y="76702"/>
                      <a:pt x="48483" y="75681"/>
                      <a:pt x="52492" y="75681"/>
                    </a:cubicBezTo>
                    <a:cubicBezTo>
                      <a:pt x="58042" y="75681"/>
                      <a:pt x="63566" y="77637"/>
                      <a:pt x="68038" y="81377"/>
                    </a:cubicBezTo>
                    <a:cubicBezTo>
                      <a:pt x="63238" y="77256"/>
                      <a:pt x="59172" y="72353"/>
                      <a:pt x="56017" y="66877"/>
                    </a:cubicBezTo>
                    <a:cubicBezTo>
                      <a:pt x="55559" y="66083"/>
                      <a:pt x="55120" y="65280"/>
                      <a:pt x="54706" y="64472"/>
                    </a:cubicBezTo>
                    <a:cubicBezTo>
                      <a:pt x="54647" y="64349"/>
                      <a:pt x="54583" y="64221"/>
                      <a:pt x="54519" y="64092"/>
                    </a:cubicBezTo>
                    <a:cubicBezTo>
                      <a:pt x="54278" y="63619"/>
                      <a:pt x="54046" y="63141"/>
                      <a:pt x="53824" y="62663"/>
                    </a:cubicBezTo>
                    <a:cubicBezTo>
                      <a:pt x="53691" y="62392"/>
                      <a:pt x="53568" y="62116"/>
                      <a:pt x="53440" y="61840"/>
                    </a:cubicBezTo>
                    <a:cubicBezTo>
                      <a:pt x="53169" y="61239"/>
                      <a:pt x="52907" y="60637"/>
                      <a:pt x="52656" y="60031"/>
                    </a:cubicBezTo>
                    <a:cubicBezTo>
                      <a:pt x="52572" y="59824"/>
                      <a:pt x="52493" y="59612"/>
                      <a:pt x="52410" y="59400"/>
                    </a:cubicBezTo>
                    <a:cubicBezTo>
                      <a:pt x="52217" y="58903"/>
                      <a:pt x="52025" y="58400"/>
                      <a:pt x="51843" y="57902"/>
                    </a:cubicBezTo>
                    <a:cubicBezTo>
                      <a:pt x="48437" y="48484"/>
                      <a:pt x="47604" y="38331"/>
                      <a:pt x="49433" y="28484"/>
                    </a:cubicBezTo>
                    <a:cubicBezTo>
                      <a:pt x="51301" y="18459"/>
                      <a:pt x="46515" y="8366"/>
                      <a:pt x="37683" y="3270"/>
                    </a:cubicBezTo>
                    <a:cubicBezTo>
                      <a:pt x="33811" y="1033"/>
                      <a:pt x="29660" y="0"/>
                      <a:pt x="2559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53" name="Google Shape;1704;p63">
              <a:extLst>
                <a:ext uri="{FF2B5EF4-FFF2-40B4-BE49-F238E27FC236}">
                  <a16:creationId xmlns:a16="http://schemas.microsoft.com/office/drawing/2014/main" id="{F63B79DE-E916-804C-902F-D48FAD8A6DF6}"/>
                </a:ext>
              </a:extLst>
            </p:cNvPr>
            <p:cNvGrpSpPr/>
            <p:nvPr/>
          </p:nvGrpSpPr>
          <p:grpSpPr>
            <a:xfrm>
              <a:off x="6009119" y="1709023"/>
              <a:ext cx="505650" cy="504006"/>
              <a:chOff x="6039282" y="1042577"/>
              <a:chExt cx="734315" cy="731929"/>
            </a:xfrm>
          </p:grpSpPr>
          <p:sp>
            <p:nvSpPr>
              <p:cNvPr id="54" name="Google Shape;1705;p63">
                <a:extLst>
                  <a:ext uri="{FF2B5EF4-FFF2-40B4-BE49-F238E27FC236}">
                    <a16:creationId xmlns:a16="http://schemas.microsoft.com/office/drawing/2014/main" id="{EF61B687-2299-4842-80EB-42805E3747E9}"/>
                  </a:ext>
                </a:extLst>
              </p:cNvPr>
              <p:cNvSpPr/>
              <p:nvPr/>
            </p:nvSpPr>
            <p:spPr>
              <a:xfrm>
                <a:off x="6045348" y="1300071"/>
                <a:ext cx="131951" cy="65352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701" extrusionOk="0">
                    <a:moveTo>
                      <a:pt x="108" y="0"/>
                    </a:moveTo>
                    <a:lnTo>
                      <a:pt x="51" y="224"/>
                    </a:lnTo>
                    <a:cubicBezTo>
                      <a:pt x="29" y="303"/>
                      <a:pt x="7" y="375"/>
                      <a:pt x="0" y="455"/>
                    </a:cubicBezTo>
                    <a:lnTo>
                      <a:pt x="1342" y="700"/>
                    </a:lnTo>
                    <a:cubicBezTo>
                      <a:pt x="1349" y="650"/>
                      <a:pt x="1363" y="599"/>
                      <a:pt x="1378" y="549"/>
                    </a:cubicBezTo>
                    <a:lnTo>
                      <a:pt x="1414" y="397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706;p63">
                <a:extLst>
                  <a:ext uri="{FF2B5EF4-FFF2-40B4-BE49-F238E27FC236}">
                    <a16:creationId xmlns:a16="http://schemas.microsoft.com/office/drawing/2014/main" id="{6D18B071-1B2C-604C-B14A-D4535203D562}"/>
                  </a:ext>
                </a:extLst>
              </p:cNvPr>
              <p:cNvSpPr/>
              <p:nvPr/>
            </p:nvSpPr>
            <p:spPr>
              <a:xfrm>
                <a:off x="6080342" y="1201250"/>
                <a:ext cx="127938" cy="96863"/>
              </a:xfrm>
              <a:custGeom>
                <a:avLst/>
                <a:gdLst/>
                <a:ahLst/>
                <a:cxnLst/>
                <a:rect l="l" t="t" r="r" b="b"/>
                <a:pathLst>
                  <a:path w="1371" h="1039" extrusionOk="0">
                    <a:moveTo>
                      <a:pt x="245" y="0"/>
                    </a:moveTo>
                    <a:cubicBezTo>
                      <a:pt x="159" y="137"/>
                      <a:pt x="72" y="267"/>
                      <a:pt x="0" y="404"/>
                    </a:cubicBezTo>
                    <a:lnTo>
                      <a:pt x="1219" y="1039"/>
                    </a:lnTo>
                    <a:cubicBezTo>
                      <a:pt x="1262" y="945"/>
                      <a:pt x="1320" y="866"/>
                      <a:pt x="1371" y="772"/>
                    </a:cubicBezTo>
                    <a:lnTo>
                      <a:pt x="245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1707;p63">
                <a:extLst>
                  <a:ext uri="{FF2B5EF4-FFF2-40B4-BE49-F238E27FC236}">
                    <a16:creationId xmlns:a16="http://schemas.microsoft.com/office/drawing/2014/main" id="{FD1E7EB6-1DA5-E449-A350-A08FF5F1F58E}"/>
                  </a:ext>
                </a:extLst>
              </p:cNvPr>
              <p:cNvSpPr/>
              <p:nvPr/>
            </p:nvSpPr>
            <p:spPr>
              <a:xfrm>
                <a:off x="6144918" y="1121167"/>
                <a:ext cx="112541" cy="119145"/>
              </a:xfrm>
              <a:custGeom>
                <a:avLst/>
                <a:gdLst/>
                <a:ahLst/>
                <a:cxnLst/>
                <a:rect l="l" t="t" r="r" b="b"/>
                <a:pathLst>
                  <a:path w="1206" h="1278" extrusionOk="0">
                    <a:moveTo>
                      <a:pt x="347" y="1"/>
                    </a:moveTo>
                    <a:cubicBezTo>
                      <a:pt x="224" y="95"/>
                      <a:pt x="116" y="210"/>
                      <a:pt x="1" y="318"/>
                    </a:cubicBezTo>
                    <a:lnTo>
                      <a:pt x="974" y="1278"/>
                    </a:lnTo>
                    <a:cubicBezTo>
                      <a:pt x="1046" y="1205"/>
                      <a:pt x="1126" y="1133"/>
                      <a:pt x="1205" y="1068"/>
                    </a:cubicBezTo>
                    <a:lnTo>
                      <a:pt x="347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1708;p63">
                <a:extLst>
                  <a:ext uri="{FF2B5EF4-FFF2-40B4-BE49-F238E27FC236}">
                    <a16:creationId xmlns:a16="http://schemas.microsoft.com/office/drawing/2014/main" id="{21E8DE52-2712-2745-8035-12F3CD24C834}"/>
                  </a:ext>
                </a:extLst>
              </p:cNvPr>
              <p:cNvSpPr/>
              <p:nvPr/>
            </p:nvSpPr>
            <p:spPr>
              <a:xfrm>
                <a:off x="6232449" y="1066723"/>
                <a:ext cx="86879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931" h="1400" extrusionOk="0">
                    <a:moveTo>
                      <a:pt x="426" y="1"/>
                    </a:moveTo>
                    <a:cubicBezTo>
                      <a:pt x="354" y="22"/>
                      <a:pt x="282" y="58"/>
                      <a:pt x="209" y="94"/>
                    </a:cubicBezTo>
                    <a:lnTo>
                      <a:pt x="0" y="195"/>
                    </a:lnTo>
                    <a:lnTo>
                      <a:pt x="649" y="1400"/>
                    </a:lnTo>
                    <a:lnTo>
                      <a:pt x="786" y="1335"/>
                    </a:lnTo>
                    <a:cubicBezTo>
                      <a:pt x="830" y="1306"/>
                      <a:pt x="880" y="1285"/>
                      <a:pt x="931" y="1270"/>
                    </a:cubicBezTo>
                    <a:lnTo>
                      <a:pt x="426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709;p63">
                <a:extLst>
                  <a:ext uri="{FF2B5EF4-FFF2-40B4-BE49-F238E27FC236}">
                    <a16:creationId xmlns:a16="http://schemas.microsoft.com/office/drawing/2014/main" id="{52279981-910A-A64F-9510-CA8A1FD3AE7D}"/>
                  </a:ext>
                </a:extLst>
              </p:cNvPr>
              <p:cNvSpPr/>
              <p:nvPr/>
            </p:nvSpPr>
            <p:spPr>
              <a:xfrm>
                <a:off x="6335379" y="1042577"/>
                <a:ext cx="53284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571" h="1400" extrusionOk="0">
                    <a:moveTo>
                      <a:pt x="470" y="0"/>
                    </a:moveTo>
                    <a:cubicBezTo>
                      <a:pt x="390" y="0"/>
                      <a:pt x="311" y="7"/>
                      <a:pt x="239" y="22"/>
                    </a:cubicBezTo>
                    <a:lnTo>
                      <a:pt x="1" y="58"/>
                    </a:lnTo>
                    <a:lnTo>
                      <a:pt x="268" y="1399"/>
                    </a:lnTo>
                    <a:lnTo>
                      <a:pt x="419" y="1378"/>
                    </a:lnTo>
                    <a:cubicBezTo>
                      <a:pt x="470" y="1370"/>
                      <a:pt x="520" y="1363"/>
                      <a:pt x="571" y="1363"/>
                    </a:cubicBezTo>
                    <a:lnTo>
                      <a:pt x="47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710;p63">
                <a:extLst>
                  <a:ext uri="{FF2B5EF4-FFF2-40B4-BE49-F238E27FC236}">
                    <a16:creationId xmlns:a16="http://schemas.microsoft.com/office/drawing/2014/main" id="{A203CA9B-6B27-634C-9540-8D41D6BAA3D7}"/>
                  </a:ext>
                </a:extLst>
              </p:cNvPr>
              <p:cNvSpPr/>
              <p:nvPr/>
            </p:nvSpPr>
            <p:spPr>
              <a:xfrm>
                <a:off x="6431682" y="1043229"/>
                <a:ext cx="56550" cy="131824"/>
              </a:xfrm>
              <a:custGeom>
                <a:avLst/>
                <a:gdLst/>
                <a:ahLst/>
                <a:cxnLst/>
                <a:rect l="l" t="t" r="r" b="b"/>
                <a:pathLst>
                  <a:path w="606" h="1414" extrusionOk="0">
                    <a:moveTo>
                      <a:pt x="144" y="0"/>
                    </a:moveTo>
                    <a:lnTo>
                      <a:pt x="0" y="1356"/>
                    </a:lnTo>
                    <a:cubicBezTo>
                      <a:pt x="101" y="1378"/>
                      <a:pt x="202" y="1385"/>
                      <a:pt x="303" y="1414"/>
                    </a:cubicBezTo>
                    <a:lnTo>
                      <a:pt x="606" y="80"/>
                    </a:lnTo>
                    <a:cubicBezTo>
                      <a:pt x="454" y="36"/>
                      <a:pt x="296" y="22"/>
                      <a:pt x="14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711;p63">
                <a:extLst>
                  <a:ext uri="{FF2B5EF4-FFF2-40B4-BE49-F238E27FC236}">
                    <a16:creationId xmlns:a16="http://schemas.microsoft.com/office/drawing/2014/main" id="{69E57B2E-7A12-FD49-9EB7-0E6FCE8C4FA2}"/>
                  </a:ext>
                </a:extLst>
              </p:cNvPr>
              <p:cNvSpPr/>
              <p:nvPr/>
            </p:nvSpPr>
            <p:spPr>
              <a:xfrm>
                <a:off x="6500924" y="1070731"/>
                <a:ext cx="89678" cy="130612"/>
              </a:xfrm>
              <a:custGeom>
                <a:avLst/>
                <a:gdLst/>
                <a:ahLst/>
                <a:cxnLst/>
                <a:rect l="l" t="t" r="r" b="b"/>
                <a:pathLst>
                  <a:path w="961" h="1401" extrusionOk="0">
                    <a:moveTo>
                      <a:pt x="542" y="1"/>
                    </a:moveTo>
                    <a:lnTo>
                      <a:pt x="1" y="1256"/>
                    </a:lnTo>
                    <a:lnTo>
                      <a:pt x="138" y="1321"/>
                    </a:lnTo>
                    <a:cubicBezTo>
                      <a:pt x="181" y="1343"/>
                      <a:pt x="232" y="1371"/>
                      <a:pt x="275" y="1400"/>
                    </a:cubicBezTo>
                    <a:lnTo>
                      <a:pt x="960" y="210"/>
                    </a:lnTo>
                    <a:cubicBezTo>
                      <a:pt x="895" y="174"/>
                      <a:pt x="823" y="131"/>
                      <a:pt x="751" y="102"/>
                    </a:cubicBezTo>
                    <a:lnTo>
                      <a:pt x="54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712;p63">
                <a:extLst>
                  <a:ext uri="{FF2B5EF4-FFF2-40B4-BE49-F238E27FC236}">
                    <a16:creationId xmlns:a16="http://schemas.microsoft.com/office/drawing/2014/main" id="{A2567E2C-D8E8-2049-9083-F036401B0D57}"/>
                  </a:ext>
                </a:extLst>
              </p:cNvPr>
              <p:cNvSpPr/>
              <p:nvPr/>
            </p:nvSpPr>
            <p:spPr>
              <a:xfrm>
                <a:off x="6561580" y="1127973"/>
                <a:ext cx="114501" cy="117746"/>
              </a:xfrm>
              <a:custGeom>
                <a:avLst/>
                <a:gdLst/>
                <a:ahLst/>
                <a:cxnLst/>
                <a:rect l="l" t="t" r="r" b="b"/>
                <a:pathLst>
                  <a:path w="1227" h="1263" extrusionOk="0">
                    <a:moveTo>
                      <a:pt x="887" y="0"/>
                    </a:moveTo>
                    <a:lnTo>
                      <a:pt x="0" y="1046"/>
                    </a:lnTo>
                    <a:cubicBezTo>
                      <a:pt x="79" y="1111"/>
                      <a:pt x="152" y="1183"/>
                      <a:pt x="224" y="1262"/>
                    </a:cubicBezTo>
                    <a:lnTo>
                      <a:pt x="1226" y="332"/>
                    </a:lnTo>
                    <a:cubicBezTo>
                      <a:pt x="1118" y="209"/>
                      <a:pt x="1003" y="101"/>
                      <a:pt x="88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713;p63">
                <a:extLst>
                  <a:ext uri="{FF2B5EF4-FFF2-40B4-BE49-F238E27FC236}">
                    <a16:creationId xmlns:a16="http://schemas.microsoft.com/office/drawing/2014/main" id="{C7C00C3C-A438-C740-A270-12DA1FEB0443}"/>
                  </a:ext>
                </a:extLst>
              </p:cNvPr>
              <p:cNvSpPr/>
              <p:nvPr/>
            </p:nvSpPr>
            <p:spPr>
              <a:xfrm>
                <a:off x="6636887" y="1310792"/>
                <a:ext cx="132697" cy="61996"/>
              </a:xfrm>
              <a:custGeom>
                <a:avLst/>
                <a:gdLst/>
                <a:ahLst/>
                <a:cxnLst/>
                <a:rect l="l" t="t" r="r" b="b"/>
                <a:pathLst>
                  <a:path w="1422" h="665" extrusionOk="0">
                    <a:moveTo>
                      <a:pt x="1321" y="1"/>
                    </a:moveTo>
                    <a:lnTo>
                      <a:pt x="1" y="361"/>
                    </a:lnTo>
                    <a:lnTo>
                      <a:pt x="44" y="506"/>
                    </a:lnTo>
                    <a:cubicBezTo>
                      <a:pt x="51" y="556"/>
                      <a:pt x="59" y="614"/>
                      <a:pt x="66" y="664"/>
                    </a:cubicBezTo>
                    <a:lnTo>
                      <a:pt x="1422" y="462"/>
                    </a:lnTo>
                    <a:cubicBezTo>
                      <a:pt x="1407" y="383"/>
                      <a:pt x="1400" y="304"/>
                      <a:pt x="1378" y="232"/>
                    </a:cubicBezTo>
                    <a:lnTo>
                      <a:pt x="132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714;p63">
                <a:extLst>
                  <a:ext uri="{FF2B5EF4-FFF2-40B4-BE49-F238E27FC236}">
                    <a16:creationId xmlns:a16="http://schemas.microsoft.com/office/drawing/2014/main" id="{A68EA434-BBE5-F248-BF59-02482CD2D45A}"/>
                  </a:ext>
                </a:extLst>
              </p:cNvPr>
              <p:cNvSpPr/>
              <p:nvPr/>
            </p:nvSpPr>
            <p:spPr>
              <a:xfrm>
                <a:off x="6642953" y="1415020"/>
                <a:ext cx="130645" cy="47826"/>
              </a:xfrm>
              <a:custGeom>
                <a:avLst/>
                <a:gdLst/>
                <a:ahLst/>
                <a:cxnLst/>
                <a:rect l="l" t="t" r="r" b="b"/>
                <a:pathLst>
                  <a:path w="1400" h="513" extrusionOk="0">
                    <a:moveTo>
                      <a:pt x="30" y="1"/>
                    </a:moveTo>
                    <a:cubicBezTo>
                      <a:pt x="30" y="109"/>
                      <a:pt x="15" y="210"/>
                      <a:pt x="1" y="311"/>
                    </a:cubicBezTo>
                    <a:lnTo>
                      <a:pt x="1357" y="513"/>
                    </a:lnTo>
                    <a:cubicBezTo>
                      <a:pt x="1378" y="354"/>
                      <a:pt x="1393" y="203"/>
                      <a:pt x="1400" y="44"/>
                    </a:cubicBezTo>
                    <a:lnTo>
                      <a:pt x="3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1715;p63">
                <a:extLst>
                  <a:ext uri="{FF2B5EF4-FFF2-40B4-BE49-F238E27FC236}">
                    <a16:creationId xmlns:a16="http://schemas.microsoft.com/office/drawing/2014/main" id="{FC69B650-529D-C94B-A1F2-9EA4CF05379F}"/>
                  </a:ext>
                </a:extLst>
              </p:cNvPr>
              <p:cNvSpPr/>
              <p:nvPr/>
            </p:nvSpPr>
            <p:spPr>
              <a:xfrm>
                <a:off x="6622143" y="1485687"/>
                <a:ext cx="131951" cy="81388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73" extrusionOk="0">
                    <a:moveTo>
                      <a:pt x="123" y="0"/>
                    </a:moveTo>
                    <a:lnTo>
                      <a:pt x="65" y="144"/>
                    </a:lnTo>
                    <a:cubicBezTo>
                      <a:pt x="51" y="195"/>
                      <a:pt x="22" y="238"/>
                      <a:pt x="0" y="281"/>
                    </a:cubicBezTo>
                    <a:lnTo>
                      <a:pt x="1234" y="873"/>
                    </a:lnTo>
                    <a:cubicBezTo>
                      <a:pt x="1270" y="801"/>
                      <a:pt x="1306" y="736"/>
                      <a:pt x="1335" y="664"/>
                    </a:cubicBezTo>
                    <a:lnTo>
                      <a:pt x="1414" y="440"/>
                    </a:lnTo>
                    <a:lnTo>
                      <a:pt x="12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1716;p63">
                <a:extLst>
                  <a:ext uri="{FF2B5EF4-FFF2-40B4-BE49-F238E27FC236}">
                    <a16:creationId xmlns:a16="http://schemas.microsoft.com/office/drawing/2014/main" id="{2D7BF0DB-A6A1-0546-A149-4518CBB0A848}"/>
                  </a:ext>
                </a:extLst>
              </p:cNvPr>
              <p:cNvSpPr/>
              <p:nvPr/>
            </p:nvSpPr>
            <p:spPr>
              <a:xfrm>
                <a:off x="6582390" y="1548895"/>
                <a:ext cx="121219" cy="108983"/>
              </a:xfrm>
              <a:custGeom>
                <a:avLst/>
                <a:gdLst/>
                <a:ahLst/>
                <a:cxnLst/>
                <a:rect l="l" t="t" r="r" b="b"/>
                <a:pathLst>
                  <a:path w="1299" h="1169" extrusionOk="0">
                    <a:moveTo>
                      <a:pt x="195" y="0"/>
                    </a:moveTo>
                    <a:lnTo>
                      <a:pt x="102" y="123"/>
                    </a:lnTo>
                    <a:lnTo>
                      <a:pt x="1" y="238"/>
                    </a:lnTo>
                    <a:lnTo>
                      <a:pt x="1003" y="1168"/>
                    </a:lnTo>
                    <a:lnTo>
                      <a:pt x="1155" y="988"/>
                    </a:lnTo>
                    <a:lnTo>
                      <a:pt x="1299" y="801"/>
                    </a:lnTo>
                    <a:lnTo>
                      <a:pt x="19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1717;p63">
                <a:extLst>
                  <a:ext uri="{FF2B5EF4-FFF2-40B4-BE49-F238E27FC236}">
                    <a16:creationId xmlns:a16="http://schemas.microsoft.com/office/drawing/2014/main" id="{D2A7655E-8FFC-034F-AF89-EEAFADFFF53D}"/>
                  </a:ext>
                </a:extLst>
              </p:cNvPr>
              <p:cNvSpPr/>
              <p:nvPr/>
            </p:nvSpPr>
            <p:spPr>
              <a:xfrm>
                <a:off x="6526586" y="1599238"/>
                <a:ext cx="100316" cy="126510"/>
              </a:xfrm>
              <a:custGeom>
                <a:avLst/>
                <a:gdLst/>
                <a:ahLst/>
                <a:cxnLst/>
                <a:rect l="l" t="t" r="r" b="b"/>
                <a:pathLst>
                  <a:path w="1075" h="1357" extrusionOk="0">
                    <a:moveTo>
                      <a:pt x="252" y="1"/>
                    </a:moveTo>
                    <a:cubicBezTo>
                      <a:pt x="209" y="37"/>
                      <a:pt x="173" y="66"/>
                      <a:pt x="130" y="95"/>
                    </a:cubicBezTo>
                    <a:lnTo>
                      <a:pt x="0" y="174"/>
                    </a:lnTo>
                    <a:lnTo>
                      <a:pt x="685" y="1357"/>
                    </a:lnTo>
                    <a:lnTo>
                      <a:pt x="880" y="1234"/>
                    </a:lnTo>
                    <a:cubicBezTo>
                      <a:pt x="952" y="1191"/>
                      <a:pt x="1010" y="1141"/>
                      <a:pt x="1075" y="1097"/>
                    </a:cubicBezTo>
                    <a:lnTo>
                      <a:pt x="25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1718;p63">
                <a:extLst>
                  <a:ext uri="{FF2B5EF4-FFF2-40B4-BE49-F238E27FC236}">
                    <a16:creationId xmlns:a16="http://schemas.microsoft.com/office/drawing/2014/main" id="{0F101B3D-B608-AD45-A4F7-ECAF57D3CB5D}"/>
                  </a:ext>
                </a:extLst>
              </p:cNvPr>
              <p:cNvSpPr/>
              <p:nvPr/>
            </p:nvSpPr>
            <p:spPr>
              <a:xfrm>
                <a:off x="6459957" y="1632893"/>
                <a:ext cx="70735" cy="132570"/>
              </a:xfrm>
              <a:custGeom>
                <a:avLst/>
                <a:gdLst/>
                <a:ahLst/>
                <a:cxnLst/>
                <a:rect l="l" t="t" r="r" b="b"/>
                <a:pathLst>
                  <a:path w="758" h="1422" extrusionOk="0">
                    <a:moveTo>
                      <a:pt x="296" y="1"/>
                    </a:moveTo>
                    <a:cubicBezTo>
                      <a:pt x="195" y="37"/>
                      <a:pt x="101" y="73"/>
                      <a:pt x="0" y="94"/>
                    </a:cubicBezTo>
                    <a:lnTo>
                      <a:pt x="303" y="1421"/>
                    </a:lnTo>
                    <a:cubicBezTo>
                      <a:pt x="454" y="1393"/>
                      <a:pt x="606" y="1342"/>
                      <a:pt x="757" y="1292"/>
                    </a:cubicBezTo>
                    <a:lnTo>
                      <a:pt x="296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1719;p63">
                <a:extLst>
                  <a:ext uri="{FF2B5EF4-FFF2-40B4-BE49-F238E27FC236}">
                    <a16:creationId xmlns:a16="http://schemas.microsoft.com/office/drawing/2014/main" id="{545A1F7F-B2B7-9F45-A09F-6E9B131B9EBB}"/>
                  </a:ext>
                </a:extLst>
              </p:cNvPr>
              <p:cNvSpPr/>
              <p:nvPr/>
            </p:nvSpPr>
            <p:spPr>
              <a:xfrm>
                <a:off x="6379145" y="1646318"/>
                <a:ext cx="43859" cy="128188"/>
              </a:xfrm>
              <a:custGeom>
                <a:avLst/>
                <a:gdLst/>
                <a:ahLst/>
                <a:cxnLst/>
                <a:rect l="l" t="t" r="r" b="b"/>
                <a:pathLst>
                  <a:path w="470" h="1375" extrusionOk="0">
                    <a:moveTo>
                      <a:pt x="102" y="1"/>
                    </a:moveTo>
                    <a:lnTo>
                      <a:pt x="1" y="1364"/>
                    </a:lnTo>
                    <a:cubicBezTo>
                      <a:pt x="113" y="1369"/>
                      <a:pt x="221" y="1374"/>
                      <a:pt x="331" y="1374"/>
                    </a:cubicBezTo>
                    <a:cubicBezTo>
                      <a:pt x="377" y="1374"/>
                      <a:pt x="423" y="1373"/>
                      <a:pt x="469" y="1371"/>
                    </a:cubicBezTo>
                    <a:lnTo>
                      <a:pt x="412" y="1"/>
                    </a:lnTo>
                    <a:cubicBezTo>
                      <a:pt x="361" y="4"/>
                      <a:pt x="309" y="6"/>
                      <a:pt x="257" y="6"/>
                    </a:cubicBezTo>
                    <a:cubicBezTo>
                      <a:pt x="204" y="6"/>
                      <a:pt x="152" y="4"/>
                      <a:pt x="102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1720;p63">
                <a:extLst>
                  <a:ext uri="{FF2B5EF4-FFF2-40B4-BE49-F238E27FC236}">
                    <a16:creationId xmlns:a16="http://schemas.microsoft.com/office/drawing/2014/main" id="{F68435C8-1919-0F47-BBD4-FBF74BF1ACAB}"/>
                  </a:ext>
                </a:extLst>
              </p:cNvPr>
              <p:cNvSpPr/>
              <p:nvPr/>
            </p:nvSpPr>
            <p:spPr>
              <a:xfrm>
                <a:off x="6272109" y="1630842"/>
                <a:ext cx="74187" cy="131917"/>
              </a:xfrm>
              <a:custGeom>
                <a:avLst/>
                <a:gdLst/>
                <a:ahLst/>
                <a:cxnLst/>
                <a:rect l="l" t="t" r="r" b="b"/>
                <a:pathLst>
                  <a:path w="795" h="1415" extrusionOk="0">
                    <a:moveTo>
                      <a:pt x="506" y="1"/>
                    </a:moveTo>
                    <a:lnTo>
                      <a:pt x="1" y="1270"/>
                    </a:lnTo>
                    <a:cubicBezTo>
                      <a:pt x="145" y="1328"/>
                      <a:pt x="296" y="1379"/>
                      <a:pt x="448" y="1415"/>
                    </a:cubicBezTo>
                    <a:lnTo>
                      <a:pt x="794" y="95"/>
                    </a:lnTo>
                    <a:cubicBezTo>
                      <a:pt x="693" y="66"/>
                      <a:pt x="599" y="37"/>
                      <a:pt x="5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1721;p63">
                <a:extLst>
                  <a:ext uri="{FF2B5EF4-FFF2-40B4-BE49-F238E27FC236}">
                    <a16:creationId xmlns:a16="http://schemas.microsoft.com/office/drawing/2014/main" id="{0847767D-05D2-0641-92FF-09D3B5A3087E}"/>
                  </a:ext>
                </a:extLst>
              </p:cNvPr>
              <p:cNvSpPr/>
              <p:nvPr/>
            </p:nvSpPr>
            <p:spPr>
              <a:xfrm>
                <a:off x="6177205" y="1595229"/>
                <a:ext cx="103769" cy="125205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1343" extrusionOk="0">
                    <a:moveTo>
                      <a:pt x="859" y="1"/>
                    </a:moveTo>
                    <a:lnTo>
                      <a:pt x="1" y="1068"/>
                    </a:lnTo>
                    <a:cubicBezTo>
                      <a:pt x="123" y="1169"/>
                      <a:pt x="253" y="1256"/>
                      <a:pt x="390" y="1342"/>
                    </a:cubicBezTo>
                    <a:lnTo>
                      <a:pt x="1112" y="174"/>
                    </a:lnTo>
                    <a:cubicBezTo>
                      <a:pt x="1018" y="123"/>
                      <a:pt x="938" y="66"/>
                      <a:pt x="859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1722;p63">
                <a:extLst>
                  <a:ext uri="{FF2B5EF4-FFF2-40B4-BE49-F238E27FC236}">
                    <a16:creationId xmlns:a16="http://schemas.microsoft.com/office/drawing/2014/main" id="{D2D8A619-6C73-9745-9734-80B54D64526E}"/>
                  </a:ext>
                </a:extLst>
              </p:cNvPr>
              <p:cNvSpPr/>
              <p:nvPr/>
            </p:nvSpPr>
            <p:spPr>
              <a:xfrm>
                <a:off x="6103205" y="1542835"/>
                <a:ext cx="123272" cy="106932"/>
              </a:xfrm>
              <a:custGeom>
                <a:avLst/>
                <a:gdLst/>
                <a:ahLst/>
                <a:cxnLst/>
                <a:rect l="l" t="t" r="r" b="b"/>
                <a:pathLst>
                  <a:path w="1321" h="1147" extrusionOk="0">
                    <a:moveTo>
                      <a:pt x="1126" y="0"/>
                    </a:moveTo>
                    <a:lnTo>
                      <a:pt x="0" y="772"/>
                    </a:lnTo>
                    <a:lnTo>
                      <a:pt x="137" y="959"/>
                    </a:lnTo>
                    <a:lnTo>
                      <a:pt x="210" y="1053"/>
                    </a:lnTo>
                    <a:lnTo>
                      <a:pt x="289" y="1147"/>
                    </a:lnTo>
                    <a:lnTo>
                      <a:pt x="1320" y="245"/>
                    </a:lnTo>
                    <a:lnTo>
                      <a:pt x="1263" y="188"/>
                    </a:lnTo>
                    <a:lnTo>
                      <a:pt x="1219" y="123"/>
                    </a:lnTo>
                    <a:lnTo>
                      <a:pt x="1126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1723;p63">
                <a:extLst>
                  <a:ext uri="{FF2B5EF4-FFF2-40B4-BE49-F238E27FC236}">
                    <a16:creationId xmlns:a16="http://schemas.microsoft.com/office/drawing/2014/main" id="{37B2A682-F05E-F84B-BFED-5796A5D3FB80}"/>
                  </a:ext>
                </a:extLst>
              </p:cNvPr>
              <p:cNvSpPr/>
              <p:nvPr/>
            </p:nvSpPr>
            <p:spPr>
              <a:xfrm>
                <a:off x="6055426" y="1478881"/>
                <a:ext cx="131951" cy="78777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45" extrusionOk="0">
                    <a:moveTo>
                      <a:pt x="1306" y="1"/>
                    </a:moveTo>
                    <a:lnTo>
                      <a:pt x="0" y="405"/>
                    </a:lnTo>
                    <a:cubicBezTo>
                      <a:pt x="51" y="549"/>
                      <a:pt x="101" y="701"/>
                      <a:pt x="166" y="845"/>
                    </a:cubicBezTo>
                    <a:lnTo>
                      <a:pt x="1414" y="282"/>
                    </a:lnTo>
                    <a:cubicBezTo>
                      <a:pt x="1371" y="196"/>
                      <a:pt x="1342" y="95"/>
                      <a:pt x="13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1724;p63">
                <a:extLst>
                  <a:ext uri="{FF2B5EF4-FFF2-40B4-BE49-F238E27FC236}">
                    <a16:creationId xmlns:a16="http://schemas.microsoft.com/office/drawing/2014/main" id="{A475C25B-F192-1F4B-AEE0-DC6EFE8A3929}"/>
                  </a:ext>
                </a:extLst>
              </p:cNvPr>
              <p:cNvSpPr/>
              <p:nvPr/>
            </p:nvSpPr>
            <p:spPr>
              <a:xfrm>
                <a:off x="6039282" y="1408308"/>
                <a:ext cx="129338" cy="43817"/>
              </a:xfrm>
              <a:custGeom>
                <a:avLst/>
                <a:gdLst/>
                <a:ahLst/>
                <a:cxnLst/>
                <a:rect l="l" t="t" r="r" b="b"/>
                <a:pathLst>
                  <a:path w="1386" h="470" extrusionOk="0">
                    <a:moveTo>
                      <a:pt x="0" y="1"/>
                    </a:moveTo>
                    <a:cubicBezTo>
                      <a:pt x="7" y="152"/>
                      <a:pt x="7" y="311"/>
                      <a:pt x="29" y="469"/>
                    </a:cubicBezTo>
                    <a:lnTo>
                      <a:pt x="1385" y="304"/>
                    </a:lnTo>
                    <a:cubicBezTo>
                      <a:pt x="1371" y="203"/>
                      <a:pt x="1378" y="102"/>
                      <a:pt x="1363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1725;p63">
                <a:extLst>
                  <a:ext uri="{FF2B5EF4-FFF2-40B4-BE49-F238E27FC236}">
                    <a16:creationId xmlns:a16="http://schemas.microsoft.com/office/drawing/2014/main" id="{1BE018F3-2818-444B-9C21-F8A8DE13C6C8}"/>
                  </a:ext>
                </a:extLst>
              </p:cNvPr>
              <p:cNvSpPr/>
              <p:nvPr/>
            </p:nvSpPr>
            <p:spPr>
              <a:xfrm>
                <a:off x="6608612" y="1210666"/>
                <a:ext cx="128685" cy="93507"/>
              </a:xfrm>
              <a:custGeom>
                <a:avLst/>
                <a:gdLst/>
                <a:ahLst/>
                <a:cxnLst/>
                <a:rect l="l" t="t" r="r" b="b"/>
                <a:pathLst>
                  <a:path w="1379" h="1003" extrusionOk="0">
                    <a:moveTo>
                      <a:pt x="1155" y="0"/>
                    </a:moveTo>
                    <a:lnTo>
                      <a:pt x="1" y="736"/>
                    </a:lnTo>
                    <a:lnTo>
                      <a:pt x="80" y="866"/>
                    </a:lnTo>
                    <a:cubicBezTo>
                      <a:pt x="102" y="909"/>
                      <a:pt x="131" y="959"/>
                      <a:pt x="145" y="1003"/>
                    </a:cubicBezTo>
                    <a:lnTo>
                      <a:pt x="1379" y="411"/>
                    </a:lnTo>
                    <a:cubicBezTo>
                      <a:pt x="1342" y="339"/>
                      <a:pt x="1314" y="267"/>
                      <a:pt x="1278" y="202"/>
                    </a:cubicBezTo>
                    <a:lnTo>
                      <a:pt x="115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A9A157-59E1-134F-A25E-3F9A4303B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Database Performance</a:t>
            </a:r>
          </a:p>
        </p:txBody>
      </p:sp>
    </p:spTree>
    <p:extLst>
      <p:ext uri="{BB962C8B-B14F-4D97-AF65-F5344CB8AC3E}">
        <p14:creationId xmlns:p14="http://schemas.microsoft.com/office/powerpoint/2010/main" val="9632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423">
            <a:extLst>
              <a:ext uri="{FF2B5EF4-FFF2-40B4-BE49-F238E27FC236}">
                <a16:creationId xmlns:a16="http://schemas.microsoft.com/office/drawing/2014/main" id="{70E44474-01A1-3D45-A176-81A933A91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00" y="1693199"/>
            <a:ext cx="2968931" cy="2966245"/>
          </a:xfrm>
          <a:custGeom>
            <a:avLst/>
            <a:gdLst>
              <a:gd name="T0" fmla="*/ 1313124 w 4766"/>
              <a:gd name="T1" fmla="*/ 2976216 h 4764"/>
              <a:gd name="T2" fmla="*/ 1060952 w 4766"/>
              <a:gd name="T3" fmla="*/ 2723519 h 4764"/>
              <a:gd name="T4" fmla="*/ 401123 w 4766"/>
              <a:gd name="T5" fmla="*/ 2065329 h 4764"/>
              <a:gd name="T6" fmla="*/ 133926 w 4766"/>
              <a:gd name="T7" fmla="*/ 1798267 h 4764"/>
              <a:gd name="T8" fmla="*/ 133926 w 4766"/>
              <a:gd name="T9" fmla="*/ 1798267 h 4764"/>
              <a:gd name="T10" fmla="*/ 133926 w 4766"/>
              <a:gd name="T11" fmla="*/ 1312460 h 4764"/>
              <a:gd name="T12" fmla="*/ 1313124 w 4766"/>
              <a:gd name="T13" fmla="*/ 133858 h 4764"/>
              <a:gd name="T14" fmla="*/ 1313124 w 4766"/>
              <a:gd name="T15" fmla="*/ 133858 h 4764"/>
              <a:gd name="T16" fmla="*/ 1799176 w 4766"/>
              <a:gd name="T17" fmla="*/ 133858 h 4764"/>
              <a:gd name="T18" fmla="*/ 2978374 w 4766"/>
              <a:gd name="T19" fmla="*/ 1312460 h 4764"/>
              <a:gd name="T20" fmla="*/ 2978374 w 4766"/>
              <a:gd name="T21" fmla="*/ 1312460 h 4764"/>
              <a:gd name="T22" fmla="*/ 2978374 w 4766"/>
              <a:gd name="T23" fmla="*/ 1798267 h 4764"/>
              <a:gd name="T24" fmla="*/ 1799176 w 4766"/>
              <a:gd name="T25" fmla="*/ 2976216 h 4764"/>
              <a:gd name="T26" fmla="*/ 1799176 w 4766"/>
              <a:gd name="T27" fmla="*/ 2976216 h 4764"/>
              <a:gd name="T28" fmla="*/ 1313124 w 4766"/>
              <a:gd name="T29" fmla="*/ 2976216 h 47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766" h="4764">
                <a:moveTo>
                  <a:pt x="2010" y="4558"/>
                </a:moveTo>
                <a:lnTo>
                  <a:pt x="1624" y="4171"/>
                </a:lnTo>
                <a:lnTo>
                  <a:pt x="614" y="3163"/>
                </a:ln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7" name="Freeform 424">
            <a:extLst>
              <a:ext uri="{FF2B5EF4-FFF2-40B4-BE49-F238E27FC236}">
                <a16:creationId xmlns:a16="http://schemas.microsoft.com/office/drawing/2014/main" id="{AF794873-1792-7147-8DD5-EB655C7D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5026" y="3467452"/>
            <a:ext cx="2968933" cy="2968993"/>
          </a:xfrm>
          <a:custGeom>
            <a:avLst/>
            <a:gdLst>
              <a:gd name="T0" fmla="*/ 1313778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778 w 4766"/>
              <a:gd name="T9" fmla="*/ 134579 h 4766"/>
              <a:gd name="T10" fmla="*/ 1313778 w 4766"/>
              <a:gd name="T11" fmla="*/ 134579 h 4766"/>
              <a:gd name="T12" fmla="*/ 1799830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830 w 4766"/>
              <a:gd name="T21" fmla="*/ 2978376 h 4766"/>
              <a:gd name="T22" fmla="*/ 1799830 w 4766"/>
              <a:gd name="T23" fmla="*/ 2978376 h 4766"/>
              <a:gd name="T24" fmla="*/ 1313778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1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1" y="206"/>
                </a:lnTo>
                <a:cubicBezTo>
                  <a:pt x="2216" y="0"/>
                  <a:pt x="2549" y="0"/>
                  <a:pt x="2755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5" y="4559"/>
                </a:lnTo>
                <a:cubicBezTo>
                  <a:pt x="2549" y="4765"/>
                  <a:pt x="2216" y="4765"/>
                  <a:pt x="2011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8" name="Freeform 425">
            <a:extLst>
              <a:ext uri="{FF2B5EF4-FFF2-40B4-BE49-F238E27FC236}">
                <a16:creationId xmlns:a16="http://schemas.microsoft.com/office/drawing/2014/main" id="{E89C0477-E4D9-D34A-B487-303C4D746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906" y="1693199"/>
            <a:ext cx="2968933" cy="2966245"/>
          </a:xfrm>
          <a:custGeom>
            <a:avLst/>
            <a:gdLst>
              <a:gd name="T0" fmla="*/ 1313778 w 4766"/>
              <a:gd name="T1" fmla="*/ 2976216 h 4764"/>
              <a:gd name="T2" fmla="*/ 134579 w 4766"/>
              <a:gd name="T3" fmla="*/ 1798267 h 4764"/>
              <a:gd name="T4" fmla="*/ 134579 w 4766"/>
              <a:gd name="T5" fmla="*/ 1798267 h 4764"/>
              <a:gd name="T6" fmla="*/ 134579 w 4766"/>
              <a:gd name="T7" fmla="*/ 1312460 h 4764"/>
              <a:gd name="T8" fmla="*/ 1313778 w 4766"/>
              <a:gd name="T9" fmla="*/ 133858 h 4764"/>
              <a:gd name="T10" fmla="*/ 1313778 w 4766"/>
              <a:gd name="T11" fmla="*/ 133858 h 4764"/>
              <a:gd name="T12" fmla="*/ 1799177 w 4766"/>
              <a:gd name="T13" fmla="*/ 133858 h 4764"/>
              <a:gd name="T14" fmla="*/ 2978376 w 4766"/>
              <a:gd name="T15" fmla="*/ 1312460 h 4764"/>
              <a:gd name="T16" fmla="*/ 2978376 w 4766"/>
              <a:gd name="T17" fmla="*/ 1312460 h 4764"/>
              <a:gd name="T18" fmla="*/ 2978376 w 4766"/>
              <a:gd name="T19" fmla="*/ 1798267 h 4764"/>
              <a:gd name="T20" fmla="*/ 1799177 w 4766"/>
              <a:gd name="T21" fmla="*/ 2976216 h 4764"/>
              <a:gd name="T22" fmla="*/ 1799177 w 4766"/>
              <a:gd name="T23" fmla="*/ 2976216 h 4764"/>
              <a:gd name="T24" fmla="*/ 1313778 w 4766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4">
                <a:moveTo>
                  <a:pt x="2011" y="4558"/>
                </a:moveTo>
                <a:lnTo>
                  <a:pt x="206" y="2754"/>
                </a:lnTo>
                <a:cubicBezTo>
                  <a:pt x="0" y="2548"/>
                  <a:pt x="0" y="2216"/>
                  <a:pt x="206" y="2010"/>
                </a:cubicBezTo>
                <a:lnTo>
                  <a:pt x="2011" y="205"/>
                </a:lnTo>
                <a:cubicBezTo>
                  <a:pt x="2217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7" y="4763"/>
                  <a:pt x="2011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9" name="Freeform 426">
            <a:extLst>
              <a:ext uri="{FF2B5EF4-FFF2-40B4-BE49-F238E27FC236}">
                <a16:creationId xmlns:a16="http://schemas.microsoft.com/office/drawing/2014/main" id="{8298E5C9-58BA-2140-BFA8-B2DDB084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788" y="3467452"/>
            <a:ext cx="2968933" cy="2968993"/>
          </a:xfrm>
          <a:custGeom>
            <a:avLst/>
            <a:gdLst>
              <a:gd name="T0" fmla="*/ 1313125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125 w 4766"/>
              <a:gd name="T9" fmla="*/ 134579 h 4766"/>
              <a:gd name="T10" fmla="*/ 1313125 w 4766"/>
              <a:gd name="T11" fmla="*/ 134579 h 4766"/>
              <a:gd name="T12" fmla="*/ 1799177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177 w 4766"/>
              <a:gd name="T21" fmla="*/ 2978376 h 4766"/>
              <a:gd name="T22" fmla="*/ 1799177 w 4766"/>
              <a:gd name="T23" fmla="*/ 2978376 h 4766"/>
              <a:gd name="T24" fmla="*/ 1313125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0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0" y="206"/>
                </a:lnTo>
                <a:cubicBezTo>
                  <a:pt x="2216" y="0"/>
                  <a:pt x="2549" y="0"/>
                  <a:pt x="2754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4" y="4559"/>
                </a:lnTo>
                <a:cubicBezTo>
                  <a:pt x="2549" y="4765"/>
                  <a:pt x="2216" y="4765"/>
                  <a:pt x="2010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0" name="Freeform 427">
            <a:extLst>
              <a:ext uri="{FF2B5EF4-FFF2-40B4-BE49-F238E27FC236}">
                <a16:creationId xmlns:a16="http://schemas.microsoft.com/office/drawing/2014/main" id="{27F372FE-E50E-4041-A456-7AED4865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668" y="1693199"/>
            <a:ext cx="2968933" cy="2966245"/>
          </a:xfrm>
          <a:custGeom>
            <a:avLst/>
            <a:gdLst>
              <a:gd name="T0" fmla="*/ 1313400 w 4765"/>
              <a:gd name="T1" fmla="*/ 2976216 h 4764"/>
              <a:gd name="T2" fmla="*/ 133954 w 4765"/>
              <a:gd name="T3" fmla="*/ 1798267 h 4764"/>
              <a:gd name="T4" fmla="*/ 133954 w 4765"/>
              <a:gd name="T5" fmla="*/ 1798267 h 4764"/>
              <a:gd name="T6" fmla="*/ 133954 w 4765"/>
              <a:gd name="T7" fmla="*/ 1312460 h 4764"/>
              <a:gd name="T8" fmla="*/ 1313400 w 4765"/>
              <a:gd name="T9" fmla="*/ 133858 h 4764"/>
              <a:gd name="T10" fmla="*/ 1313400 w 4765"/>
              <a:gd name="T11" fmla="*/ 133858 h 4764"/>
              <a:gd name="T12" fmla="*/ 1799554 w 4765"/>
              <a:gd name="T13" fmla="*/ 133858 h 4764"/>
              <a:gd name="T14" fmla="*/ 2979001 w 4765"/>
              <a:gd name="T15" fmla="*/ 1312460 h 4764"/>
              <a:gd name="T16" fmla="*/ 2979001 w 4765"/>
              <a:gd name="T17" fmla="*/ 1312460 h 4764"/>
              <a:gd name="T18" fmla="*/ 2979001 w 4765"/>
              <a:gd name="T19" fmla="*/ 1798267 h 4764"/>
              <a:gd name="T20" fmla="*/ 1799554 w 4765"/>
              <a:gd name="T21" fmla="*/ 2976216 h 4764"/>
              <a:gd name="T22" fmla="*/ 1799554 w 4765"/>
              <a:gd name="T23" fmla="*/ 2976216 h 4764"/>
              <a:gd name="T24" fmla="*/ 1313400 w 4765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5" h="4764">
                <a:moveTo>
                  <a:pt x="2010" y="4558"/>
                </a:move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9" y="0"/>
                  <a:pt x="2754" y="205"/>
                </a:cubicBezTo>
                <a:lnTo>
                  <a:pt x="4559" y="2010"/>
                </a:lnTo>
                <a:cubicBezTo>
                  <a:pt x="4764" y="2216"/>
                  <a:pt x="4764" y="2548"/>
                  <a:pt x="4559" y="2754"/>
                </a:cubicBezTo>
                <a:lnTo>
                  <a:pt x="2754" y="4558"/>
                </a:lnTo>
                <a:cubicBezTo>
                  <a:pt x="2549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D828CC3-899F-B24C-9358-6D194EE6F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583" y="3972814"/>
            <a:ext cx="443377" cy="444314"/>
          </a:xfrm>
          <a:custGeom>
            <a:avLst/>
            <a:gdLst>
              <a:gd name="connsiteX0" fmla="*/ 444100 w 886754"/>
              <a:gd name="connsiteY0" fmla="*/ 463631 h 888627"/>
              <a:gd name="connsiteX1" fmla="*/ 328474 w 886754"/>
              <a:gd name="connsiteY1" fmla="*/ 578293 h 888627"/>
              <a:gd name="connsiteX2" fmla="*/ 313555 w 886754"/>
              <a:gd name="connsiteY2" fmla="*/ 582032 h 888627"/>
              <a:gd name="connsiteX3" fmla="*/ 306095 w 886754"/>
              <a:gd name="connsiteY3" fmla="*/ 569569 h 888627"/>
              <a:gd name="connsiteX4" fmla="*/ 306095 w 886754"/>
              <a:gd name="connsiteY4" fmla="*/ 489804 h 888627"/>
              <a:gd name="connsiteX5" fmla="*/ 105926 w 886754"/>
              <a:gd name="connsiteY5" fmla="*/ 690462 h 888627"/>
              <a:gd name="connsiteX6" fmla="*/ 148198 w 886754"/>
              <a:gd name="connsiteY6" fmla="*/ 740315 h 888627"/>
              <a:gd name="connsiteX7" fmla="*/ 444100 w 886754"/>
              <a:gd name="connsiteY7" fmla="*/ 862454 h 888627"/>
              <a:gd name="connsiteX8" fmla="*/ 728813 w 886754"/>
              <a:gd name="connsiteY8" fmla="*/ 749039 h 888627"/>
              <a:gd name="connsiteX9" fmla="*/ 663070 w 886754"/>
              <a:gd name="connsiteY9" fmla="*/ 428456 h 888627"/>
              <a:gd name="connsiteX10" fmla="*/ 682957 w 886754"/>
              <a:gd name="connsiteY10" fmla="*/ 443758 h 888627"/>
              <a:gd name="connsiteX11" fmla="*/ 663070 w 886754"/>
              <a:gd name="connsiteY11" fmla="*/ 460238 h 888627"/>
              <a:gd name="connsiteX12" fmla="*/ 645835 w 886754"/>
              <a:gd name="connsiteY12" fmla="*/ 443758 h 888627"/>
              <a:gd name="connsiteX13" fmla="*/ 663070 w 886754"/>
              <a:gd name="connsiteY13" fmla="*/ 428456 h 888627"/>
              <a:gd name="connsiteX14" fmla="*/ 749026 w 886754"/>
              <a:gd name="connsiteY14" fmla="*/ 373526 h 888627"/>
              <a:gd name="connsiteX15" fmla="*/ 765505 w 886754"/>
              <a:gd name="connsiteY15" fmla="*/ 392089 h 888627"/>
              <a:gd name="connsiteX16" fmla="*/ 749026 w 886754"/>
              <a:gd name="connsiteY16" fmla="*/ 410653 h 888627"/>
              <a:gd name="connsiteX17" fmla="*/ 733724 w 886754"/>
              <a:gd name="connsiteY17" fmla="*/ 392089 h 888627"/>
              <a:gd name="connsiteX18" fmla="*/ 749026 w 886754"/>
              <a:gd name="connsiteY18" fmla="*/ 373526 h 888627"/>
              <a:gd name="connsiteX19" fmla="*/ 665746 w 886754"/>
              <a:gd name="connsiteY19" fmla="*/ 358315 h 888627"/>
              <a:gd name="connsiteX20" fmla="*/ 675150 w 886754"/>
              <a:gd name="connsiteY20" fmla="*/ 362118 h 888627"/>
              <a:gd name="connsiteX21" fmla="*/ 760411 w 886754"/>
              <a:gd name="connsiteY21" fmla="*/ 448315 h 888627"/>
              <a:gd name="connsiteX22" fmla="*/ 760411 w 886754"/>
              <a:gd name="connsiteY22" fmla="*/ 467329 h 888627"/>
              <a:gd name="connsiteX23" fmla="*/ 750380 w 886754"/>
              <a:gd name="connsiteY23" fmla="*/ 471131 h 888627"/>
              <a:gd name="connsiteX24" fmla="*/ 741603 w 886754"/>
              <a:gd name="connsiteY24" fmla="*/ 467329 h 888627"/>
              <a:gd name="connsiteX25" fmla="*/ 656342 w 886754"/>
              <a:gd name="connsiteY25" fmla="*/ 381132 h 888627"/>
              <a:gd name="connsiteX26" fmla="*/ 656342 w 886754"/>
              <a:gd name="connsiteY26" fmla="*/ 362118 h 888627"/>
              <a:gd name="connsiteX27" fmla="*/ 665746 w 886754"/>
              <a:gd name="connsiteY27" fmla="*/ 358315 h 888627"/>
              <a:gd name="connsiteX28" fmla="*/ 748706 w 886754"/>
              <a:gd name="connsiteY28" fmla="*/ 158282 h 888627"/>
              <a:gd name="connsiteX29" fmla="*/ 462750 w 886754"/>
              <a:gd name="connsiteY29" fmla="*/ 443690 h 888627"/>
              <a:gd name="connsiteX30" fmla="*/ 748706 w 886754"/>
              <a:gd name="connsiteY30" fmla="*/ 730344 h 888627"/>
              <a:gd name="connsiteX31" fmla="*/ 748706 w 886754"/>
              <a:gd name="connsiteY31" fmla="*/ 158282 h 888627"/>
              <a:gd name="connsiteX32" fmla="*/ 139495 w 886754"/>
              <a:gd name="connsiteY32" fmla="*/ 158282 h 888627"/>
              <a:gd name="connsiteX33" fmla="*/ 91006 w 886754"/>
              <a:gd name="connsiteY33" fmla="*/ 668028 h 888627"/>
              <a:gd name="connsiteX34" fmla="*/ 309825 w 886754"/>
              <a:gd name="connsiteY34" fmla="*/ 448675 h 888627"/>
              <a:gd name="connsiteX35" fmla="*/ 323501 w 886754"/>
              <a:gd name="connsiteY35" fmla="*/ 446183 h 888627"/>
              <a:gd name="connsiteX36" fmla="*/ 330961 w 886754"/>
              <a:gd name="connsiteY36" fmla="*/ 458646 h 888627"/>
              <a:gd name="connsiteX37" fmla="*/ 330961 w 886754"/>
              <a:gd name="connsiteY37" fmla="*/ 537164 h 888627"/>
              <a:gd name="connsiteX38" fmla="*/ 425451 w 886754"/>
              <a:gd name="connsiteY38" fmla="*/ 443690 h 888627"/>
              <a:gd name="connsiteX39" fmla="*/ 456533 w 886754"/>
              <a:gd name="connsiteY39" fmla="*/ 26172 h 888627"/>
              <a:gd name="connsiteX40" fmla="*/ 456533 w 886754"/>
              <a:gd name="connsiteY40" fmla="*/ 412532 h 888627"/>
              <a:gd name="connsiteX41" fmla="*/ 728813 w 886754"/>
              <a:gd name="connsiteY41" fmla="*/ 139588 h 888627"/>
              <a:gd name="connsiteX42" fmla="*/ 456533 w 886754"/>
              <a:gd name="connsiteY42" fmla="*/ 26172 h 888627"/>
              <a:gd name="connsiteX43" fmla="*/ 430424 w 886754"/>
              <a:gd name="connsiteY43" fmla="*/ 26172 h 888627"/>
              <a:gd name="connsiteX44" fmla="*/ 158144 w 886754"/>
              <a:gd name="connsiteY44" fmla="*/ 139588 h 888627"/>
              <a:gd name="connsiteX45" fmla="*/ 430424 w 886754"/>
              <a:gd name="connsiteY45" fmla="*/ 412532 h 888627"/>
              <a:gd name="connsiteX46" fmla="*/ 444100 w 886754"/>
              <a:gd name="connsiteY46" fmla="*/ 0 h 888627"/>
              <a:gd name="connsiteX47" fmla="*/ 748706 w 886754"/>
              <a:gd name="connsiteY47" fmla="*/ 120893 h 888627"/>
              <a:gd name="connsiteX48" fmla="*/ 814600 w 886754"/>
              <a:gd name="connsiteY48" fmla="*/ 53592 h 888627"/>
              <a:gd name="connsiteX49" fmla="*/ 790978 w 886754"/>
              <a:gd name="connsiteY49" fmla="*/ 53592 h 888627"/>
              <a:gd name="connsiteX50" fmla="*/ 778545 w 886754"/>
              <a:gd name="connsiteY50" fmla="*/ 41128 h 888627"/>
              <a:gd name="connsiteX51" fmla="*/ 790978 w 886754"/>
              <a:gd name="connsiteY51" fmla="*/ 27419 h 888627"/>
              <a:gd name="connsiteX52" fmla="*/ 845682 w 886754"/>
              <a:gd name="connsiteY52" fmla="*/ 27419 h 888627"/>
              <a:gd name="connsiteX53" fmla="*/ 859358 w 886754"/>
              <a:gd name="connsiteY53" fmla="*/ 41128 h 888627"/>
              <a:gd name="connsiteX54" fmla="*/ 859358 w 886754"/>
              <a:gd name="connsiteY54" fmla="*/ 95966 h 888627"/>
              <a:gd name="connsiteX55" fmla="*/ 845682 w 886754"/>
              <a:gd name="connsiteY55" fmla="*/ 109676 h 888627"/>
              <a:gd name="connsiteX56" fmla="*/ 833249 w 886754"/>
              <a:gd name="connsiteY56" fmla="*/ 95966 h 888627"/>
              <a:gd name="connsiteX57" fmla="*/ 833249 w 886754"/>
              <a:gd name="connsiteY57" fmla="*/ 72286 h 888627"/>
              <a:gd name="connsiteX58" fmla="*/ 766112 w 886754"/>
              <a:gd name="connsiteY58" fmla="*/ 139588 h 888627"/>
              <a:gd name="connsiteX59" fmla="*/ 757409 w 886754"/>
              <a:gd name="connsiteY59" fmla="*/ 759009 h 888627"/>
              <a:gd name="connsiteX60" fmla="*/ 444100 w 886754"/>
              <a:gd name="connsiteY60" fmla="*/ 888627 h 888627"/>
              <a:gd name="connsiteX61" fmla="*/ 129548 w 886754"/>
              <a:gd name="connsiteY61" fmla="*/ 759009 h 888627"/>
              <a:gd name="connsiteX62" fmla="*/ 87277 w 886754"/>
              <a:gd name="connsiteY62" fmla="*/ 707910 h 888627"/>
              <a:gd name="connsiteX63" fmla="*/ 22626 w 886754"/>
              <a:gd name="connsiteY63" fmla="*/ 773965 h 888627"/>
              <a:gd name="connsiteX64" fmla="*/ 12679 w 886754"/>
              <a:gd name="connsiteY64" fmla="*/ 777704 h 888627"/>
              <a:gd name="connsiteX65" fmla="*/ 3976 w 886754"/>
              <a:gd name="connsiteY65" fmla="*/ 773965 h 888627"/>
              <a:gd name="connsiteX66" fmla="*/ 3976 w 886754"/>
              <a:gd name="connsiteY66" fmla="*/ 755270 h 888627"/>
              <a:gd name="connsiteX67" fmla="*/ 72357 w 886754"/>
              <a:gd name="connsiteY67" fmla="*/ 686723 h 888627"/>
              <a:gd name="connsiteX68" fmla="*/ 129548 w 886754"/>
              <a:gd name="connsiteY68" fmla="*/ 129617 h 888627"/>
              <a:gd name="connsiteX69" fmla="*/ 444100 w 886754"/>
              <a:gd name="connsiteY69" fmla="*/ 0 h 88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86754" h="888627">
                <a:moveTo>
                  <a:pt x="444100" y="463631"/>
                </a:moveTo>
                <a:lnTo>
                  <a:pt x="328474" y="578293"/>
                </a:lnTo>
                <a:cubicBezTo>
                  <a:pt x="323501" y="583278"/>
                  <a:pt x="318528" y="583278"/>
                  <a:pt x="313555" y="582032"/>
                </a:cubicBezTo>
                <a:cubicBezTo>
                  <a:pt x="308582" y="579539"/>
                  <a:pt x="306095" y="575800"/>
                  <a:pt x="306095" y="569569"/>
                </a:cubicBezTo>
                <a:lnTo>
                  <a:pt x="306095" y="489804"/>
                </a:lnTo>
                <a:lnTo>
                  <a:pt x="105926" y="690462"/>
                </a:lnTo>
                <a:cubicBezTo>
                  <a:pt x="118359" y="707910"/>
                  <a:pt x="133278" y="724112"/>
                  <a:pt x="148198" y="740315"/>
                </a:cubicBezTo>
                <a:cubicBezTo>
                  <a:pt x="227768" y="818833"/>
                  <a:pt x="332204" y="862454"/>
                  <a:pt x="444100" y="862454"/>
                </a:cubicBezTo>
                <a:cubicBezTo>
                  <a:pt x="551023" y="862454"/>
                  <a:pt x="651729" y="822572"/>
                  <a:pt x="728813" y="749039"/>
                </a:cubicBezTo>
                <a:close/>
                <a:moveTo>
                  <a:pt x="663070" y="428456"/>
                </a:moveTo>
                <a:cubicBezTo>
                  <a:pt x="673677" y="428456"/>
                  <a:pt x="682957" y="435519"/>
                  <a:pt x="682957" y="443758"/>
                </a:cubicBezTo>
                <a:cubicBezTo>
                  <a:pt x="682957" y="453175"/>
                  <a:pt x="673677" y="460238"/>
                  <a:pt x="663070" y="460238"/>
                </a:cubicBezTo>
                <a:cubicBezTo>
                  <a:pt x="653790" y="460238"/>
                  <a:pt x="645835" y="453175"/>
                  <a:pt x="645835" y="443758"/>
                </a:cubicBezTo>
                <a:cubicBezTo>
                  <a:pt x="645835" y="435519"/>
                  <a:pt x="653790" y="428456"/>
                  <a:pt x="663070" y="428456"/>
                </a:cubicBezTo>
                <a:close/>
                <a:moveTo>
                  <a:pt x="749026" y="373526"/>
                </a:moveTo>
                <a:cubicBezTo>
                  <a:pt x="758442" y="373526"/>
                  <a:pt x="765505" y="381482"/>
                  <a:pt x="765505" y="392089"/>
                </a:cubicBezTo>
                <a:cubicBezTo>
                  <a:pt x="765505" y="402697"/>
                  <a:pt x="758442" y="410653"/>
                  <a:pt x="749026" y="410653"/>
                </a:cubicBezTo>
                <a:cubicBezTo>
                  <a:pt x="740786" y="410653"/>
                  <a:pt x="733724" y="402697"/>
                  <a:pt x="733724" y="392089"/>
                </a:cubicBezTo>
                <a:cubicBezTo>
                  <a:pt x="733724" y="381482"/>
                  <a:pt x="740786" y="373526"/>
                  <a:pt x="749026" y="373526"/>
                </a:cubicBezTo>
                <a:close/>
                <a:moveTo>
                  <a:pt x="665746" y="358315"/>
                </a:moveTo>
                <a:cubicBezTo>
                  <a:pt x="669195" y="358315"/>
                  <a:pt x="672643" y="359583"/>
                  <a:pt x="675150" y="362118"/>
                </a:cubicBezTo>
                <a:lnTo>
                  <a:pt x="760411" y="448315"/>
                </a:lnTo>
                <a:cubicBezTo>
                  <a:pt x="765426" y="453385"/>
                  <a:pt x="765426" y="462258"/>
                  <a:pt x="760411" y="467329"/>
                </a:cubicBezTo>
                <a:cubicBezTo>
                  <a:pt x="757903" y="469864"/>
                  <a:pt x="754142" y="471131"/>
                  <a:pt x="750380" y="471131"/>
                </a:cubicBezTo>
                <a:cubicBezTo>
                  <a:pt x="747872" y="471131"/>
                  <a:pt x="744111" y="469864"/>
                  <a:pt x="741603" y="467329"/>
                </a:cubicBezTo>
                <a:lnTo>
                  <a:pt x="656342" y="381132"/>
                </a:lnTo>
                <a:cubicBezTo>
                  <a:pt x="651327" y="376062"/>
                  <a:pt x="651327" y="367188"/>
                  <a:pt x="656342" y="362118"/>
                </a:cubicBezTo>
                <a:cubicBezTo>
                  <a:pt x="658850" y="359583"/>
                  <a:pt x="662298" y="358315"/>
                  <a:pt x="665746" y="358315"/>
                </a:cubicBezTo>
                <a:close/>
                <a:moveTo>
                  <a:pt x="748706" y="158282"/>
                </a:moveTo>
                <a:lnTo>
                  <a:pt x="462750" y="443690"/>
                </a:lnTo>
                <a:lnTo>
                  <a:pt x="748706" y="730344"/>
                </a:lnTo>
                <a:cubicBezTo>
                  <a:pt x="899144" y="569569"/>
                  <a:pt x="899144" y="317812"/>
                  <a:pt x="748706" y="158282"/>
                </a:cubicBezTo>
                <a:close/>
                <a:moveTo>
                  <a:pt x="139495" y="158282"/>
                </a:moveTo>
                <a:cubicBezTo>
                  <a:pt x="7706" y="299117"/>
                  <a:pt x="-9700" y="509745"/>
                  <a:pt x="91006" y="668028"/>
                </a:cubicBezTo>
                <a:lnTo>
                  <a:pt x="309825" y="448675"/>
                </a:lnTo>
                <a:cubicBezTo>
                  <a:pt x="313555" y="446183"/>
                  <a:pt x="318528" y="443690"/>
                  <a:pt x="323501" y="446183"/>
                </a:cubicBezTo>
                <a:cubicBezTo>
                  <a:pt x="328474" y="447429"/>
                  <a:pt x="330961" y="453661"/>
                  <a:pt x="330961" y="458646"/>
                </a:cubicBezTo>
                <a:lnTo>
                  <a:pt x="330961" y="537164"/>
                </a:lnTo>
                <a:lnTo>
                  <a:pt x="425451" y="443690"/>
                </a:lnTo>
                <a:close/>
                <a:moveTo>
                  <a:pt x="456533" y="26172"/>
                </a:moveTo>
                <a:lnTo>
                  <a:pt x="456533" y="412532"/>
                </a:lnTo>
                <a:lnTo>
                  <a:pt x="728813" y="139588"/>
                </a:lnTo>
                <a:cubicBezTo>
                  <a:pt x="654216" y="68547"/>
                  <a:pt x="558483" y="29911"/>
                  <a:pt x="456533" y="26172"/>
                </a:cubicBezTo>
                <a:close/>
                <a:moveTo>
                  <a:pt x="430424" y="26172"/>
                </a:moveTo>
                <a:cubicBezTo>
                  <a:pt x="328474" y="29911"/>
                  <a:pt x="232741" y="68547"/>
                  <a:pt x="158144" y="139588"/>
                </a:cubicBezTo>
                <a:lnTo>
                  <a:pt x="430424" y="412532"/>
                </a:lnTo>
                <a:close/>
                <a:moveTo>
                  <a:pt x="444100" y="0"/>
                </a:moveTo>
                <a:cubicBezTo>
                  <a:pt x="558483" y="0"/>
                  <a:pt x="665405" y="43621"/>
                  <a:pt x="748706" y="120893"/>
                </a:cubicBezTo>
                <a:lnTo>
                  <a:pt x="814600" y="53592"/>
                </a:lnTo>
                <a:lnTo>
                  <a:pt x="790978" y="53592"/>
                </a:lnTo>
                <a:cubicBezTo>
                  <a:pt x="783518" y="53592"/>
                  <a:pt x="778545" y="47360"/>
                  <a:pt x="778545" y="41128"/>
                </a:cubicBezTo>
                <a:cubicBezTo>
                  <a:pt x="778545" y="33650"/>
                  <a:pt x="783518" y="27419"/>
                  <a:pt x="790978" y="27419"/>
                </a:cubicBezTo>
                <a:lnTo>
                  <a:pt x="845682" y="27419"/>
                </a:lnTo>
                <a:cubicBezTo>
                  <a:pt x="854385" y="27419"/>
                  <a:pt x="859358" y="33650"/>
                  <a:pt x="859358" y="41128"/>
                </a:cubicBezTo>
                <a:lnTo>
                  <a:pt x="859358" y="95966"/>
                </a:lnTo>
                <a:cubicBezTo>
                  <a:pt x="859358" y="103444"/>
                  <a:pt x="854385" y="109676"/>
                  <a:pt x="845682" y="109676"/>
                </a:cubicBezTo>
                <a:cubicBezTo>
                  <a:pt x="839466" y="109676"/>
                  <a:pt x="833249" y="103444"/>
                  <a:pt x="833249" y="95966"/>
                </a:cubicBezTo>
                <a:lnTo>
                  <a:pt x="833249" y="72286"/>
                </a:lnTo>
                <a:lnTo>
                  <a:pt x="766112" y="139588"/>
                </a:lnTo>
                <a:cubicBezTo>
                  <a:pt x="930226" y="314073"/>
                  <a:pt x="926496" y="588263"/>
                  <a:pt x="757409" y="759009"/>
                </a:cubicBezTo>
                <a:cubicBezTo>
                  <a:pt x="674108" y="842513"/>
                  <a:pt x="562213" y="888627"/>
                  <a:pt x="444100" y="888627"/>
                </a:cubicBezTo>
                <a:cubicBezTo>
                  <a:pt x="324745" y="888627"/>
                  <a:pt x="214092" y="842513"/>
                  <a:pt x="129548" y="759009"/>
                </a:cubicBezTo>
                <a:cubicBezTo>
                  <a:pt x="114629" y="742807"/>
                  <a:pt x="100953" y="726605"/>
                  <a:pt x="87277" y="707910"/>
                </a:cubicBezTo>
                <a:lnTo>
                  <a:pt x="22626" y="773965"/>
                </a:lnTo>
                <a:cubicBezTo>
                  <a:pt x="20139" y="776458"/>
                  <a:pt x="16409" y="777704"/>
                  <a:pt x="12679" y="777704"/>
                </a:cubicBezTo>
                <a:cubicBezTo>
                  <a:pt x="10193" y="777704"/>
                  <a:pt x="6463" y="776458"/>
                  <a:pt x="3976" y="773965"/>
                </a:cubicBezTo>
                <a:cubicBezTo>
                  <a:pt x="-997" y="768980"/>
                  <a:pt x="-997" y="760256"/>
                  <a:pt x="3976" y="755270"/>
                </a:cubicBezTo>
                <a:lnTo>
                  <a:pt x="72357" y="686723"/>
                </a:lnTo>
                <a:cubicBezTo>
                  <a:pt x="-40782" y="514730"/>
                  <a:pt x="-20889" y="280422"/>
                  <a:pt x="129548" y="129617"/>
                </a:cubicBezTo>
                <a:cubicBezTo>
                  <a:pt x="214092" y="46114"/>
                  <a:pt x="324745" y="0"/>
                  <a:pt x="4441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A02D449-F76E-7847-A2F2-76DFFB42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908" y="3951464"/>
            <a:ext cx="449012" cy="446437"/>
          </a:xfrm>
          <a:custGeom>
            <a:avLst/>
            <a:gdLst>
              <a:gd name="connsiteX0" fmla="*/ 418964 w 898023"/>
              <a:gd name="connsiteY0" fmla="*/ 767781 h 892874"/>
              <a:gd name="connsiteX1" fmla="*/ 432697 w 898023"/>
              <a:gd name="connsiteY1" fmla="*/ 781514 h 892874"/>
              <a:gd name="connsiteX2" fmla="*/ 432697 w 898023"/>
              <a:gd name="connsiteY2" fmla="*/ 836445 h 892874"/>
              <a:gd name="connsiteX3" fmla="*/ 418964 w 898023"/>
              <a:gd name="connsiteY3" fmla="*/ 848930 h 892874"/>
              <a:gd name="connsiteX4" fmla="*/ 406479 w 898023"/>
              <a:gd name="connsiteY4" fmla="*/ 836445 h 892874"/>
              <a:gd name="connsiteX5" fmla="*/ 406479 w 898023"/>
              <a:gd name="connsiteY5" fmla="*/ 781514 h 892874"/>
              <a:gd name="connsiteX6" fmla="*/ 418964 w 898023"/>
              <a:gd name="connsiteY6" fmla="*/ 767781 h 892874"/>
              <a:gd name="connsiteX7" fmla="*/ 774649 w 898023"/>
              <a:gd name="connsiteY7" fmla="*/ 529988 h 892874"/>
              <a:gd name="connsiteX8" fmla="*/ 753409 w 898023"/>
              <a:gd name="connsiteY8" fmla="*/ 543705 h 892874"/>
              <a:gd name="connsiteX9" fmla="*/ 752159 w 898023"/>
              <a:gd name="connsiteY9" fmla="*/ 544952 h 892874"/>
              <a:gd name="connsiteX10" fmla="*/ 750910 w 898023"/>
              <a:gd name="connsiteY10" fmla="*/ 546199 h 892874"/>
              <a:gd name="connsiteX11" fmla="*/ 750910 w 898023"/>
              <a:gd name="connsiteY11" fmla="*/ 552435 h 892874"/>
              <a:gd name="connsiteX12" fmla="*/ 750910 w 898023"/>
              <a:gd name="connsiteY12" fmla="*/ 553682 h 892874"/>
              <a:gd name="connsiteX13" fmla="*/ 750910 w 898023"/>
              <a:gd name="connsiteY13" fmla="*/ 554929 h 892874"/>
              <a:gd name="connsiteX14" fmla="*/ 769651 w 898023"/>
              <a:gd name="connsiteY14" fmla="*/ 577375 h 892874"/>
              <a:gd name="connsiteX15" fmla="*/ 842119 w 898023"/>
              <a:gd name="connsiteY15" fmla="*/ 592340 h 892874"/>
              <a:gd name="connsiteX16" fmla="*/ 835871 w 898023"/>
              <a:gd name="connsiteY16" fmla="*/ 582363 h 892874"/>
              <a:gd name="connsiteX17" fmla="*/ 842119 w 898023"/>
              <a:gd name="connsiteY17" fmla="*/ 551188 h 892874"/>
              <a:gd name="connsiteX18" fmla="*/ 852114 w 898023"/>
              <a:gd name="connsiteY18" fmla="*/ 544952 h 892874"/>
              <a:gd name="connsiteX19" fmla="*/ 778397 w 898023"/>
              <a:gd name="connsiteY19" fmla="*/ 529988 h 892874"/>
              <a:gd name="connsiteX20" fmla="*/ 774649 w 898023"/>
              <a:gd name="connsiteY20" fmla="*/ 529988 h 892874"/>
              <a:gd name="connsiteX21" fmla="*/ 506021 w 898023"/>
              <a:gd name="connsiteY21" fmla="*/ 407779 h 892874"/>
              <a:gd name="connsiteX22" fmla="*/ 449796 w 898023"/>
              <a:gd name="connsiteY22" fmla="*/ 462648 h 892874"/>
              <a:gd name="connsiteX23" fmla="*/ 452295 w 898023"/>
              <a:gd name="connsiteY23" fmla="*/ 471377 h 892874"/>
              <a:gd name="connsiteX24" fmla="*/ 528511 w 898023"/>
              <a:gd name="connsiteY24" fmla="*/ 487589 h 892874"/>
              <a:gd name="connsiteX25" fmla="*/ 528511 w 898023"/>
              <a:gd name="connsiteY25" fmla="*/ 477613 h 892874"/>
              <a:gd name="connsiteX26" fmla="*/ 506021 w 898023"/>
              <a:gd name="connsiteY26" fmla="*/ 407779 h 892874"/>
              <a:gd name="connsiteX27" fmla="*/ 416062 w 898023"/>
              <a:gd name="connsiteY27" fmla="*/ 365380 h 892874"/>
              <a:gd name="connsiteX28" fmla="*/ 304862 w 898023"/>
              <a:gd name="connsiteY28" fmla="*/ 477613 h 892874"/>
              <a:gd name="connsiteX29" fmla="*/ 416062 w 898023"/>
              <a:gd name="connsiteY29" fmla="*/ 589846 h 892874"/>
              <a:gd name="connsiteX30" fmla="*/ 522263 w 898023"/>
              <a:gd name="connsiteY30" fmla="*/ 513777 h 892874"/>
              <a:gd name="connsiteX31" fmla="*/ 447297 w 898023"/>
              <a:gd name="connsiteY31" fmla="*/ 497565 h 892874"/>
              <a:gd name="connsiteX32" fmla="*/ 416062 w 898023"/>
              <a:gd name="connsiteY32" fmla="*/ 513777 h 892874"/>
              <a:gd name="connsiteX33" fmla="*/ 381077 w 898023"/>
              <a:gd name="connsiteY33" fmla="*/ 477613 h 892874"/>
              <a:gd name="connsiteX34" fmla="*/ 416062 w 898023"/>
              <a:gd name="connsiteY34" fmla="*/ 441449 h 892874"/>
              <a:gd name="connsiteX35" fmla="*/ 431055 w 898023"/>
              <a:gd name="connsiteY35" fmla="*/ 443943 h 892874"/>
              <a:gd name="connsiteX36" fmla="*/ 486030 w 898023"/>
              <a:gd name="connsiteY36" fmla="*/ 389073 h 892874"/>
              <a:gd name="connsiteX37" fmla="*/ 468538 w 898023"/>
              <a:gd name="connsiteY37" fmla="*/ 377850 h 892874"/>
              <a:gd name="connsiteX38" fmla="*/ 416062 w 898023"/>
              <a:gd name="connsiteY38" fmla="*/ 365380 h 892874"/>
              <a:gd name="connsiteX39" fmla="*/ 603477 w 898023"/>
              <a:gd name="connsiteY39" fmla="*/ 309263 h 892874"/>
              <a:gd name="connsiteX40" fmla="*/ 523513 w 898023"/>
              <a:gd name="connsiteY40" fmla="*/ 389073 h 892874"/>
              <a:gd name="connsiteX41" fmla="*/ 554749 w 898023"/>
              <a:gd name="connsiteY41" fmla="*/ 477613 h 892874"/>
              <a:gd name="connsiteX42" fmla="*/ 554749 w 898023"/>
              <a:gd name="connsiteY42" fmla="*/ 493824 h 892874"/>
              <a:gd name="connsiteX43" fmla="*/ 665948 w 898023"/>
              <a:gd name="connsiteY43" fmla="*/ 517518 h 892874"/>
              <a:gd name="connsiteX44" fmla="*/ 668447 w 898023"/>
              <a:gd name="connsiteY44" fmla="*/ 477613 h 892874"/>
              <a:gd name="connsiteX45" fmla="*/ 603477 w 898023"/>
              <a:gd name="connsiteY45" fmla="*/ 309263 h 892874"/>
              <a:gd name="connsiteX46" fmla="*/ 416062 w 898023"/>
              <a:gd name="connsiteY46" fmla="*/ 226959 h 892874"/>
              <a:gd name="connsiteX47" fmla="*/ 164925 w 898023"/>
              <a:gd name="connsiteY47" fmla="*/ 477613 h 892874"/>
              <a:gd name="connsiteX48" fmla="*/ 416062 w 898023"/>
              <a:gd name="connsiteY48" fmla="*/ 729513 h 892874"/>
              <a:gd name="connsiteX49" fmla="*/ 660951 w 898023"/>
              <a:gd name="connsiteY49" fmla="*/ 542458 h 892874"/>
              <a:gd name="connsiteX50" fmla="*/ 548502 w 898023"/>
              <a:gd name="connsiteY50" fmla="*/ 518765 h 892874"/>
              <a:gd name="connsiteX51" fmla="*/ 416062 w 898023"/>
              <a:gd name="connsiteY51" fmla="*/ 616033 h 892874"/>
              <a:gd name="connsiteX52" fmla="*/ 277374 w 898023"/>
              <a:gd name="connsiteY52" fmla="*/ 477613 h 892874"/>
              <a:gd name="connsiteX53" fmla="*/ 416062 w 898023"/>
              <a:gd name="connsiteY53" fmla="*/ 339192 h 892874"/>
              <a:gd name="connsiteX54" fmla="*/ 479783 w 898023"/>
              <a:gd name="connsiteY54" fmla="*/ 354156 h 892874"/>
              <a:gd name="connsiteX55" fmla="*/ 506021 w 898023"/>
              <a:gd name="connsiteY55" fmla="*/ 371615 h 892874"/>
              <a:gd name="connsiteX56" fmla="*/ 585985 w 898023"/>
              <a:gd name="connsiteY56" fmla="*/ 291805 h 892874"/>
              <a:gd name="connsiteX57" fmla="*/ 416062 w 898023"/>
              <a:gd name="connsiteY57" fmla="*/ 226959 h 892874"/>
              <a:gd name="connsiteX58" fmla="*/ 700933 w 898023"/>
              <a:gd name="connsiteY58" fmla="*/ 211995 h 892874"/>
              <a:gd name="connsiteX59" fmla="*/ 622218 w 898023"/>
              <a:gd name="connsiteY59" fmla="*/ 291805 h 892874"/>
              <a:gd name="connsiteX60" fmla="*/ 694685 w 898023"/>
              <a:gd name="connsiteY60" fmla="*/ 477613 h 892874"/>
              <a:gd name="connsiteX61" fmla="*/ 690937 w 898023"/>
              <a:gd name="connsiteY61" fmla="*/ 522506 h 892874"/>
              <a:gd name="connsiteX62" fmla="*/ 729670 w 898023"/>
              <a:gd name="connsiteY62" fmla="*/ 531235 h 892874"/>
              <a:gd name="connsiteX63" fmla="*/ 783395 w 898023"/>
              <a:gd name="connsiteY63" fmla="*/ 505047 h 892874"/>
              <a:gd name="connsiteX64" fmla="*/ 804636 w 898023"/>
              <a:gd name="connsiteY64" fmla="*/ 508789 h 892874"/>
              <a:gd name="connsiteX65" fmla="*/ 807134 w 898023"/>
              <a:gd name="connsiteY65" fmla="*/ 477613 h 892874"/>
              <a:gd name="connsiteX66" fmla="*/ 700933 w 898023"/>
              <a:gd name="connsiteY66" fmla="*/ 211995 h 892874"/>
              <a:gd name="connsiteX67" fmla="*/ 416062 w 898023"/>
              <a:gd name="connsiteY67" fmla="*/ 88539 h 892874"/>
              <a:gd name="connsiteX68" fmla="*/ 27488 w 898023"/>
              <a:gd name="connsiteY68" fmla="*/ 477613 h 892874"/>
              <a:gd name="connsiteX69" fmla="*/ 416062 w 898023"/>
              <a:gd name="connsiteY69" fmla="*/ 866686 h 892874"/>
              <a:gd name="connsiteX70" fmla="*/ 784645 w 898023"/>
              <a:gd name="connsiteY70" fmla="*/ 607304 h 892874"/>
              <a:gd name="connsiteX71" fmla="*/ 764654 w 898023"/>
              <a:gd name="connsiteY71" fmla="*/ 602316 h 892874"/>
              <a:gd name="connsiteX72" fmla="*/ 724672 w 898023"/>
              <a:gd name="connsiteY72" fmla="*/ 557423 h 892874"/>
              <a:gd name="connsiteX73" fmla="*/ 724672 w 898023"/>
              <a:gd name="connsiteY73" fmla="*/ 556176 h 892874"/>
              <a:gd name="connsiteX74" fmla="*/ 685939 w 898023"/>
              <a:gd name="connsiteY74" fmla="*/ 548694 h 892874"/>
              <a:gd name="connsiteX75" fmla="*/ 416062 w 898023"/>
              <a:gd name="connsiteY75" fmla="*/ 755701 h 892874"/>
              <a:gd name="connsiteX76" fmla="*/ 138687 w 898023"/>
              <a:gd name="connsiteY76" fmla="*/ 477613 h 892874"/>
              <a:gd name="connsiteX77" fmla="*/ 416062 w 898023"/>
              <a:gd name="connsiteY77" fmla="*/ 199525 h 892874"/>
              <a:gd name="connsiteX78" fmla="*/ 603477 w 898023"/>
              <a:gd name="connsiteY78" fmla="*/ 271852 h 892874"/>
              <a:gd name="connsiteX79" fmla="*/ 682191 w 898023"/>
              <a:gd name="connsiteY79" fmla="*/ 193290 h 892874"/>
              <a:gd name="connsiteX80" fmla="*/ 416062 w 898023"/>
              <a:gd name="connsiteY80" fmla="*/ 88539 h 892874"/>
              <a:gd name="connsiteX81" fmla="*/ 827125 w 898023"/>
              <a:gd name="connsiteY81" fmla="*/ 38658 h 892874"/>
              <a:gd name="connsiteX82" fmla="*/ 774649 w 898023"/>
              <a:gd name="connsiteY82" fmla="*/ 91033 h 892874"/>
              <a:gd name="connsiteX83" fmla="*/ 770901 w 898023"/>
              <a:gd name="connsiteY83" fmla="*/ 118468 h 892874"/>
              <a:gd name="connsiteX84" fmla="*/ 772150 w 898023"/>
              <a:gd name="connsiteY84" fmla="*/ 119715 h 892874"/>
              <a:gd name="connsiteX85" fmla="*/ 773400 w 898023"/>
              <a:gd name="connsiteY85" fmla="*/ 120962 h 892874"/>
              <a:gd name="connsiteX86" fmla="*/ 777148 w 898023"/>
              <a:gd name="connsiteY86" fmla="*/ 125950 h 892874"/>
              <a:gd name="connsiteX87" fmla="*/ 779647 w 898023"/>
              <a:gd name="connsiteY87" fmla="*/ 127197 h 892874"/>
              <a:gd name="connsiteX88" fmla="*/ 808384 w 898023"/>
              <a:gd name="connsiteY88" fmla="*/ 123456 h 892874"/>
              <a:gd name="connsiteX89" fmla="*/ 859611 w 898023"/>
              <a:gd name="connsiteY89" fmla="*/ 71081 h 892874"/>
              <a:gd name="connsiteX90" fmla="*/ 849615 w 898023"/>
              <a:gd name="connsiteY90" fmla="*/ 71081 h 892874"/>
              <a:gd name="connsiteX91" fmla="*/ 827125 w 898023"/>
              <a:gd name="connsiteY91" fmla="*/ 48634 h 892874"/>
              <a:gd name="connsiteX92" fmla="*/ 842119 w 898023"/>
              <a:gd name="connsiteY92" fmla="*/ 1247 h 892874"/>
              <a:gd name="connsiteX93" fmla="*/ 853364 w 898023"/>
              <a:gd name="connsiteY93" fmla="*/ 18705 h 892874"/>
              <a:gd name="connsiteX94" fmla="*/ 853364 w 898023"/>
              <a:gd name="connsiteY94" fmla="*/ 44893 h 892874"/>
              <a:gd name="connsiteX95" fmla="*/ 879602 w 898023"/>
              <a:gd name="connsiteY95" fmla="*/ 44893 h 892874"/>
              <a:gd name="connsiteX96" fmla="*/ 895844 w 898023"/>
              <a:gd name="connsiteY96" fmla="*/ 56116 h 892874"/>
              <a:gd name="connsiteX97" fmla="*/ 893345 w 898023"/>
              <a:gd name="connsiteY97" fmla="*/ 76069 h 892874"/>
              <a:gd name="connsiteX98" fmla="*/ 825876 w 898023"/>
              <a:gd name="connsiteY98" fmla="*/ 142161 h 892874"/>
              <a:gd name="connsiteX99" fmla="*/ 790892 w 898023"/>
              <a:gd name="connsiteY99" fmla="*/ 155879 h 892874"/>
              <a:gd name="connsiteX100" fmla="*/ 767153 w 898023"/>
              <a:gd name="connsiteY100" fmla="*/ 149643 h 892874"/>
              <a:gd name="connsiteX101" fmla="*/ 764654 w 898023"/>
              <a:gd name="connsiteY101" fmla="*/ 148396 h 892874"/>
              <a:gd name="connsiteX102" fmla="*/ 719674 w 898023"/>
              <a:gd name="connsiteY102" fmla="*/ 193290 h 892874"/>
              <a:gd name="connsiteX103" fmla="*/ 832123 w 898023"/>
              <a:gd name="connsiteY103" fmla="*/ 477613 h 892874"/>
              <a:gd name="connsiteX104" fmla="*/ 830874 w 898023"/>
              <a:gd name="connsiteY104" fmla="*/ 515024 h 892874"/>
              <a:gd name="connsiteX105" fmla="*/ 875853 w 898023"/>
              <a:gd name="connsiteY105" fmla="*/ 523753 h 892874"/>
              <a:gd name="connsiteX106" fmla="*/ 889597 w 898023"/>
              <a:gd name="connsiteY106" fmla="*/ 537470 h 892874"/>
              <a:gd name="connsiteX107" fmla="*/ 882100 w 898023"/>
              <a:gd name="connsiteY107" fmla="*/ 556176 h 892874"/>
              <a:gd name="connsiteX108" fmla="*/ 859611 w 898023"/>
              <a:gd name="connsiteY108" fmla="*/ 571140 h 892874"/>
              <a:gd name="connsiteX109" fmla="*/ 874604 w 898023"/>
              <a:gd name="connsiteY109" fmla="*/ 593587 h 892874"/>
              <a:gd name="connsiteX110" fmla="*/ 874604 w 898023"/>
              <a:gd name="connsiteY110" fmla="*/ 613539 h 892874"/>
              <a:gd name="connsiteX111" fmla="*/ 859611 w 898023"/>
              <a:gd name="connsiteY111" fmla="*/ 621021 h 892874"/>
              <a:gd name="connsiteX112" fmla="*/ 855862 w 898023"/>
              <a:gd name="connsiteY112" fmla="*/ 621021 h 892874"/>
              <a:gd name="connsiteX113" fmla="*/ 809633 w 898023"/>
              <a:gd name="connsiteY113" fmla="*/ 611045 h 892874"/>
              <a:gd name="connsiteX114" fmla="*/ 416062 w 898023"/>
              <a:gd name="connsiteY114" fmla="*/ 892874 h 892874"/>
              <a:gd name="connsiteX115" fmla="*/ 0 w 898023"/>
              <a:gd name="connsiteY115" fmla="*/ 477613 h 892874"/>
              <a:gd name="connsiteX116" fmla="*/ 416062 w 898023"/>
              <a:gd name="connsiteY116" fmla="*/ 62351 h 892874"/>
              <a:gd name="connsiteX117" fmla="*/ 700933 w 898023"/>
              <a:gd name="connsiteY117" fmla="*/ 175831 h 892874"/>
              <a:gd name="connsiteX118" fmla="*/ 747162 w 898023"/>
              <a:gd name="connsiteY118" fmla="*/ 129691 h 892874"/>
              <a:gd name="connsiteX119" fmla="*/ 755908 w 898023"/>
              <a:gd name="connsiteY119" fmla="*/ 71081 h 892874"/>
              <a:gd name="connsiteX120" fmla="*/ 822128 w 898023"/>
              <a:gd name="connsiteY120" fmla="*/ 4988 h 892874"/>
              <a:gd name="connsiteX121" fmla="*/ 842119 w 898023"/>
              <a:gd name="connsiteY121" fmla="*/ 1247 h 8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898023" h="892874">
                <a:moveTo>
                  <a:pt x="418964" y="767781"/>
                </a:moveTo>
                <a:cubicBezTo>
                  <a:pt x="426454" y="767781"/>
                  <a:pt x="432697" y="774023"/>
                  <a:pt x="432697" y="781514"/>
                </a:cubicBezTo>
                <a:lnTo>
                  <a:pt x="432697" y="836445"/>
                </a:lnTo>
                <a:cubicBezTo>
                  <a:pt x="432697" y="843936"/>
                  <a:pt x="426454" y="848930"/>
                  <a:pt x="418964" y="848930"/>
                </a:cubicBezTo>
                <a:cubicBezTo>
                  <a:pt x="412721" y="848930"/>
                  <a:pt x="406479" y="843936"/>
                  <a:pt x="406479" y="836445"/>
                </a:cubicBezTo>
                <a:lnTo>
                  <a:pt x="406479" y="781514"/>
                </a:lnTo>
                <a:cubicBezTo>
                  <a:pt x="406479" y="774023"/>
                  <a:pt x="412721" y="767781"/>
                  <a:pt x="418964" y="767781"/>
                </a:cubicBezTo>
                <a:close/>
                <a:moveTo>
                  <a:pt x="774649" y="529988"/>
                </a:moveTo>
                <a:cubicBezTo>
                  <a:pt x="764654" y="529988"/>
                  <a:pt x="757157" y="534976"/>
                  <a:pt x="753409" y="543705"/>
                </a:cubicBezTo>
                <a:lnTo>
                  <a:pt x="752159" y="544952"/>
                </a:lnTo>
                <a:cubicBezTo>
                  <a:pt x="750910" y="546199"/>
                  <a:pt x="750910" y="546199"/>
                  <a:pt x="750910" y="546199"/>
                </a:cubicBezTo>
                <a:lnTo>
                  <a:pt x="750910" y="552435"/>
                </a:lnTo>
                <a:cubicBezTo>
                  <a:pt x="749660" y="552435"/>
                  <a:pt x="749660" y="552435"/>
                  <a:pt x="750910" y="553682"/>
                </a:cubicBezTo>
                <a:lnTo>
                  <a:pt x="750910" y="554929"/>
                </a:lnTo>
                <a:cubicBezTo>
                  <a:pt x="750910" y="566152"/>
                  <a:pt x="758406" y="574881"/>
                  <a:pt x="769651" y="577375"/>
                </a:cubicBezTo>
                <a:lnTo>
                  <a:pt x="842119" y="592340"/>
                </a:lnTo>
                <a:lnTo>
                  <a:pt x="835871" y="582363"/>
                </a:lnTo>
                <a:cubicBezTo>
                  <a:pt x="829624" y="572387"/>
                  <a:pt x="830874" y="557423"/>
                  <a:pt x="842119" y="551188"/>
                </a:cubicBezTo>
                <a:lnTo>
                  <a:pt x="852114" y="544952"/>
                </a:lnTo>
                <a:lnTo>
                  <a:pt x="778397" y="529988"/>
                </a:lnTo>
                <a:cubicBezTo>
                  <a:pt x="777148" y="529988"/>
                  <a:pt x="775899" y="529988"/>
                  <a:pt x="774649" y="529988"/>
                </a:cubicBezTo>
                <a:close/>
                <a:moveTo>
                  <a:pt x="506021" y="407779"/>
                </a:moveTo>
                <a:lnTo>
                  <a:pt x="449796" y="462648"/>
                </a:lnTo>
                <a:cubicBezTo>
                  <a:pt x="451046" y="465142"/>
                  <a:pt x="452295" y="468883"/>
                  <a:pt x="452295" y="471377"/>
                </a:cubicBezTo>
                <a:lnTo>
                  <a:pt x="528511" y="487589"/>
                </a:lnTo>
                <a:cubicBezTo>
                  <a:pt x="528511" y="485095"/>
                  <a:pt x="528511" y="481354"/>
                  <a:pt x="528511" y="477613"/>
                </a:cubicBezTo>
                <a:cubicBezTo>
                  <a:pt x="528511" y="451425"/>
                  <a:pt x="521014" y="427731"/>
                  <a:pt x="506021" y="407779"/>
                </a:cubicBezTo>
                <a:close/>
                <a:moveTo>
                  <a:pt x="416062" y="365380"/>
                </a:moveTo>
                <a:cubicBezTo>
                  <a:pt x="354839" y="365380"/>
                  <a:pt x="304862" y="415261"/>
                  <a:pt x="304862" y="477613"/>
                </a:cubicBezTo>
                <a:cubicBezTo>
                  <a:pt x="304862" y="539964"/>
                  <a:pt x="354839" y="589846"/>
                  <a:pt x="416062" y="589846"/>
                </a:cubicBezTo>
                <a:cubicBezTo>
                  <a:pt x="466039" y="589846"/>
                  <a:pt x="507270" y="557423"/>
                  <a:pt x="522263" y="513777"/>
                </a:cubicBezTo>
                <a:lnTo>
                  <a:pt x="447297" y="497565"/>
                </a:lnTo>
                <a:cubicBezTo>
                  <a:pt x="441050" y="507542"/>
                  <a:pt x="429805" y="513777"/>
                  <a:pt x="416062" y="513777"/>
                </a:cubicBezTo>
                <a:cubicBezTo>
                  <a:pt x="397320" y="513777"/>
                  <a:pt x="381077" y="497565"/>
                  <a:pt x="381077" y="477613"/>
                </a:cubicBezTo>
                <a:cubicBezTo>
                  <a:pt x="381077" y="457660"/>
                  <a:pt x="397320" y="441449"/>
                  <a:pt x="416062" y="441449"/>
                </a:cubicBezTo>
                <a:cubicBezTo>
                  <a:pt x="422309" y="441449"/>
                  <a:pt x="427306" y="442696"/>
                  <a:pt x="431055" y="443943"/>
                </a:cubicBezTo>
                <a:lnTo>
                  <a:pt x="486030" y="389073"/>
                </a:lnTo>
                <a:cubicBezTo>
                  <a:pt x="481032" y="385332"/>
                  <a:pt x="474785" y="381591"/>
                  <a:pt x="468538" y="377850"/>
                </a:cubicBezTo>
                <a:cubicBezTo>
                  <a:pt x="452295" y="370368"/>
                  <a:pt x="434803" y="365380"/>
                  <a:pt x="416062" y="365380"/>
                </a:cubicBezTo>
                <a:close/>
                <a:moveTo>
                  <a:pt x="603477" y="309263"/>
                </a:moveTo>
                <a:lnTo>
                  <a:pt x="523513" y="389073"/>
                </a:lnTo>
                <a:cubicBezTo>
                  <a:pt x="543504" y="414014"/>
                  <a:pt x="554749" y="443943"/>
                  <a:pt x="554749" y="477613"/>
                </a:cubicBezTo>
                <a:cubicBezTo>
                  <a:pt x="554749" y="483848"/>
                  <a:pt x="554749" y="488836"/>
                  <a:pt x="554749" y="493824"/>
                </a:cubicBezTo>
                <a:lnTo>
                  <a:pt x="665948" y="517518"/>
                </a:lnTo>
                <a:cubicBezTo>
                  <a:pt x="667198" y="505047"/>
                  <a:pt x="668447" y="491330"/>
                  <a:pt x="668447" y="477613"/>
                </a:cubicBezTo>
                <a:cubicBezTo>
                  <a:pt x="668447" y="412767"/>
                  <a:pt x="644708" y="354156"/>
                  <a:pt x="603477" y="309263"/>
                </a:cubicBezTo>
                <a:close/>
                <a:moveTo>
                  <a:pt x="416062" y="226959"/>
                </a:moveTo>
                <a:cubicBezTo>
                  <a:pt x="277374" y="226959"/>
                  <a:pt x="164925" y="339192"/>
                  <a:pt x="164925" y="477613"/>
                </a:cubicBezTo>
                <a:cubicBezTo>
                  <a:pt x="164925" y="616033"/>
                  <a:pt x="277374" y="729513"/>
                  <a:pt x="416062" y="729513"/>
                </a:cubicBezTo>
                <a:cubicBezTo>
                  <a:pt x="533508" y="729513"/>
                  <a:pt x="630964" y="650950"/>
                  <a:pt x="660951" y="542458"/>
                </a:cubicBezTo>
                <a:lnTo>
                  <a:pt x="548502" y="518765"/>
                </a:lnTo>
                <a:cubicBezTo>
                  <a:pt x="531010" y="576128"/>
                  <a:pt x="478533" y="616033"/>
                  <a:pt x="416062" y="616033"/>
                </a:cubicBezTo>
                <a:cubicBezTo>
                  <a:pt x="341096" y="616033"/>
                  <a:pt x="277374" y="554929"/>
                  <a:pt x="277374" y="477613"/>
                </a:cubicBezTo>
                <a:cubicBezTo>
                  <a:pt x="277374" y="400297"/>
                  <a:pt x="341096" y="339192"/>
                  <a:pt x="416062" y="339192"/>
                </a:cubicBezTo>
                <a:cubicBezTo>
                  <a:pt x="438551" y="339192"/>
                  <a:pt x="461041" y="344180"/>
                  <a:pt x="479783" y="354156"/>
                </a:cubicBezTo>
                <a:cubicBezTo>
                  <a:pt x="489778" y="359145"/>
                  <a:pt x="498524" y="364133"/>
                  <a:pt x="506021" y="371615"/>
                </a:cubicBezTo>
                <a:lnTo>
                  <a:pt x="585985" y="291805"/>
                </a:lnTo>
                <a:cubicBezTo>
                  <a:pt x="541005" y="250653"/>
                  <a:pt x="482282" y="226959"/>
                  <a:pt x="416062" y="226959"/>
                </a:cubicBezTo>
                <a:close/>
                <a:moveTo>
                  <a:pt x="700933" y="211995"/>
                </a:moveTo>
                <a:lnTo>
                  <a:pt x="622218" y="291805"/>
                </a:lnTo>
                <a:cubicBezTo>
                  <a:pt x="667198" y="340439"/>
                  <a:pt x="694685" y="405285"/>
                  <a:pt x="694685" y="477613"/>
                </a:cubicBezTo>
                <a:cubicBezTo>
                  <a:pt x="694685" y="492577"/>
                  <a:pt x="693436" y="508789"/>
                  <a:pt x="690937" y="522506"/>
                </a:cubicBezTo>
                <a:lnTo>
                  <a:pt x="729670" y="531235"/>
                </a:lnTo>
                <a:cubicBezTo>
                  <a:pt x="739665" y="511283"/>
                  <a:pt x="762155" y="501306"/>
                  <a:pt x="783395" y="505047"/>
                </a:cubicBezTo>
                <a:lnTo>
                  <a:pt x="804636" y="508789"/>
                </a:lnTo>
                <a:cubicBezTo>
                  <a:pt x="807134" y="498812"/>
                  <a:pt x="807134" y="487589"/>
                  <a:pt x="807134" y="477613"/>
                </a:cubicBezTo>
                <a:cubicBezTo>
                  <a:pt x="807134" y="375356"/>
                  <a:pt x="767153" y="281829"/>
                  <a:pt x="700933" y="211995"/>
                </a:cubicBezTo>
                <a:close/>
                <a:moveTo>
                  <a:pt x="416062" y="88539"/>
                </a:moveTo>
                <a:cubicBezTo>
                  <a:pt x="202408" y="88539"/>
                  <a:pt x="27488" y="263123"/>
                  <a:pt x="27488" y="477613"/>
                </a:cubicBezTo>
                <a:cubicBezTo>
                  <a:pt x="27488" y="692102"/>
                  <a:pt x="202408" y="866686"/>
                  <a:pt x="416062" y="866686"/>
                </a:cubicBezTo>
                <a:cubicBezTo>
                  <a:pt x="583486" y="866686"/>
                  <a:pt x="729670" y="763183"/>
                  <a:pt x="784645" y="607304"/>
                </a:cubicBezTo>
                <a:lnTo>
                  <a:pt x="764654" y="602316"/>
                </a:lnTo>
                <a:cubicBezTo>
                  <a:pt x="742164" y="598575"/>
                  <a:pt x="725921" y="579869"/>
                  <a:pt x="724672" y="557423"/>
                </a:cubicBezTo>
                <a:cubicBezTo>
                  <a:pt x="724672" y="557423"/>
                  <a:pt x="724672" y="557423"/>
                  <a:pt x="724672" y="556176"/>
                </a:cubicBezTo>
                <a:lnTo>
                  <a:pt x="685939" y="548694"/>
                </a:lnTo>
                <a:cubicBezTo>
                  <a:pt x="654704" y="667161"/>
                  <a:pt x="546003" y="755701"/>
                  <a:pt x="416062" y="755701"/>
                </a:cubicBezTo>
                <a:cubicBezTo>
                  <a:pt x="263631" y="755701"/>
                  <a:pt x="138687" y="630998"/>
                  <a:pt x="138687" y="477613"/>
                </a:cubicBezTo>
                <a:cubicBezTo>
                  <a:pt x="138687" y="324228"/>
                  <a:pt x="263631" y="199525"/>
                  <a:pt x="416062" y="199525"/>
                </a:cubicBezTo>
                <a:cubicBezTo>
                  <a:pt x="488529" y="199525"/>
                  <a:pt x="554749" y="226959"/>
                  <a:pt x="603477" y="271852"/>
                </a:cubicBezTo>
                <a:lnTo>
                  <a:pt x="682191" y="193290"/>
                </a:lnTo>
                <a:cubicBezTo>
                  <a:pt x="613472" y="128444"/>
                  <a:pt x="519765" y="88539"/>
                  <a:pt x="416062" y="88539"/>
                </a:cubicBezTo>
                <a:close/>
                <a:moveTo>
                  <a:pt x="827125" y="38658"/>
                </a:moveTo>
                <a:lnTo>
                  <a:pt x="774649" y="91033"/>
                </a:lnTo>
                <a:cubicBezTo>
                  <a:pt x="767153" y="97268"/>
                  <a:pt x="764654" y="109738"/>
                  <a:pt x="770901" y="118468"/>
                </a:cubicBezTo>
                <a:lnTo>
                  <a:pt x="772150" y="119715"/>
                </a:lnTo>
                <a:cubicBezTo>
                  <a:pt x="772150" y="120962"/>
                  <a:pt x="772150" y="120962"/>
                  <a:pt x="773400" y="120962"/>
                </a:cubicBezTo>
                <a:lnTo>
                  <a:pt x="777148" y="125950"/>
                </a:lnTo>
                <a:lnTo>
                  <a:pt x="779647" y="127197"/>
                </a:lnTo>
                <a:cubicBezTo>
                  <a:pt x="788393" y="132185"/>
                  <a:pt x="800887" y="130938"/>
                  <a:pt x="808384" y="123456"/>
                </a:cubicBezTo>
                <a:lnTo>
                  <a:pt x="859611" y="71081"/>
                </a:lnTo>
                <a:lnTo>
                  <a:pt x="849615" y="71081"/>
                </a:lnTo>
                <a:cubicBezTo>
                  <a:pt x="837121" y="71081"/>
                  <a:pt x="827125" y="61104"/>
                  <a:pt x="827125" y="48634"/>
                </a:cubicBezTo>
                <a:close/>
                <a:moveTo>
                  <a:pt x="842119" y="1247"/>
                </a:moveTo>
                <a:cubicBezTo>
                  <a:pt x="848366" y="4988"/>
                  <a:pt x="853364" y="11223"/>
                  <a:pt x="853364" y="18705"/>
                </a:cubicBezTo>
                <a:lnTo>
                  <a:pt x="853364" y="44893"/>
                </a:lnTo>
                <a:lnTo>
                  <a:pt x="879602" y="44893"/>
                </a:lnTo>
                <a:cubicBezTo>
                  <a:pt x="887098" y="44893"/>
                  <a:pt x="893345" y="49881"/>
                  <a:pt x="895844" y="56116"/>
                </a:cubicBezTo>
                <a:cubicBezTo>
                  <a:pt x="899593" y="63598"/>
                  <a:pt x="898343" y="71081"/>
                  <a:pt x="893345" y="76069"/>
                </a:cubicBezTo>
                <a:lnTo>
                  <a:pt x="825876" y="142161"/>
                </a:lnTo>
                <a:cubicBezTo>
                  <a:pt x="815880" y="152138"/>
                  <a:pt x="804636" y="155879"/>
                  <a:pt x="790892" y="155879"/>
                </a:cubicBezTo>
                <a:cubicBezTo>
                  <a:pt x="782146" y="155879"/>
                  <a:pt x="774649" y="154632"/>
                  <a:pt x="767153" y="149643"/>
                </a:cubicBezTo>
                <a:cubicBezTo>
                  <a:pt x="765903" y="149643"/>
                  <a:pt x="764654" y="149643"/>
                  <a:pt x="764654" y="148396"/>
                </a:cubicBezTo>
                <a:lnTo>
                  <a:pt x="719674" y="193290"/>
                </a:lnTo>
                <a:cubicBezTo>
                  <a:pt x="789642" y="268111"/>
                  <a:pt x="832123" y="367874"/>
                  <a:pt x="832123" y="477613"/>
                </a:cubicBezTo>
                <a:cubicBezTo>
                  <a:pt x="832123" y="490083"/>
                  <a:pt x="832123" y="502553"/>
                  <a:pt x="830874" y="515024"/>
                </a:cubicBezTo>
                <a:lnTo>
                  <a:pt x="875853" y="523753"/>
                </a:lnTo>
                <a:cubicBezTo>
                  <a:pt x="883350" y="525000"/>
                  <a:pt x="888348" y="529988"/>
                  <a:pt x="889597" y="537470"/>
                </a:cubicBezTo>
                <a:cubicBezTo>
                  <a:pt x="890846" y="544952"/>
                  <a:pt x="888348" y="552435"/>
                  <a:pt x="882100" y="556176"/>
                </a:cubicBezTo>
                <a:lnTo>
                  <a:pt x="859611" y="571140"/>
                </a:lnTo>
                <a:lnTo>
                  <a:pt x="874604" y="593587"/>
                </a:lnTo>
                <a:cubicBezTo>
                  <a:pt x="879602" y="599822"/>
                  <a:pt x="879602" y="607304"/>
                  <a:pt x="874604" y="613539"/>
                </a:cubicBezTo>
                <a:cubicBezTo>
                  <a:pt x="872105" y="618527"/>
                  <a:pt x="865858" y="621021"/>
                  <a:pt x="859611" y="621021"/>
                </a:cubicBezTo>
                <a:cubicBezTo>
                  <a:pt x="858361" y="621021"/>
                  <a:pt x="857112" y="621021"/>
                  <a:pt x="855862" y="621021"/>
                </a:cubicBezTo>
                <a:lnTo>
                  <a:pt x="809633" y="611045"/>
                </a:lnTo>
                <a:cubicBezTo>
                  <a:pt x="753409" y="779394"/>
                  <a:pt x="595980" y="892874"/>
                  <a:pt x="416062" y="892874"/>
                </a:cubicBezTo>
                <a:cubicBezTo>
                  <a:pt x="187415" y="892874"/>
                  <a:pt x="0" y="707066"/>
                  <a:pt x="0" y="477613"/>
                </a:cubicBezTo>
                <a:cubicBezTo>
                  <a:pt x="0" y="248159"/>
                  <a:pt x="187415" y="62351"/>
                  <a:pt x="416062" y="62351"/>
                </a:cubicBezTo>
                <a:cubicBezTo>
                  <a:pt x="527261" y="62351"/>
                  <a:pt x="627216" y="104750"/>
                  <a:pt x="700933" y="175831"/>
                </a:cubicBezTo>
                <a:lnTo>
                  <a:pt x="747162" y="129691"/>
                </a:lnTo>
                <a:cubicBezTo>
                  <a:pt x="737166" y="110986"/>
                  <a:pt x="740914" y="87292"/>
                  <a:pt x="755908" y="71081"/>
                </a:cubicBezTo>
                <a:lnTo>
                  <a:pt x="822128" y="4988"/>
                </a:lnTo>
                <a:cubicBezTo>
                  <a:pt x="828375" y="0"/>
                  <a:pt x="835871" y="-1247"/>
                  <a:pt x="842119" y="124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40CECA-AAA7-6344-9FBE-CA70A067A0C2}"/>
              </a:ext>
            </a:extLst>
          </p:cNvPr>
          <p:cNvSpPr txBox="1"/>
          <p:nvPr/>
        </p:nvSpPr>
        <p:spPr>
          <a:xfrm>
            <a:off x="1730532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-Tre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65862F-4958-D34C-B31A-83CD6A860EB1}"/>
              </a:ext>
            </a:extLst>
          </p:cNvPr>
          <p:cNvSpPr txBox="1"/>
          <p:nvPr/>
        </p:nvSpPr>
        <p:spPr>
          <a:xfrm>
            <a:off x="1730532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default index Based on B-Tre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2577F-0290-C840-BE74-AEA97BB96A10}"/>
              </a:ext>
            </a:extLst>
          </p:cNvPr>
          <p:cNvSpPr txBox="1"/>
          <p:nvPr/>
        </p:nvSpPr>
        <p:spPr>
          <a:xfrm>
            <a:off x="3380159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61CCF-0EBE-7A46-A8CA-204B22535676}"/>
              </a:ext>
            </a:extLst>
          </p:cNvPr>
          <p:cNvSpPr txBox="1"/>
          <p:nvPr/>
        </p:nvSpPr>
        <p:spPr>
          <a:xfrm>
            <a:off x="3131127" y="4793363"/>
            <a:ext cx="238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rgbClr val="373737"/>
              </a:buClr>
              <a:buSzPts val="2000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    Generalized Search T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DC03-F230-9040-A309-E6EEBB47EF33}"/>
              </a:ext>
            </a:extLst>
          </p:cNvPr>
          <p:cNvSpPr txBox="1"/>
          <p:nvPr/>
        </p:nvSpPr>
        <p:spPr>
          <a:xfrm>
            <a:off x="5029786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Ha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E7F1A-841E-CD45-9AFE-B5B1A55901DF}"/>
              </a:ext>
            </a:extLst>
          </p:cNvPr>
          <p:cNvSpPr txBox="1"/>
          <p:nvPr/>
        </p:nvSpPr>
        <p:spPr>
          <a:xfrm>
            <a:off x="5029786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Index Method Based on Ha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6F5AC5-377A-F345-82C4-0ED5FBACC271}"/>
              </a:ext>
            </a:extLst>
          </p:cNvPr>
          <p:cNvSpPr txBox="1"/>
          <p:nvPr/>
        </p:nvSpPr>
        <p:spPr>
          <a:xfrm>
            <a:off x="6679413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F46A20-F6AF-0940-868E-635B7ACFB596}"/>
              </a:ext>
            </a:extLst>
          </p:cNvPr>
          <p:cNvSpPr txBox="1"/>
          <p:nvPr/>
        </p:nvSpPr>
        <p:spPr>
          <a:xfrm>
            <a:off x="6345751" y="4793363"/>
            <a:ext cx="2468367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Generalized Inverted Inde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8368D5-3539-D64B-B823-AFE3B6521AB3}"/>
              </a:ext>
            </a:extLst>
          </p:cNvPr>
          <p:cNvSpPr txBox="1"/>
          <p:nvPr/>
        </p:nvSpPr>
        <p:spPr>
          <a:xfrm>
            <a:off x="8326765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r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F59625-98F8-9C44-825A-28E69147BABD}"/>
              </a:ext>
            </a:extLst>
          </p:cNvPr>
          <p:cNvSpPr txBox="1"/>
          <p:nvPr/>
        </p:nvSpPr>
        <p:spPr>
          <a:xfrm>
            <a:off x="8326764" y="3065439"/>
            <a:ext cx="2134705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Block Range Index</a:t>
            </a:r>
          </a:p>
        </p:txBody>
      </p:sp>
      <p:grpSp>
        <p:nvGrpSpPr>
          <p:cNvPr id="26" name="Google Shape;7198;p70">
            <a:extLst>
              <a:ext uri="{FF2B5EF4-FFF2-40B4-BE49-F238E27FC236}">
                <a16:creationId xmlns:a16="http://schemas.microsoft.com/office/drawing/2014/main" id="{11C9F3FE-5A0E-8549-95DE-2B0F2C822EFA}"/>
              </a:ext>
            </a:extLst>
          </p:cNvPr>
          <p:cNvGrpSpPr/>
          <p:nvPr/>
        </p:nvGrpSpPr>
        <p:grpSpPr>
          <a:xfrm>
            <a:off x="2683172" y="2144948"/>
            <a:ext cx="281854" cy="359242"/>
            <a:chOff x="1323907" y="3359888"/>
            <a:chExt cx="281854" cy="359242"/>
          </a:xfrm>
        </p:grpSpPr>
        <p:sp>
          <p:nvSpPr>
            <p:cNvPr id="27" name="Google Shape;7199;p70">
              <a:extLst>
                <a:ext uri="{FF2B5EF4-FFF2-40B4-BE49-F238E27FC236}">
                  <a16:creationId xmlns:a16="http://schemas.microsoft.com/office/drawing/2014/main" id="{606951A2-CCCA-CA47-93F6-717111690A9C}"/>
                </a:ext>
              </a:extLst>
            </p:cNvPr>
            <p:cNvSpPr/>
            <p:nvPr/>
          </p:nvSpPr>
          <p:spPr>
            <a:xfrm>
              <a:off x="1352940" y="3424919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8" y="1"/>
                  </a:moveTo>
                  <a:cubicBezTo>
                    <a:pt x="203" y="1"/>
                    <a:pt x="1" y="178"/>
                    <a:pt x="1" y="404"/>
                  </a:cubicBezTo>
                  <a:lnTo>
                    <a:pt x="1" y="10637"/>
                  </a:lnTo>
                  <a:cubicBezTo>
                    <a:pt x="1" y="10858"/>
                    <a:pt x="203" y="11035"/>
                    <a:pt x="448" y="11035"/>
                  </a:cubicBezTo>
                  <a:lnTo>
                    <a:pt x="8989" y="11035"/>
                  </a:lnTo>
                  <a:cubicBezTo>
                    <a:pt x="9234" y="11035"/>
                    <a:pt x="9436" y="10858"/>
                    <a:pt x="9436" y="10637"/>
                  </a:cubicBezTo>
                  <a:lnTo>
                    <a:pt x="9436" y="404"/>
                  </a:lnTo>
                  <a:cubicBezTo>
                    <a:pt x="9436" y="178"/>
                    <a:pt x="9234" y="1"/>
                    <a:pt x="8989" y="1"/>
                  </a:cubicBezTo>
                  <a:close/>
                </a:path>
              </a:pathLst>
            </a:custGeom>
            <a:solidFill>
              <a:srgbClr val="F9FB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00;p70">
              <a:extLst>
                <a:ext uri="{FF2B5EF4-FFF2-40B4-BE49-F238E27FC236}">
                  <a16:creationId xmlns:a16="http://schemas.microsoft.com/office/drawing/2014/main" id="{76277034-A228-B747-AAF6-E942C23F73E3}"/>
                </a:ext>
              </a:extLst>
            </p:cNvPr>
            <p:cNvSpPr/>
            <p:nvPr/>
          </p:nvSpPr>
          <p:spPr>
            <a:xfrm>
              <a:off x="1329693" y="3395100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7" y="1"/>
                  </a:moveTo>
                  <a:cubicBezTo>
                    <a:pt x="197" y="1"/>
                    <a:pt x="0" y="179"/>
                    <a:pt x="0" y="405"/>
                  </a:cubicBezTo>
                  <a:lnTo>
                    <a:pt x="0" y="10637"/>
                  </a:lnTo>
                  <a:cubicBezTo>
                    <a:pt x="0" y="10858"/>
                    <a:pt x="202" y="11036"/>
                    <a:pt x="447" y="11036"/>
                  </a:cubicBezTo>
                  <a:lnTo>
                    <a:pt x="8988" y="11036"/>
                  </a:lnTo>
                  <a:cubicBezTo>
                    <a:pt x="9233" y="11036"/>
                    <a:pt x="9435" y="10858"/>
                    <a:pt x="9435" y="10637"/>
                  </a:cubicBezTo>
                  <a:lnTo>
                    <a:pt x="9435" y="405"/>
                  </a:lnTo>
                  <a:cubicBezTo>
                    <a:pt x="9435" y="179"/>
                    <a:pt x="9233" y="1"/>
                    <a:pt x="8988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01;p70">
              <a:extLst>
                <a:ext uri="{FF2B5EF4-FFF2-40B4-BE49-F238E27FC236}">
                  <a16:creationId xmlns:a16="http://schemas.microsoft.com/office/drawing/2014/main" id="{E23F884C-D651-A84C-9BF3-1EB25068F5EB}"/>
                </a:ext>
              </a:extLst>
            </p:cNvPr>
            <p:cNvSpPr/>
            <p:nvPr/>
          </p:nvSpPr>
          <p:spPr>
            <a:xfrm>
              <a:off x="1553296" y="3395100"/>
              <a:ext cx="23431" cy="288922"/>
            </a:xfrm>
            <a:custGeom>
              <a:avLst/>
              <a:gdLst/>
              <a:ahLst/>
              <a:cxnLst/>
              <a:rect l="l" t="t" r="r" b="b"/>
              <a:pathLst>
                <a:path w="895" h="11036" extrusionOk="0">
                  <a:moveTo>
                    <a:pt x="1" y="1"/>
                  </a:moveTo>
                  <a:lnTo>
                    <a:pt x="1" y="11036"/>
                  </a:lnTo>
                  <a:lnTo>
                    <a:pt x="447" y="11036"/>
                  </a:lnTo>
                  <a:cubicBezTo>
                    <a:pt x="692" y="11036"/>
                    <a:pt x="894" y="10858"/>
                    <a:pt x="894" y="10637"/>
                  </a:cubicBezTo>
                  <a:lnTo>
                    <a:pt x="894" y="405"/>
                  </a:lnTo>
                  <a:cubicBezTo>
                    <a:pt x="894" y="179"/>
                    <a:pt x="692" y="1"/>
                    <a:pt x="447" y="1"/>
                  </a:cubicBezTo>
                  <a:close/>
                </a:path>
              </a:pathLst>
            </a:custGeom>
            <a:solidFill>
              <a:srgbClr val="FCFC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02;p70">
              <a:extLst>
                <a:ext uri="{FF2B5EF4-FFF2-40B4-BE49-F238E27FC236}">
                  <a16:creationId xmlns:a16="http://schemas.microsoft.com/office/drawing/2014/main" id="{BAB9F183-3FC2-0741-AC39-B6686F501BE9}"/>
                </a:ext>
              </a:extLst>
            </p:cNvPr>
            <p:cNvSpPr/>
            <p:nvPr/>
          </p:nvSpPr>
          <p:spPr>
            <a:xfrm>
              <a:off x="1368910" y="3473954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E4EA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03;p70">
              <a:extLst>
                <a:ext uri="{FF2B5EF4-FFF2-40B4-BE49-F238E27FC236}">
                  <a16:creationId xmlns:a16="http://schemas.microsoft.com/office/drawing/2014/main" id="{0355A4F8-1C01-F843-963F-4EF628B2A40B}"/>
                </a:ext>
              </a:extLst>
            </p:cNvPr>
            <p:cNvSpPr/>
            <p:nvPr/>
          </p:nvSpPr>
          <p:spPr>
            <a:xfrm>
              <a:off x="1368910" y="3541996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07"/>
                  </a:cubicBezTo>
                  <a:lnTo>
                    <a:pt x="1" y="1500"/>
                  </a:lnTo>
                  <a:cubicBezTo>
                    <a:pt x="1" y="1562"/>
                    <a:pt x="54" y="1610"/>
                    <a:pt x="121" y="1610"/>
                  </a:cubicBezTo>
                  <a:lnTo>
                    <a:pt x="1663" y="1610"/>
                  </a:lnTo>
                  <a:cubicBezTo>
                    <a:pt x="1726" y="1610"/>
                    <a:pt x="1778" y="1562"/>
                    <a:pt x="1783" y="1500"/>
                  </a:cubicBezTo>
                  <a:lnTo>
                    <a:pt x="1783" y="107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7DD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04;p70">
              <a:extLst>
                <a:ext uri="{FF2B5EF4-FFF2-40B4-BE49-F238E27FC236}">
                  <a16:creationId xmlns:a16="http://schemas.microsoft.com/office/drawing/2014/main" id="{74EE5F45-F58D-FE41-A962-D97465A2C568}"/>
                </a:ext>
              </a:extLst>
            </p:cNvPr>
            <p:cNvSpPr/>
            <p:nvPr/>
          </p:nvSpPr>
          <p:spPr>
            <a:xfrm>
              <a:off x="1368910" y="3610038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9E1E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05;p70">
              <a:extLst>
                <a:ext uri="{FF2B5EF4-FFF2-40B4-BE49-F238E27FC236}">
                  <a16:creationId xmlns:a16="http://schemas.microsoft.com/office/drawing/2014/main" id="{C5524A55-FFB8-4F43-9A00-827F149801A6}"/>
                </a:ext>
              </a:extLst>
            </p:cNvPr>
            <p:cNvSpPr/>
            <p:nvPr/>
          </p:nvSpPr>
          <p:spPr>
            <a:xfrm>
              <a:off x="1357731" y="3386435"/>
              <a:ext cx="77755" cy="36390"/>
            </a:xfrm>
            <a:custGeom>
              <a:avLst/>
              <a:gdLst/>
              <a:ahLst/>
              <a:cxnLst/>
              <a:rect l="l" t="t" r="r" b="b"/>
              <a:pathLst>
                <a:path w="2970" h="1390" extrusionOk="0">
                  <a:moveTo>
                    <a:pt x="442" y="1"/>
                  </a:moveTo>
                  <a:cubicBezTo>
                    <a:pt x="197" y="1"/>
                    <a:pt x="0" y="178"/>
                    <a:pt x="0" y="394"/>
                  </a:cubicBezTo>
                  <a:lnTo>
                    <a:pt x="0" y="1211"/>
                  </a:lnTo>
                  <a:cubicBezTo>
                    <a:pt x="10" y="1314"/>
                    <a:pt x="91" y="1389"/>
                    <a:pt x="193" y="1389"/>
                  </a:cubicBezTo>
                  <a:cubicBezTo>
                    <a:pt x="196" y="1389"/>
                    <a:pt x="199" y="1389"/>
                    <a:pt x="202" y="1389"/>
                  </a:cubicBezTo>
                  <a:lnTo>
                    <a:pt x="2767" y="1389"/>
                  </a:lnTo>
                  <a:cubicBezTo>
                    <a:pt x="2770" y="1389"/>
                    <a:pt x="2773" y="1389"/>
                    <a:pt x="2776" y="1389"/>
                  </a:cubicBezTo>
                  <a:cubicBezTo>
                    <a:pt x="2878" y="1389"/>
                    <a:pt x="2965" y="1309"/>
                    <a:pt x="2969" y="1206"/>
                  </a:cubicBezTo>
                  <a:lnTo>
                    <a:pt x="2969" y="394"/>
                  </a:lnTo>
                  <a:cubicBezTo>
                    <a:pt x="2969" y="178"/>
                    <a:pt x="2767" y="1"/>
                    <a:pt x="2527" y="1"/>
                  </a:cubicBezTo>
                  <a:close/>
                </a:path>
              </a:pathLst>
            </a:custGeom>
            <a:solidFill>
              <a:srgbClr val="A2B0B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06;p70">
              <a:extLst>
                <a:ext uri="{FF2B5EF4-FFF2-40B4-BE49-F238E27FC236}">
                  <a16:creationId xmlns:a16="http://schemas.microsoft.com/office/drawing/2014/main" id="{0C6CDDEA-9899-ED48-B1C9-CEF3AE12E21A}"/>
                </a:ext>
              </a:extLst>
            </p:cNvPr>
            <p:cNvSpPr/>
            <p:nvPr/>
          </p:nvSpPr>
          <p:spPr>
            <a:xfrm>
              <a:off x="1400614" y="3386304"/>
              <a:ext cx="34872" cy="36390"/>
            </a:xfrm>
            <a:custGeom>
              <a:avLst/>
              <a:gdLst/>
              <a:ahLst/>
              <a:cxnLst/>
              <a:rect l="l" t="t" r="r" b="b"/>
              <a:pathLst>
                <a:path w="1332" h="1390" extrusionOk="0">
                  <a:moveTo>
                    <a:pt x="236" y="1389"/>
                  </a:moveTo>
                  <a:cubicBezTo>
                    <a:pt x="239" y="1389"/>
                    <a:pt x="242" y="1389"/>
                    <a:pt x="245" y="1389"/>
                  </a:cubicBezTo>
                  <a:cubicBezTo>
                    <a:pt x="248" y="1389"/>
                    <a:pt x="251" y="1389"/>
                    <a:pt x="254" y="1389"/>
                  </a:cubicBezTo>
                  <a:close/>
                  <a:moveTo>
                    <a:pt x="1" y="1"/>
                  </a:moveTo>
                  <a:cubicBezTo>
                    <a:pt x="241" y="1"/>
                    <a:pt x="443" y="183"/>
                    <a:pt x="443" y="399"/>
                  </a:cubicBezTo>
                  <a:lnTo>
                    <a:pt x="443" y="1211"/>
                  </a:lnTo>
                  <a:cubicBezTo>
                    <a:pt x="433" y="1307"/>
                    <a:pt x="352" y="1385"/>
                    <a:pt x="254" y="1389"/>
                  </a:cubicBezTo>
                  <a:lnTo>
                    <a:pt x="1129" y="1389"/>
                  </a:lnTo>
                  <a:cubicBezTo>
                    <a:pt x="1132" y="1389"/>
                    <a:pt x="1135" y="1389"/>
                    <a:pt x="1138" y="1389"/>
                  </a:cubicBezTo>
                  <a:cubicBezTo>
                    <a:pt x="1240" y="1389"/>
                    <a:pt x="1322" y="1309"/>
                    <a:pt x="1331" y="1211"/>
                  </a:cubicBezTo>
                  <a:lnTo>
                    <a:pt x="1331" y="395"/>
                  </a:lnTo>
                  <a:cubicBezTo>
                    <a:pt x="1331" y="178"/>
                    <a:pt x="1134" y="1"/>
                    <a:pt x="889" y="1"/>
                  </a:cubicBezTo>
                  <a:close/>
                </a:path>
              </a:pathLst>
            </a:custGeom>
            <a:solidFill>
              <a:srgbClr val="98A9B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07;p70">
              <a:extLst>
                <a:ext uri="{FF2B5EF4-FFF2-40B4-BE49-F238E27FC236}">
                  <a16:creationId xmlns:a16="http://schemas.microsoft.com/office/drawing/2014/main" id="{9AD7733E-94E5-404C-A63B-DF6594E26233}"/>
                </a:ext>
              </a:extLst>
            </p:cNvPr>
            <p:cNvSpPr/>
            <p:nvPr/>
          </p:nvSpPr>
          <p:spPr>
            <a:xfrm>
              <a:off x="1323907" y="3389917"/>
              <a:ext cx="281854" cy="329214"/>
            </a:xfrm>
            <a:custGeom>
              <a:avLst/>
              <a:gdLst/>
              <a:ahLst/>
              <a:cxnLst/>
              <a:rect l="l" t="t" r="r" b="b"/>
              <a:pathLst>
                <a:path w="10766" h="12575" extrusionOk="0">
                  <a:moveTo>
                    <a:pt x="8199" y="1"/>
                  </a:moveTo>
                  <a:cubicBezTo>
                    <a:pt x="7939" y="1"/>
                    <a:pt x="7940" y="406"/>
                    <a:pt x="8203" y="406"/>
                  </a:cubicBezTo>
                  <a:cubicBezTo>
                    <a:pt x="8210" y="406"/>
                    <a:pt x="8217" y="406"/>
                    <a:pt x="8225" y="406"/>
                  </a:cubicBezTo>
                  <a:lnTo>
                    <a:pt x="9209" y="406"/>
                  </a:lnTo>
                  <a:cubicBezTo>
                    <a:pt x="9215" y="405"/>
                    <a:pt x="9221" y="405"/>
                    <a:pt x="9226" y="405"/>
                  </a:cubicBezTo>
                  <a:cubicBezTo>
                    <a:pt x="9334" y="405"/>
                    <a:pt x="9426" y="493"/>
                    <a:pt x="9430" y="603"/>
                  </a:cubicBezTo>
                  <a:lnTo>
                    <a:pt x="9430" y="10840"/>
                  </a:lnTo>
                  <a:cubicBezTo>
                    <a:pt x="9426" y="10950"/>
                    <a:pt x="9334" y="11038"/>
                    <a:pt x="9226" y="11038"/>
                  </a:cubicBezTo>
                  <a:cubicBezTo>
                    <a:pt x="9221" y="11038"/>
                    <a:pt x="9215" y="11037"/>
                    <a:pt x="9209" y="11037"/>
                  </a:cubicBezTo>
                  <a:lnTo>
                    <a:pt x="668" y="11037"/>
                  </a:lnTo>
                  <a:cubicBezTo>
                    <a:pt x="662" y="11037"/>
                    <a:pt x="656" y="11038"/>
                    <a:pt x="651" y="11038"/>
                  </a:cubicBezTo>
                  <a:cubicBezTo>
                    <a:pt x="539" y="11038"/>
                    <a:pt x="451" y="10950"/>
                    <a:pt x="442" y="10840"/>
                  </a:cubicBezTo>
                  <a:lnTo>
                    <a:pt x="442" y="10018"/>
                  </a:lnTo>
                  <a:cubicBezTo>
                    <a:pt x="430" y="9884"/>
                    <a:pt x="326" y="9817"/>
                    <a:pt x="221" y="9817"/>
                  </a:cubicBezTo>
                  <a:cubicBezTo>
                    <a:pt x="117" y="9817"/>
                    <a:pt x="12" y="9884"/>
                    <a:pt x="0" y="10018"/>
                  </a:cubicBezTo>
                  <a:lnTo>
                    <a:pt x="0" y="10835"/>
                  </a:lnTo>
                  <a:cubicBezTo>
                    <a:pt x="0" y="11167"/>
                    <a:pt x="298" y="11436"/>
                    <a:pt x="668" y="11436"/>
                  </a:cubicBezTo>
                  <a:lnTo>
                    <a:pt x="889" y="11436"/>
                  </a:lnTo>
                  <a:lnTo>
                    <a:pt x="889" y="11974"/>
                  </a:lnTo>
                  <a:cubicBezTo>
                    <a:pt x="889" y="12305"/>
                    <a:pt x="1191" y="12574"/>
                    <a:pt x="1557" y="12574"/>
                  </a:cubicBezTo>
                  <a:lnTo>
                    <a:pt x="10098" y="12574"/>
                  </a:lnTo>
                  <a:cubicBezTo>
                    <a:pt x="10468" y="12574"/>
                    <a:pt x="10766" y="12300"/>
                    <a:pt x="10766" y="11974"/>
                  </a:cubicBezTo>
                  <a:lnTo>
                    <a:pt x="10766" y="11714"/>
                  </a:lnTo>
                  <a:cubicBezTo>
                    <a:pt x="10754" y="11580"/>
                    <a:pt x="10649" y="11512"/>
                    <a:pt x="10545" y="11512"/>
                  </a:cubicBezTo>
                  <a:cubicBezTo>
                    <a:pt x="10440" y="11512"/>
                    <a:pt x="10336" y="11580"/>
                    <a:pt x="10324" y="11714"/>
                  </a:cubicBezTo>
                  <a:lnTo>
                    <a:pt x="10324" y="11974"/>
                  </a:lnTo>
                  <a:cubicBezTo>
                    <a:pt x="10315" y="12086"/>
                    <a:pt x="10223" y="12176"/>
                    <a:pt x="10107" y="12176"/>
                  </a:cubicBezTo>
                  <a:cubicBezTo>
                    <a:pt x="10104" y="12176"/>
                    <a:pt x="10101" y="12176"/>
                    <a:pt x="10098" y="12175"/>
                  </a:cubicBezTo>
                  <a:lnTo>
                    <a:pt x="1557" y="12175"/>
                  </a:lnTo>
                  <a:cubicBezTo>
                    <a:pt x="1554" y="12176"/>
                    <a:pt x="1551" y="12176"/>
                    <a:pt x="1548" y="12176"/>
                  </a:cubicBezTo>
                  <a:cubicBezTo>
                    <a:pt x="1436" y="12176"/>
                    <a:pt x="1340" y="12086"/>
                    <a:pt x="1336" y="11974"/>
                  </a:cubicBezTo>
                  <a:lnTo>
                    <a:pt x="1336" y="11436"/>
                  </a:lnTo>
                  <a:lnTo>
                    <a:pt x="9209" y="11436"/>
                  </a:lnTo>
                  <a:cubicBezTo>
                    <a:pt x="9579" y="11436"/>
                    <a:pt x="9877" y="11167"/>
                    <a:pt x="9877" y="10835"/>
                  </a:cubicBezTo>
                  <a:lnTo>
                    <a:pt x="9877" y="1539"/>
                  </a:lnTo>
                  <a:lnTo>
                    <a:pt x="10098" y="1539"/>
                  </a:lnTo>
                  <a:cubicBezTo>
                    <a:pt x="10101" y="1539"/>
                    <a:pt x="10105" y="1539"/>
                    <a:pt x="10108" y="1539"/>
                  </a:cubicBezTo>
                  <a:cubicBezTo>
                    <a:pt x="10223" y="1539"/>
                    <a:pt x="10315" y="1624"/>
                    <a:pt x="10324" y="1741"/>
                  </a:cubicBezTo>
                  <a:lnTo>
                    <a:pt x="10324" y="10854"/>
                  </a:lnTo>
                  <a:cubicBezTo>
                    <a:pt x="10329" y="10967"/>
                    <a:pt x="10424" y="11051"/>
                    <a:pt x="10536" y="11051"/>
                  </a:cubicBezTo>
                  <a:cubicBezTo>
                    <a:pt x="10539" y="11051"/>
                    <a:pt x="10542" y="11051"/>
                    <a:pt x="10545" y="11051"/>
                  </a:cubicBezTo>
                  <a:cubicBezTo>
                    <a:pt x="10548" y="11051"/>
                    <a:pt x="10551" y="11051"/>
                    <a:pt x="10554" y="11051"/>
                  </a:cubicBezTo>
                  <a:cubicBezTo>
                    <a:pt x="10666" y="11051"/>
                    <a:pt x="10761" y="10966"/>
                    <a:pt x="10766" y="10850"/>
                  </a:cubicBezTo>
                  <a:lnTo>
                    <a:pt x="10766" y="1736"/>
                  </a:lnTo>
                  <a:cubicBezTo>
                    <a:pt x="10766" y="1405"/>
                    <a:pt x="10468" y="1136"/>
                    <a:pt x="10098" y="1136"/>
                  </a:cubicBezTo>
                  <a:lnTo>
                    <a:pt x="9877" y="1136"/>
                  </a:lnTo>
                  <a:lnTo>
                    <a:pt x="9877" y="603"/>
                  </a:lnTo>
                  <a:cubicBezTo>
                    <a:pt x="9877" y="271"/>
                    <a:pt x="9575" y="2"/>
                    <a:pt x="9209" y="2"/>
                  </a:cubicBezTo>
                  <a:lnTo>
                    <a:pt x="8225" y="2"/>
                  </a:lnTo>
                  <a:cubicBezTo>
                    <a:pt x="8216" y="1"/>
                    <a:pt x="8207" y="1"/>
                    <a:pt x="819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08;p70">
              <a:extLst>
                <a:ext uri="{FF2B5EF4-FFF2-40B4-BE49-F238E27FC236}">
                  <a16:creationId xmlns:a16="http://schemas.microsoft.com/office/drawing/2014/main" id="{1BFD7371-5269-AE45-A417-3751161A60C6}"/>
                </a:ext>
              </a:extLst>
            </p:cNvPr>
            <p:cNvSpPr/>
            <p:nvPr/>
          </p:nvSpPr>
          <p:spPr>
            <a:xfrm>
              <a:off x="1323907" y="3359888"/>
              <a:ext cx="196219" cy="274471"/>
            </a:xfrm>
            <a:custGeom>
              <a:avLst/>
              <a:gdLst/>
              <a:ahLst/>
              <a:cxnLst/>
              <a:rect l="l" t="t" r="r" b="b"/>
              <a:pathLst>
                <a:path w="7495" h="10484" extrusionOk="0">
                  <a:moveTo>
                    <a:pt x="3069" y="409"/>
                  </a:moveTo>
                  <a:cubicBezTo>
                    <a:pt x="3142" y="409"/>
                    <a:pt x="3205" y="470"/>
                    <a:pt x="3209" y="544"/>
                  </a:cubicBezTo>
                  <a:lnTo>
                    <a:pt x="3209" y="813"/>
                  </a:lnTo>
                  <a:lnTo>
                    <a:pt x="2344" y="813"/>
                  </a:lnTo>
                  <a:lnTo>
                    <a:pt x="2344" y="544"/>
                  </a:lnTo>
                  <a:lnTo>
                    <a:pt x="2349" y="544"/>
                  </a:lnTo>
                  <a:cubicBezTo>
                    <a:pt x="2354" y="470"/>
                    <a:pt x="2417" y="409"/>
                    <a:pt x="2490" y="409"/>
                  </a:cubicBezTo>
                  <a:cubicBezTo>
                    <a:pt x="2493" y="409"/>
                    <a:pt x="2495" y="409"/>
                    <a:pt x="2498" y="409"/>
                  </a:cubicBezTo>
                  <a:lnTo>
                    <a:pt x="3060" y="409"/>
                  </a:lnTo>
                  <a:cubicBezTo>
                    <a:pt x="3063" y="409"/>
                    <a:pt x="3066" y="409"/>
                    <a:pt x="3069" y="409"/>
                  </a:cubicBezTo>
                  <a:close/>
                  <a:moveTo>
                    <a:pt x="3833" y="1211"/>
                  </a:moveTo>
                  <a:cubicBezTo>
                    <a:pt x="3940" y="1211"/>
                    <a:pt x="4031" y="1296"/>
                    <a:pt x="4040" y="1408"/>
                  </a:cubicBezTo>
                  <a:lnTo>
                    <a:pt x="4040" y="2201"/>
                  </a:lnTo>
                  <a:lnTo>
                    <a:pt x="1518" y="2201"/>
                  </a:lnTo>
                  <a:lnTo>
                    <a:pt x="1518" y="1408"/>
                  </a:lnTo>
                  <a:cubicBezTo>
                    <a:pt x="1523" y="1296"/>
                    <a:pt x="1614" y="1211"/>
                    <a:pt x="1725" y="1211"/>
                  </a:cubicBezTo>
                  <a:cubicBezTo>
                    <a:pt x="1728" y="1211"/>
                    <a:pt x="1731" y="1211"/>
                    <a:pt x="1734" y="1211"/>
                  </a:cubicBezTo>
                  <a:lnTo>
                    <a:pt x="3824" y="1211"/>
                  </a:lnTo>
                  <a:cubicBezTo>
                    <a:pt x="3827" y="1211"/>
                    <a:pt x="3830" y="1211"/>
                    <a:pt x="3833" y="1211"/>
                  </a:cubicBezTo>
                  <a:close/>
                  <a:moveTo>
                    <a:pt x="2498" y="1"/>
                  </a:moveTo>
                  <a:cubicBezTo>
                    <a:pt x="2167" y="1"/>
                    <a:pt x="1902" y="241"/>
                    <a:pt x="1902" y="539"/>
                  </a:cubicBezTo>
                  <a:lnTo>
                    <a:pt x="1902" y="808"/>
                  </a:lnTo>
                  <a:lnTo>
                    <a:pt x="1734" y="808"/>
                  </a:lnTo>
                  <a:cubicBezTo>
                    <a:pt x="1730" y="808"/>
                    <a:pt x="1725" y="808"/>
                    <a:pt x="1721" y="808"/>
                  </a:cubicBezTo>
                  <a:cubicBezTo>
                    <a:pt x="1481" y="808"/>
                    <a:pt x="1261" y="932"/>
                    <a:pt x="1139" y="1144"/>
                  </a:cubicBezTo>
                  <a:lnTo>
                    <a:pt x="668" y="1144"/>
                  </a:lnTo>
                  <a:cubicBezTo>
                    <a:pt x="298" y="1144"/>
                    <a:pt x="0" y="1413"/>
                    <a:pt x="0" y="1745"/>
                  </a:cubicBezTo>
                  <a:lnTo>
                    <a:pt x="0" y="10281"/>
                  </a:lnTo>
                  <a:cubicBezTo>
                    <a:pt x="5" y="10398"/>
                    <a:pt x="100" y="10483"/>
                    <a:pt x="212" y="10483"/>
                  </a:cubicBezTo>
                  <a:cubicBezTo>
                    <a:pt x="215" y="10483"/>
                    <a:pt x="218" y="10483"/>
                    <a:pt x="221" y="10483"/>
                  </a:cubicBezTo>
                  <a:lnTo>
                    <a:pt x="226" y="10483"/>
                  </a:lnTo>
                  <a:cubicBezTo>
                    <a:pt x="229" y="10483"/>
                    <a:pt x="232" y="10483"/>
                    <a:pt x="235" y="10483"/>
                  </a:cubicBezTo>
                  <a:cubicBezTo>
                    <a:pt x="346" y="10483"/>
                    <a:pt x="442" y="10398"/>
                    <a:pt x="447" y="10281"/>
                  </a:cubicBezTo>
                  <a:lnTo>
                    <a:pt x="447" y="1750"/>
                  </a:lnTo>
                  <a:cubicBezTo>
                    <a:pt x="451" y="1635"/>
                    <a:pt x="543" y="1547"/>
                    <a:pt x="651" y="1547"/>
                  </a:cubicBezTo>
                  <a:cubicBezTo>
                    <a:pt x="657" y="1547"/>
                    <a:pt x="662" y="1547"/>
                    <a:pt x="668" y="1548"/>
                  </a:cubicBezTo>
                  <a:lnTo>
                    <a:pt x="1071" y="1548"/>
                  </a:lnTo>
                  <a:lnTo>
                    <a:pt x="1071" y="2220"/>
                  </a:lnTo>
                  <a:cubicBezTo>
                    <a:pt x="1071" y="2432"/>
                    <a:pt x="1264" y="2600"/>
                    <a:pt x="1499" y="2600"/>
                  </a:cubicBezTo>
                  <a:lnTo>
                    <a:pt x="4059" y="2600"/>
                  </a:lnTo>
                  <a:cubicBezTo>
                    <a:pt x="4295" y="2600"/>
                    <a:pt x="4487" y="2432"/>
                    <a:pt x="4487" y="2220"/>
                  </a:cubicBezTo>
                  <a:lnTo>
                    <a:pt x="4487" y="1543"/>
                  </a:lnTo>
                  <a:lnTo>
                    <a:pt x="7273" y="1543"/>
                  </a:lnTo>
                  <a:cubicBezTo>
                    <a:pt x="7279" y="1543"/>
                    <a:pt x="7285" y="1544"/>
                    <a:pt x="7291" y="1544"/>
                  </a:cubicBezTo>
                  <a:cubicBezTo>
                    <a:pt x="7403" y="1544"/>
                    <a:pt x="7494" y="1455"/>
                    <a:pt x="7494" y="1341"/>
                  </a:cubicBezTo>
                  <a:cubicBezTo>
                    <a:pt x="7494" y="1234"/>
                    <a:pt x="7407" y="1143"/>
                    <a:pt x="7297" y="1143"/>
                  </a:cubicBezTo>
                  <a:cubicBezTo>
                    <a:pt x="7289" y="1143"/>
                    <a:pt x="7281" y="1143"/>
                    <a:pt x="7273" y="1144"/>
                  </a:cubicBezTo>
                  <a:lnTo>
                    <a:pt x="4415" y="1144"/>
                  </a:lnTo>
                  <a:cubicBezTo>
                    <a:pt x="4292" y="932"/>
                    <a:pt x="4073" y="808"/>
                    <a:pt x="3833" y="808"/>
                  </a:cubicBezTo>
                  <a:cubicBezTo>
                    <a:pt x="3828" y="808"/>
                    <a:pt x="3824" y="808"/>
                    <a:pt x="3819" y="808"/>
                  </a:cubicBezTo>
                  <a:lnTo>
                    <a:pt x="3651" y="808"/>
                  </a:lnTo>
                  <a:lnTo>
                    <a:pt x="3651" y="539"/>
                  </a:lnTo>
                  <a:cubicBezTo>
                    <a:pt x="3651" y="246"/>
                    <a:pt x="3387" y="1"/>
                    <a:pt x="305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09;p70">
              <a:extLst>
                <a:ext uri="{FF2B5EF4-FFF2-40B4-BE49-F238E27FC236}">
                  <a16:creationId xmlns:a16="http://schemas.microsoft.com/office/drawing/2014/main" id="{76971AB2-3F46-F645-A692-9448B139166B}"/>
                </a:ext>
              </a:extLst>
            </p:cNvPr>
            <p:cNvSpPr/>
            <p:nvPr/>
          </p:nvSpPr>
          <p:spPr>
            <a:xfrm>
              <a:off x="1436690" y="3477070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2"/>
                    <a:pt x="3866" y="2"/>
                  </a:cubicBezTo>
                  <a:cubicBezTo>
                    <a:pt x="3861" y="2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10;p70">
              <a:extLst>
                <a:ext uri="{FF2B5EF4-FFF2-40B4-BE49-F238E27FC236}">
                  <a16:creationId xmlns:a16="http://schemas.microsoft.com/office/drawing/2014/main" id="{9B76537D-FA33-6946-A982-FE04E5435210}"/>
                </a:ext>
              </a:extLst>
            </p:cNvPr>
            <p:cNvSpPr/>
            <p:nvPr/>
          </p:nvSpPr>
          <p:spPr>
            <a:xfrm>
              <a:off x="1436690" y="3499585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204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11;p70">
              <a:extLst>
                <a:ext uri="{FF2B5EF4-FFF2-40B4-BE49-F238E27FC236}">
                  <a16:creationId xmlns:a16="http://schemas.microsoft.com/office/drawing/2014/main" id="{EA002D04-EF20-E440-97B7-AA3771671C5A}"/>
                </a:ext>
              </a:extLst>
            </p:cNvPr>
            <p:cNvSpPr/>
            <p:nvPr/>
          </p:nvSpPr>
          <p:spPr>
            <a:xfrm>
              <a:off x="1436690" y="3545112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1"/>
                    <a:pt x="3866" y="1"/>
                  </a:cubicBezTo>
                  <a:cubicBezTo>
                    <a:pt x="3861" y="1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12;p70">
              <a:extLst>
                <a:ext uri="{FF2B5EF4-FFF2-40B4-BE49-F238E27FC236}">
                  <a16:creationId xmlns:a16="http://schemas.microsoft.com/office/drawing/2014/main" id="{404869E6-4317-8D4D-ABF9-7FBCA4AF9CDB}"/>
                </a:ext>
              </a:extLst>
            </p:cNvPr>
            <p:cNvSpPr/>
            <p:nvPr/>
          </p:nvSpPr>
          <p:spPr>
            <a:xfrm>
              <a:off x="1436690" y="3567626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199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13;p70">
              <a:extLst>
                <a:ext uri="{FF2B5EF4-FFF2-40B4-BE49-F238E27FC236}">
                  <a16:creationId xmlns:a16="http://schemas.microsoft.com/office/drawing/2014/main" id="{F810C7C8-5FBC-E347-AF77-F6241D7472B4}"/>
                </a:ext>
              </a:extLst>
            </p:cNvPr>
            <p:cNvSpPr/>
            <p:nvPr/>
          </p:nvSpPr>
          <p:spPr>
            <a:xfrm>
              <a:off x="1436664" y="3613153"/>
              <a:ext cx="106605" cy="10655"/>
            </a:xfrm>
            <a:custGeom>
              <a:avLst/>
              <a:gdLst/>
              <a:ahLst/>
              <a:cxnLst/>
              <a:rect l="l" t="t" r="r" b="b"/>
              <a:pathLst>
                <a:path w="4072" h="407" extrusionOk="0">
                  <a:moveTo>
                    <a:pt x="264" y="1"/>
                  </a:moveTo>
                  <a:cubicBezTo>
                    <a:pt x="0" y="1"/>
                    <a:pt x="2" y="407"/>
                    <a:pt x="268" y="407"/>
                  </a:cubicBezTo>
                  <a:cubicBezTo>
                    <a:pt x="275" y="407"/>
                    <a:pt x="283" y="406"/>
                    <a:pt x="291" y="406"/>
                  </a:cubicBezTo>
                  <a:lnTo>
                    <a:pt x="3850" y="406"/>
                  </a:lnTo>
                  <a:cubicBezTo>
                    <a:pt x="3856" y="406"/>
                    <a:pt x="3862" y="406"/>
                    <a:pt x="3867" y="406"/>
                  </a:cubicBezTo>
                  <a:cubicBezTo>
                    <a:pt x="3976" y="406"/>
                    <a:pt x="4071" y="318"/>
                    <a:pt x="4071" y="204"/>
                  </a:cubicBezTo>
                  <a:cubicBezTo>
                    <a:pt x="4071" y="90"/>
                    <a:pt x="3976" y="1"/>
                    <a:pt x="3867" y="1"/>
                  </a:cubicBezTo>
                  <a:cubicBezTo>
                    <a:pt x="3862" y="1"/>
                    <a:pt x="3856" y="2"/>
                    <a:pt x="3850" y="2"/>
                  </a:cubicBezTo>
                  <a:lnTo>
                    <a:pt x="291" y="2"/>
                  </a:lnTo>
                  <a:cubicBezTo>
                    <a:pt x="281" y="1"/>
                    <a:pt x="273" y="1"/>
                    <a:pt x="26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14;p70">
              <a:extLst>
                <a:ext uri="{FF2B5EF4-FFF2-40B4-BE49-F238E27FC236}">
                  <a16:creationId xmlns:a16="http://schemas.microsoft.com/office/drawing/2014/main" id="{FCC43EAC-B500-DA42-84BF-B3181EA260DE}"/>
                </a:ext>
              </a:extLst>
            </p:cNvPr>
            <p:cNvSpPr/>
            <p:nvPr/>
          </p:nvSpPr>
          <p:spPr>
            <a:xfrm>
              <a:off x="1436690" y="3635668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5" y="401"/>
                    <a:pt x="3861" y="402"/>
                    <a:pt x="3866" y="402"/>
                  </a:cubicBezTo>
                  <a:cubicBezTo>
                    <a:pt x="3975" y="402"/>
                    <a:pt x="4070" y="313"/>
                    <a:pt x="4070" y="199"/>
                  </a:cubicBezTo>
                  <a:cubicBezTo>
                    <a:pt x="4070" y="91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15;p70">
              <a:extLst>
                <a:ext uri="{FF2B5EF4-FFF2-40B4-BE49-F238E27FC236}">
                  <a16:creationId xmlns:a16="http://schemas.microsoft.com/office/drawing/2014/main" id="{67F225C8-7DD5-FF4A-B8BE-685990452B9F}"/>
                </a:ext>
              </a:extLst>
            </p:cNvPr>
            <p:cNvSpPr/>
            <p:nvPr/>
          </p:nvSpPr>
          <p:spPr>
            <a:xfrm>
              <a:off x="1363124" y="3467671"/>
              <a:ext cx="72859" cy="53748"/>
            </a:xfrm>
            <a:custGeom>
              <a:avLst/>
              <a:gdLst/>
              <a:ahLst/>
              <a:cxnLst/>
              <a:rect l="l" t="t" r="r" b="b"/>
              <a:pathLst>
                <a:path w="2783" h="2053" extrusionOk="0">
                  <a:moveTo>
                    <a:pt x="1778" y="443"/>
                  </a:moveTo>
                  <a:lnTo>
                    <a:pt x="1778" y="520"/>
                  </a:lnTo>
                  <a:lnTo>
                    <a:pt x="1336" y="861"/>
                  </a:lnTo>
                  <a:lnTo>
                    <a:pt x="1125" y="654"/>
                  </a:lnTo>
                  <a:cubicBezTo>
                    <a:pt x="1080" y="612"/>
                    <a:pt x="1022" y="590"/>
                    <a:pt x="963" y="590"/>
                  </a:cubicBezTo>
                  <a:cubicBezTo>
                    <a:pt x="910" y="590"/>
                    <a:pt x="856" y="608"/>
                    <a:pt x="813" y="645"/>
                  </a:cubicBezTo>
                  <a:cubicBezTo>
                    <a:pt x="722" y="717"/>
                    <a:pt x="717" y="851"/>
                    <a:pt x="798" y="928"/>
                  </a:cubicBezTo>
                  <a:lnTo>
                    <a:pt x="1154" y="1274"/>
                  </a:lnTo>
                  <a:cubicBezTo>
                    <a:pt x="1197" y="1317"/>
                    <a:pt x="1260" y="1341"/>
                    <a:pt x="1317" y="1341"/>
                  </a:cubicBezTo>
                  <a:cubicBezTo>
                    <a:pt x="1370" y="1341"/>
                    <a:pt x="1423" y="1327"/>
                    <a:pt x="1461" y="1293"/>
                  </a:cubicBezTo>
                  <a:lnTo>
                    <a:pt x="1778" y="1053"/>
                  </a:lnTo>
                  <a:lnTo>
                    <a:pt x="1778" y="1649"/>
                  </a:lnTo>
                  <a:lnTo>
                    <a:pt x="443" y="1649"/>
                  </a:lnTo>
                  <a:lnTo>
                    <a:pt x="443" y="443"/>
                  </a:lnTo>
                  <a:close/>
                  <a:moveTo>
                    <a:pt x="2534" y="1"/>
                  </a:moveTo>
                  <a:cubicBezTo>
                    <a:pt x="2484" y="1"/>
                    <a:pt x="2434" y="17"/>
                    <a:pt x="2393" y="49"/>
                  </a:cubicBezTo>
                  <a:lnTo>
                    <a:pt x="2187" y="207"/>
                  </a:lnTo>
                  <a:cubicBezTo>
                    <a:pt x="2120" y="102"/>
                    <a:pt x="2009" y="39"/>
                    <a:pt x="1884" y="39"/>
                  </a:cubicBezTo>
                  <a:lnTo>
                    <a:pt x="342" y="39"/>
                  </a:lnTo>
                  <a:cubicBezTo>
                    <a:pt x="339" y="39"/>
                    <a:pt x="336" y="39"/>
                    <a:pt x="333" y="39"/>
                  </a:cubicBezTo>
                  <a:cubicBezTo>
                    <a:pt x="154" y="39"/>
                    <a:pt x="10" y="172"/>
                    <a:pt x="1" y="352"/>
                  </a:cubicBezTo>
                  <a:lnTo>
                    <a:pt x="1" y="1745"/>
                  </a:lnTo>
                  <a:cubicBezTo>
                    <a:pt x="10" y="1919"/>
                    <a:pt x="154" y="2052"/>
                    <a:pt x="333" y="2052"/>
                  </a:cubicBezTo>
                  <a:cubicBezTo>
                    <a:pt x="336" y="2052"/>
                    <a:pt x="339" y="2052"/>
                    <a:pt x="342" y="2052"/>
                  </a:cubicBezTo>
                  <a:lnTo>
                    <a:pt x="1884" y="2052"/>
                  </a:lnTo>
                  <a:cubicBezTo>
                    <a:pt x="1887" y="2052"/>
                    <a:pt x="1890" y="2052"/>
                    <a:pt x="1893" y="2052"/>
                  </a:cubicBezTo>
                  <a:cubicBezTo>
                    <a:pt x="2067" y="2052"/>
                    <a:pt x="2216" y="1919"/>
                    <a:pt x="2225" y="1745"/>
                  </a:cubicBezTo>
                  <a:lnTo>
                    <a:pt x="2225" y="707"/>
                  </a:lnTo>
                  <a:lnTo>
                    <a:pt x="2682" y="356"/>
                  </a:lnTo>
                  <a:cubicBezTo>
                    <a:pt x="2773" y="289"/>
                    <a:pt x="2782" y="155"/>
                    <a:pt x="2706" y="73"/>
                  </a:cubicBezTo>
                  <a:cubicBezTo>
                    <a:pt x="2658" y="25"/>
                    <a:pt x="2595" y="1"/>
                    <a:pt x="253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216;p70">
              <a:extLst>
                <a:ext uri="{FF2B5EF4-FFF2-40B4-BE49-F238E27FC236}">
                  <a16:creationId xmlns:a16="http://schemas.microsoft.com/office/drawing/2014/main" id="{FAC66D6E-6585-EC43-B597-AA3120DFDB77}"/>
                </a:ext>
              </a:extLst>
            </p:cNvPr>
            <p:cNvSpPr/>
            <p:nvPr/>
          </p:nvSpPr>
          <p:spPr>
            <a:xfrm>
              <a:off x="1363124" y="3536184"/>
              <a:ext cx="72859" cy="53145"/>
            </a:xfrm>
            <a:custGeom>
              <a:avLst/>
              <a:gdLst/>
              <a:ahLst/>
              <a:cxnLst/>
              <a:rect l="l" t="t" r="r" b="b"/>
              <a:pathLst>
                <a:path w="2783" h="2030" extrusionOk="0">
                  <a:moveTo>
                    <a:pt x="1778" y="425"/>
                  </a:moveTo>
                  <a:lnTo>
                    <a:pt x="1778" y="521"/>
                  </a:lnTo>
                  <a:lnTo>
                    <a:pt x="1336" y="862"/>
                  </a:lnTo>
                  <a:lnTo>
                    <a:pt x="1125" y="655"/>
                  </a:lnTo>
                  <a:cubicBezTo>
                    <a:pt x="1080" y="613"/>
                    <a:pt x="1022" y="591"/>
                    <a:pt x="963" y="591"/>
                  </a:cubicBezTo>
                  <a:cubicBezTo>
                    <a:pt x="910" y="591"/>
                    <a:pt x="856" y="609"/>
                    <a:pt x="813" y="646"/>
                  </a:cubicBezTo>
                  <a:cubicBezTo>
                    <a:pt x="722" y="713"/>
                    <a:pt x="717" y="852"/>
                    <a:pt x="798" y="929"/>
                  </a:cubicBezTo>
                  <a:lnTo>
                    <a:pt x="1154" y="1275"/>
                  </a:lnTo>
                  <a:cubicBezTo>
                    <a:pt x="1197" y="1318"/>
                    <a:pt x="1260" y="1342"/>
                    <a:pt x="1317" y="1342"/>
                  </a:cubicBezTo>
                  <a:cubicBezTo>
                    <a:pt x="1370" y="1342"/>
                    <a:pt x="1423" y="1323"/>
                    <a:pt x="1461" y="1294"/>
                  </a:cubicBezTo>
                  <a:lnTo>
                    <a:pt x="1778" y="1054"/>
                  </a:lnTo>
                  <a:lnTo>
                    <a:pt x="1778" y="1631"/>
                  </a:lnTo>
                  <a:lnTo>
                    <a:pt x="443" y="1631"/>
                  </a:lnTo>
                  <a:lnTo>
                    <a:pt x="443" y="425"/>
                  </a:lnTo>
                  <a:close/>
                  <a:moveTo>
                    <a:pt x="2531" y="0"/>
                  </a:moveTo>
                  <a:cubicBezTo>
                    <a:pt x="2481" y="0"/>
                    <a:pt x="2431" y="16"/>
                    <a:pt x="2389" y="50"/>
                  </a:cubicBezTo>
                  <a:lnTo>
                    <a:pt x="2192" y="199"/>
                  </a:lnTo>
                  <a:cubicBezTo>
                    <a:pt x="2131" y="92"/>
                    <a:pt x="2017" y="21"/>
                    <a:pt x="1892" y="21"/>
                  </a:cubicBezTo>
                  <a:cubicBezTo>
                    <a:pt x="1887" y="21"/>
                    <a:pt x="1883" y="21"/>
                    <a:pt x="1879" y="21"/>
                  </a:cubicBezTo>
                  <a:lnTo>
                    <a:pt x="342" y="21"/>
                  </a:lnTo>
                  <a:cubicBezTo>
                    <a:pt x="336" y="21"/>
                    <a:pt x="330" y="21"/>
                    <a:pt x="324" y="21"/>
                  </a:cubicBezTo>
                  <a:cubicBezTo>
                    <a:pt x="150" y="21"/>
                    <a:pt x="10" y="157"/>
                    <a:pt x="1" y="329"/>
                  </a:cubicBezTo>
                  <a:lnTo>
                    <a:pt x="1" y="1722"/>
                  </a:lnTo>
                  <a:cubicBezTo>
                    <a:pt x="10" y="1894"/>
                    <a:pt x="150" y="2030"/>
                    <a:pt x="324" y="2030"/>
                  </a:cubicBezTo>
                  <a:cubicBezTo>
                    <a:pt x="330" y="2030"/>
                    <a:pt x="336" y="2030"/>
                    <a:pt x="342" y="2029"/>
                  </a:cubicBezTo>
                  <a:lnTo>
                    <a:pt x="1884" y="2029"/>
                  </a:lnTo>
                  <a:cubicBezTo>
                    <a:pt x="1890" y="2030"/>
                    <a:pt x="1896" y="2030"/>
                    <a:pt x="1901" y="2030"/>
                  </a:cubicBezTo>
                  <a:cubicBezTo>
                    <a:pt x="2072" y="2030"/>
                    <a:pt x="2216" y="1894"/>
                    <a:pt x="2225" y="1722"/>
                  </a:cubicBezTo>
                  <a:lnTo>
                    <a:pt x="2225" y="708"/>
                  </a:lnTo>
                  <a:lnTo>
                    <a:pt x="2682" y="358"/>
                  </a:lnTo>
                  <a:cubicBezTo>
                    <a:pt x="2773" y="290"/>
                    <a:pt x="2782" y="156"/>
                    <a:pt x="2706" y="74"/>
                  </a:cubicBezTo>
                  <a:cubicBezTo>
                    <a:pt x="2657" y="26"/>
                    <a:pt x="2594" y="0"/>
                    <a:pt x="2531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17;p70">
              <a:extLst>
                <a:ext uri="{FF2B5EF4-FFF2-40B4-BE49-F238E27FC236}">
                  <a16:creationId xmlns:a16="http://schemas.microsoft.com/office/drawing/2014/main" id="{970A049C-B414-2E45-A31B-1F8BA848E542}"/>
                </a:ext>
              </a:extLst>
            </p:cNvPr>
            <p:cNvSpPr/>
            <p:nvPr/>
          </p:nvSpPr>
          <p:spPr>
            <a:xfrm>
              <a:off x="1363124" y="3604750"/>
              <a:ext cx="72859" cy="52753"/>
            </a:xfrm>
            <a:custGeom>
              <a:avLst/>
              <a:gdLst/>
              <a:ahLst/>
              <a:cxnLst/>
              <a:rect l="l" t="t" r="r" b="b"/>
              <a:pathLst>
                <a:path w="2783" h="2015" extrusionOk="0">
                  <a:moveTo>
                    <a:pt x="1778" y="405"/>
                  </a:moveTo>
                  <a:lnTo>
                    <a:pt x="1778" y="554"/>
                  </a:lnTo>
                  <a:lnTo>
                    <a:pt x="1336" y="890"/>
                  </a:lnTo>
                  <a:lnTo>
                    <a:pt x="1125" y="688"/>
                  </a:lnTo>
                  <a:cubicBezTo>
                    <a:pt x="1079" y="645"/>
                    <a:pt x="1020" y="623"/>
                    <a:pt x="960" y="623"/>
                  </a:cubicBezTo>
                  <a:cubicBezTo>
                    <a:pt x="908" y="623"/>
                    <a:pt x="856" y="640"/>
                    <a:pt x="813" y="674"/>
                  </a:cubicBezTo>
                  <a:cubicBezTo>
                    <a:pt x="722" y="746"/>
                    <a:pt x="717" y="880"/>
                    <a:pt x="798" y="957"/>
                  </a:cubicBezTo>
                  <a:lnTo>
                    <a:pt x="1154" y="1308"/>
                  </a:lnTo>
                  <a:cubicBezTo>
                    <a:pt x="1197" y="1351"/>
                    <a:pt x="1260" y="1370"/>
                    <a:pt x="1317" y="1370"/>
                  </a:cubicBezTo>
                  <a:cubicBezTo>
                    <a:pt x="1370" y="1370"/>
                    <a:pt x="1423" y="1356"/>
                    <a:pt x="1461" y="1322"/>
                  </a:cubicBezTo>
                  <a:lnTo>
                    <a:pt x="1778" y="1082"/>
                  </a:lnTo>
                  <a:lnTo>
                    <a:pt x="1778" y="1611"/>
                  </a:lnTo>
                  <a:lnTo>
                    <a:pt x="443" y="1611"/>
                  </a:lnTo>
                  <a:lnTo>
                    <a:pt x="443" y="405"/>
                  </a:lnTo>
                  <a:close/>
                  <a:moveTo>
                    <a:pt x="324" y="1"/>
                  </a:moveTo>
                  <a:cubicBezTo>
                    <a:pt x="150" y="1"/>
                    <a:pt x="10" y="137"/>
                    <a:pt x="1" y="309"/>
                  </a:cubicBezTo>
                  <a:lnTo>
                    <a:pt x="1" y="1702"/>
                  </a:lnTo>
                  <a:cubicBezTo>
                    <a:pt x="10" y="1881"/>
                    <a:pt x="154" y="2014"/>
                    <a:pt x="333" y="2014"/>
                  </a:cubicBezTo>
                  <a:cubicBezTo>
                    <a:pt x="336" y="2014"/>
                    <a:pt x="339" y="2014"/>
                    <a:pt x="342" y="2014"/>
                  </a:cubicBezTo>
                  <a:lnTo>
                    <a:pt x="1884" y="2014"/>
                  </a:lnTo>
                  <a:cubicBezTo>
                    <a:pt x="1887" y="2014"/>
                    <a:pt x="1890" y="2014"/>
                    <a:pt x="1893" y="2014"/>
                  </a:cubicBezTo>
                  <a:cubicBezTo>
                    <a:pt x="2067" y="2014"/>
                    <a:pt x="2216" y="1881"/>
                    <a:pt x="2225" y="1702"/>
                  </a:cubicBezTo>
                  <a:lnTo>
                    <a:pt x="2225" y="732"/>
                  </a:lnTo>
                  <a:lnTo>
                    <a:pt x="2682" y="381"/>
                  </a:lnTo>
                  <a:cubicBezTo>
                    <a:pt x="2773" y="314"/>
                    <a:pt x="2782" y="179"/>
                    <a:pt x="2706" y="97"/>
                  </a:cubicBezTo>
                  <a:cubicBezTo>
                    <a:pt x="2658" y="50"/>
                    <a:pt x="2595" y="25"/>
                    <a:pt x="2533" y="25"/>
                  </a:cubicBezTo>
                  <a:cubicBezTo>
                    <a:pt x="2482" y="25"/>
                    <a:pt x="2432" y="41"/>
                    <a:pt x="2389" y="73"/>
                  </a:cubicBezTo>
                  <a:lnTo>
                    <a:pt x="2389" y="78"/>
                  </a:lnTo>
                  <a:lnTo>
                    <a:pt x="2211" y="217"/>
                  </a:lnTo>
                  <a:cubicBezTo>
                    <a:pt x="2159" y="87"/>
                    <a:pt x="2035" y="1"/>
                    <a:pt x="1896" y="1"/>
                  </a:cubicBezTo>
                  <a:cubicBezTo>
                    <a:pt x="1892" y="1"/>
                    <a:pt x="1888" y="1"/>
                    <a:pt x="1884" y="1"/>
                  </a:cubicBezTo>
                  <a:lnTo>
                    <a:pt x="342" y="1"/>
                  </a:lnTo>
                  <a:cubicBezTo>
                    <a:pt x="336" y="1"/>
                    <a:pt x="330" y="1"/>
                    <a:pt x="32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5522;p67">
            <a:extLst>
              <a:ext uri="{FF2B5EF4-FFF2-40B4-BE49-F238E27FC236}">
                <a16:creationId xmlns:a16="http://schemas.microsoft.com/office/drawing/2014/main" id="{CCB1B6C8-DCCD-BB48-BEC3-D20D72559AE8}"/>
              </a:ext>
            </a:extLst>
          </p:cNvPr>
          <p:cNvGrpSpPr/>
          <p:nvPr/>
        </p:nvGrpSpPr>
        <p:grpSpPr>
          <a:xfrm>
            <a:off x="9044082" y="1944941"/>
            <a:ext cx="698104" cy="698208"/>
            <a:chOff x="2565073" y="2075876"/>
            <a:chExt cx="672482" cy="672518"/>
          </a:xfrm>
        </p:grpSpPr>
        <p:sp>
          <p:nvSpPr>
            <p:cNvPr id="47" name="Google Shape;5523;p67">
              <a:extLst>
                <a:ext uri="{FF2B5EF4-FFF2-40B4-BE49-F238E27FC236}">
                  <a16:creationId xmlns:a16="http://schemas.microsoft.com/office/drawing/2014/main" id="{9AAD1688-027E-6A40-9294-36C9CAB6C22A}"/>
                </a:ext>
              </a:extLst>
            </p:cNvPr>
            <p:cNvSpPr/>
            <p:nvPr/>
          </p:nvSpPr>
          <p:spPr>
            <a:xfrm>
              <a:off x="2642193" y="2530650"/>
              <a:ext cx="419588" cy="217743"/>
            </a:xfrm>
            <a:custGeom>
              <a:avLst/>
              <a:gdLst/>
              <a:ahLst/>
              <a:cxnLst/>
              <a:rect l="l" t="t" r="r" b="b"/>
              <a:pathLst>
                <a:path w="130611" h="67780" extrusionOk="0">
                  <a:moveTo>
                    <a:pt x="28498" y="0"/>
                  </a:moveTo>
                  <a:cubicBezTo>
                    <a:pt x="24484" y="0"/>
                    <a:pt x="20456" y="1023"/>
                    <a:pt x="16802" y="3132"/>
                  </a:cubicBezTo>
                  <a:lnTo>
                    <a:pt x="16191" y="3487"/>
                  </a:lnTo>
                  <a:cubicBezTo>
                    <a:pt x="1795" y="11796"/>
                    <a:pt x="1" y="31826"/>
                    <a:pt x="12628" y="42639"/>
                  </a:cubicBezTo>
                  <a:cubicBezTo>
                    <a:pt x="28340" y="56094"/>
                    <a:pt x="48088" y="64970"/>
                    <a:pt x="69808" y="67207"/>
                  </a:cubicBezTo>
                  <a:cubicBezTo>
                    <a:pt x="70015" y="67227"/>
                    <a:pt x="70217" y="67252"/>
                    <a:pt x="70419" y="67271"/>
                  </a:cubicBezTo>
                  <a:cubicBezTo>
                    <a:pt x="70804" y="67306"/>
                    <a:pt x="71188" y="67345"/>
                    <a:pt x="71572" y="67375"/>
                  </a:cubicBezTo>
                  <a:cubicBezTo>
                    <a:pt x="72080" y="67419"/>
                    <a:pt x="72588" y="67464"/>
                    <a:pt x="73100" y="67498"/>
                  </a:cubicBezTo>
                  <a:lnTo>
                    <a:pt x="73440" y="67523"/>
                  </a:lnTo>
                  <a:cubicBezTo>
                    <a:pt x="75877" y="67694"/>
                    <a:pt x="78323" y="67780"/>
                    <a:pt x="80773" y="67780"/>
                  </a:cubicBezTo>
                  <a:cubicBezTo>
                    <a:pt x="97672" y="67780"/>
                    <a:pt x="114788" y="63683"/>
                    <a:pt x="130611" y="55083"/>
                  </a:cubicBezTo>
                  <a:lnTo>
                    <a:pt x="106348" y="13068"/>
                  </a:lnTo>
                  <a:cubicBezTo>
                    <a:pt x="98422" y="17162"/>
                    <a:pt x="89641" y="19287"/>
                    <a:pt x="80747" y="19287"/>
                  </a:cubicBezTo>
                  <a:cubicBezTo>
                    <a:pt x="79675" y="19287"/>
                    <a:pt x="78601" y="19256"/>
                    <a:pt x="77526" y="19194"/>
                  </a:cubicBezTo>
                  <a:cubicBezTo>
                    <a:pt x="77220" y="19174"/>
                    <a:pt x="76910" y="19149"/>
                    <a:pt x="76599" y="19130"/>
                  </a:cubicBezTo>
                  <a:cubicBezTo>
                    <a:pt x="76072" y="19090"/>
                    <a:pt x="75545" y="19051"/>
                    <a:pt x="75017" y="18997"/>
                  </a:cubicBezTo>
                  <a:cubicBezTo>
                    <a:pt x="74943" y="18992"/>
                    <a:pt x="74865" y="18982"/>
                    <a:pt x="74791" y="18972"/>
                  </a:cubicBezTo>
                  <a:cubicBezTo>
                    <a:pt x="73347" y="18819"/>
                    <a:pt x="71908" y="18612"/>
                    <a:pt x="70478" y="18351"/>
                  </a:cubicBezTo>
                  <a:cubicBezTo>
                    <a:pt x="70409" y="18336"/>
                    <a:pt x="70340" y="18331"/>
                    <a:pt x="70266" y="18317"/>
                  </a:cubicBezTo>
                  <a:cubicBezTo>
                    <a:pt x="60646" y="16518"/>
                    <a:pt x="51666" y="12220"/>
                    <a:pt x="44224" y="5857"/>
                  </a:cubicBezTo>
                  <a:cubicBezTo>
                    <a:pt x="39725" y="2011"/>
                    <a:pt x="34125" y="0"/>
                    <a:pt x="28498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524;p67">
              <a:extLst>
                <a:ext uri="{FF2B5EF4-FFF2-40B4-BE49-F238E27FC236}">
                  <a16:creationId xmlns:a16="http://schemas.microsoft.com/office/drawing/2014/main" id="{581BC15F-109D-224B-9522-F92A04AFA3F6}"/>
                </a:ext>
              </a:extLst>
            </p:cNvPr>
            <p:cNvSpPr/>
            <p:nvPr/>
          </p:nvSpPr>
          <p:spPr>
            <a:xfrm>
              <a:off x="2910083" y="2420918"/>
              <a:ext cx="327379" cy="312727"/>
            </a:xfrm>
            <a:custGeom>
              <a:avLst/>
              <a:gdLst/>
              <a:ahLst/>
              <a:cxnLst/>
              <a:rect l="l" t="t" r="r" b="b"/>
              <a:pathLst>
                <a:path w="101908" h="97347" extrusionOk="0">
                  <a:moveTo>
                    <a:pt x="53377" y="1"/>
                  </a:moveTo>
                  <a:cubicBezTo>
                    <a:pt x="52884" y="9843"/>
                    <a:pt x="49823" y="19390"/>
                    <a:pt x="44495" y="27689"/>
                  </a:cubicBezTo>
                  <a:lnTo>
                    <a:pt x="44490" y="27684"/>
                  </a:lnTo>
                  <a:cubicBezTo>
                    <a:pt x="37847" y="37980"/>
                    <a:pt x="27936" y="45964"/>
                    <a:pt x="16216" y="50163"/>
                  </a:cubicBezTo>
                  <a:cubicBezTo>
                    <a:pt x="6521" y="53638"/>
                    <a:pt x="1" y="62746"/>
                    <a:pt x="1" y="73041"/>
                  </a:cubicBezTo>
                  <a:cubicBezTo>
                    <a:pt x="1" y="86873"/>
                    <a:pt x="11336" y="97347"/>
                    <a:pt x="24173" y="97347"/>
                  </a:cubicBezTo>
                  <a:cubicBezTo>
                    <a:pt x="26820" y="97347"/>
                    <a:pt x="29530" y="96902"/>
                    <a:pt x="32219" y="95949"/>
                  </a:cubicBezTo>
                  <a:cubicBezTo>
                    <a:pt x="49306" y="89897"/>
                    <a:pt x="64347" y="79537"/>
                    <a:pt x="76048" y="66171"/>
                  </a:cubicBezTo>
                  <a:cubicBezTo>
                    <a:pt x="76329" y="65870"/>
                    <a:pt x="76609" y="65570"/>
                    <a:pt x="76881" y="65254"/>
                  </a:cubicBezTo>
                  <a:cubicBezTo>
                    <a:pt x="92548" y="46905"/>
                    <a:pt x="101267" y="23751"/>
                    <a:pt x="101907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525;p67">
              <a:extLst>
                <a:ext uri="{FF2B5EF4-FFF2-40B4-BE49-F238E27FC236}">
                  <a16:creationId xmlns:a16="http://schemas.microsoft.com/office/drawing/2014/main" id="{26DF8CBD-C31E-D345-95C1-12285194BC34}"/>
                </a:ext>
              </a:extLst>
            </p:cNvPr>
            <p:cNvSpPr/>
            <p:nvPr/>
          </p:nvSpPr>
          <p:spPr>
            <a:xfrm>
              <a:off x="2999034" y="2125384"/>
              <a:ext cx="238522" cy="411351"/>
            </a:xfrm>
            <a:custGeom>
              <a:avLst/>
              <a:gdLst/>
              <a:ahLst/>
              <a:cxnLst/>
              <a:rect l="l" t="t" r="r" b="b"/>
              <a:pathLst>
                <a:path w="74248" h="128047" extrusionOk="0">
                  <a:moveTo>
                    <a:pt x="24273" y="0"/>
                  </a:moveTo>
                  <a:lnTo>
                    <a:pt x="0" y="42036"/>
                  </a:lnTo>
                  <a:cubicBezTo>
                    <a:pt x="7521" y="46866"/>
                    <a:pt x="13775" y="53430"/>
                    <a:pt x="18236" y="61173"/>
                  </a:cubicBezTo>
                  <a:cubicBezTo>
                    <a:pt x="18694" y="61966"/>
                    <a:pt x="19128" y="62765"/>
                    <a:pt x="19542" y="63573"/>
                  </a:cubicBezTo>
                  <a:cubicBezTo>
                    <a:pt x="19601" y="63696"/>
                    <a:pt x="19665" y="63829"/>
                    <a:pt x="19729" y="63953"/>
                  </a:cubicBezTo>
                  <a:cubicBezTo>
                    <a:pt x="19970" y="64426"/>
                    <a:pt x="20202" y="64904"/>
                    <a:pt x="20429" y="65382"/>
                  </a:cubicBezTo>
                  <a:cubicBezTo>
                    <a:pt x="20557" y="65658"/>
                    <a:pt x="20685" y="65929"/>
                    <a:pt x="20808" y="66210"/>
                  </a:cubicBezTo>
                  <a:cubicBezTo>
                    <a:pt x="21079" y="66806"/>
                    <a:pt x="21346" y="67408"/>
                    <a:pt x="21592" y="68014"/>
                  </a:cubicBezTo>
                  <a:cubicBezTo>
                    <a:pt x="21676" y="68226"/>
                    <a:pt x="21755" y="68433"/>
                    <a:pt x="21838" y="68645"/>
                  </a:cubicBezTo>
                  <a:cubicBezTo>
                    <a:pt x="22036" y="69142"/>
                    <a:pt x="22223" y="69645"/>
                    <a:pt x="22405" y="70148"/>
                  </a:cubicBezTo>
                  <a:cubicBezTo>
                    <a:pt x="25816" y="79561"/>
                    <a:pt x="26649" y="89714"/>
                    <a:pt x="24815" y="99561"/>
                  </a:cubicBezTo>
                  <a:cubicBezTo>
                    <a:pt x="22952" y="109586"/>
                    <a:pt x="27738" y="119679"/>
                    <a:pt x="36570" y="124780"/>
                  </a:cubicBezTo>
                  <a:cubicBezTo>
                    <a:pt x="40441" y="127014"/>
                    <a:pt x="44590" y="128047"/>
                    <a:pt x="48651" y="128047"/>
                  </a:cubicBezTo>
                  <a:cubicBezTo>
                    <a:pt x="59837" y="128047"/>
                    <a:pt x="70356" y="120215"/>
                    <a:pt x="72558" y="108102"/>
                  </a:cubicBezTo>
                  <a:cubicBezTo>
                    <a:pt x="73686" y="101887"/>
                    <a:pt x="74248" y="95579"/>
                    <a:pt x="74248" y="89261"/>
                  </a:cubicBezTo>
                  <a:cubicBezTo>
                    <a:pt x="74243" y="71168"/>
                    <a:pt x="69655" y="54150"/>
                    <a:pt x="61577" y="39305"/>
                  </a:cubicBezTo>
                  <a:lnTo>
                    <a:pt x="61557" y="39315"/>
                  </a:lnTo>
                  <a:cubicBezTo>
                    <a:pt x="61123" y="38517"/>
                    <a:pt x="60680" y="37723"/>
                    <a:pt x="60222" y="36930"/>
                  </a:cubicBezTo>
                  <a:cubicBezTo>
                    <a:pt x="51178" y="21262"/>
                    <a:pt x="38694" y="8818"/>
                    <a:pt x="24273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526;p67">
              <a:extLst>
                <a:ext uri="{FF2B5EF4-FFF2-40B4-BE49-F238E27FC236}">
                  <a16:creationId xmlns:a16="http://schemas.microsoft.com/office/drawing/2014/main" id="{6B83F034-6750-1343-A8CB-AA1B933732A9}"/>
                </a:ext>
              </a:extLst>
            </p:cNvPr>
            <p:cNvSpPr/>
            <p:nvPr/>
          </p:nvSpPr>
          <p:spPr>
            <a:xfrm>
              <a:off x="2740849" y="2075876"/>
              <a:ext cx="419604" cy="217734"/>
            </a:xfrm>
            <a:custGeom>
              <a:avLst/>
              <a:gdLst/>
              <a:ahLst/>
              <a:cxnLst/>
              <a:rect l="l" t="t" r="r" b="b"/>
              <a:pathLst>
                <a:path w="130616" h="67777" extrusionOk="0">
                  <a:moveTo>
                    <a:pt x="49853" y="1"/>
                  </a:moveTo>
                  <a:cubicBezTo>
                    <a:pt x="32949" y="1"/>
                    <a:pt x="15828" y="4093"/>
                    <a:pt x="0" y="12696"/>
                  </a:cubicBezTo>
                  <a:lnTo>
                    <a:pt x="24263" y="54711"/>
                  </a:lnTo>
                  <a:cubicBezTo>
                    <a:pt x="32189" y="50621"/>
                    <a:pt x="40970" y="48497"/>
                    <a:pt x="49860" y="48497"/>
                  </a:cubicBezTo>
                  <a:cubicBezTo>
                    <a:pt x="50932" y="48497"/>
                    <a:pt x="52006" y="48528"/>
                    <a:pt x="53080" y="48590"/>
                  </a:cubicBezTo>
                  <a:cubicBezTo>
                    <a:pt x="53391" y="48605"/>
                    <a:pt x="53701" y="48630"/>
                    <a:pt x="54012" y="48649"/>
                  </a:cubicBezTo>
                  <a:cubicBezTo>
                    <a:pt x="54539" y="48689"/>
                    <a:pt x="55066" y="48728"/>
                    <a:pt x="55594" y="48782"/>
                  </a:cubicBezTo>
                  <a:cubicBezTo>
                    <a:pt x="55668" y="48792"/>
                    <a:pt x="55746" y="48802"/>
                    <a:pt x="55820" y="48807"/>
                  </a:cubicBezTo>
                  <a:cubicBezTo>
                    <a:pt x="57264" y="48960"/>
                    <a:pt x="58704" y="49172"/>
                    <a:pt x="60133" y="49433"/>
                  </a:cubicBezTo>
                  <a:cubicBezTo>
                    <a:pt x="60202" y="49448"/>
                    <a:pt x="60271" y="49453"/>
                    <a:pt x="60345" y="49462"/>
                  </a:cubicBezTo>
                  <a:cubicBezTo>
                    <a:pt x="69965" y="51266"/>
                    <a:pt x="78945" y="55564"/>
                    <a:pt x="86387" y="61927"/>
                  </a:cubicBezTo>
                  <a:cubicBezTo>
                    <a:pt x="90886" y="65767"/>
                    <a:pt x="96484" y="67777"/>
                    <a:pt x="102111" y="67777"/>
                  </a:cubicBezTo>
                  <a:cubicBezTo>
                    <a:pt x="106125" y="67777"/>
                    <a:pt x="110154" y="66754"/>
                    <a:pt x="113809" y="64642"/>
                  </a:cubicBezTo>
                  <a:lnTo>
                    <a:pt x="114420" y="64292"/>
                  </a:lnTo>
                  <a:cubicBezTo>
                    <a:pt x="128816" y="55983"/>
                    <a:pt x="130615" y="35958"/>
                    <a:pt x="117988" y="25140"/>
                  </a:cubicBezTo>
                  <a:cubicBezTo>
                    <a:pt x="102271" y="11685"/>
                    <a:pt x="82523" y="2809"/>
                    <a:pt x="60803" y="572"/>
                  </a:cubicBezTo>
                  <a:cubicBezTo>
                    <a:pt x="60596" y="552"/>
                    <a:pt x="60394" y="532"/>
                    <a:pt x="60192" y="513"/>
                  </a:cubicBezTo>
                  <a:cubicBezTo>
                    <a:pt x="59808" y="473"/>
                    <a:pt x="59423" y="439"/>
                    <a:pt x="59039" y="404"/>
                  </a:cubicBezTo>
                  <a:cubicBezTo>
                    <a:pt x="58531" y="360"/>
                    <a:pt x="58023" y="320"/>
                    <a:pt x="57511" y="281"/>
                  </a:cubicBezTo>
                  <a:lnTo>
                    <a:pt x="57171" y="256"/>
                  </a:lnTo>
                  <a:cubicBezTo>
                    <a:pt x="54739" y="86"/>
                    <a:pt x="52298" y="1"/>
                    <a:pt x="4985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527;p67">
              <a:extLst>
                <a:ext uri="{FF2B5EF4-FFF2-40B4-BE49-F238E27FC236}">
                  <a16:creationId xmlns:a16="http://schemas.microsoft.com/office/drawing/2014/main" id="{9DDF3569-80B0-AD40-91BC-97902F12293B}"/>
                </a:ext>
              </a:extLst>
            </p:cNvPr>
            <p:cNvSpPr/>
            <p:nvPr/>
          </p:nvSpPr>
          <p:spPr>
            <a:xfrm>
              <a:off x="2565167" y="2090625"/>
              <a:ext cx="327379" cy="312740"/>
            </a:xfrm>
            <a:custGeom>
              <a:avLst/>
              <a:gdLst/>
              <a:ahLst/>
              <a:cxnLst/>
              <a:rect l="l" t="t" r="r" b="b"/>
              <a:pathLst>
                <a:path w="101908" h="97351" extrusionOk="0">
                  <a:moveTo>
                    <a:pt x="77732" y="1"/>
                  </a:moveTo>
                  <a:cubicBezTo>
                    <a:pt x="75086" y="1"/>
                    <a:pt x="72377" y="446"/>
                    <a:pt x="69690" y="1397"/>
                  </a:cubicBezTo>
                  <a:cubicBezTo>
                    <a:pt x="52607" y="7449"/>
                    <a:pt x="37561" y="17814"/>
                    <a:pt x="25865" y="31175"/>
                  </a:cubicBezTo>
                  <a:cubicBezTo>
                    <a:pt x="25580" y="31476"/>
                    <a:pt x="25299" y="31776"/>
                    <a:pt x="25028" y="32097"/>
                  </a:cubicBezTo>
                  <a:cubicBezTo>
                    <a:pt x="9365" y="50441"/>
                    <a:pt x="646" y="73600"/>
                    <a:pt x="1" y="97350"/>
                  </a:cubicBezTo>
                  <a:lnTo>
                    <a:pt x="48536" y="97350"/>
                  </a:lnTo>
                  <a:cubicBezTo>
                    <a:pt x="49024" y="87503"/>
                    <a:pt x="52085" y="77956"/>
                    <a:pt x="57413" y="69662"/>
                  </a:cubicBezTo>
                  <a:lnTo>
                    <a:pt x="57418" y="69662"/>
                  </a:lnTo>
                  <a:cubicBezTo>
                    <a:pt x="64061" y="59371"/>
                    <a:pt x="73977" y="51382"/>
                    <a:pt x="85697" y="47183"/>
                  </a:cubicBezTo>
                  <a:cubicBezTo>
                    <a:pt x="95382" y="43708"/>
                    <a:pt x="101907" y="34605"/>
                    <a:pt x="101907" y="24310"/>
                  </a:cubicBezTo>
                  <a:cubicBezTo>
                    <a:pt x="101907" y="10473"/>
                    <a:pt x="90570" y="1"/>
                    <a:pt x="7773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528;p67">
              <a:extLst>
                <a:ext uri="{FF2B5EF4-FFF2-40B4-BE49-F238E27FC236}">
                  <a16:creationId xmlns:a16="http://schemas.microsoft.com/office/drawing/2014/main" id="{ED2FDB22-8EC3-5441-8BD1-EB9133719EA0}"/>
                </a:ext>
              </a:extLst>
            </p:cNvPr>
            <p:cNvSpPr/>
            <p:nvPr/>
          </p:nvSpPr>
          <p:spPr>
            <a:xfrm>
              <a:off x="2565073" y="2287538"/>
              <a:ext cx="218572" cy="409555"/>
            </a:xfrm>
            <a:custGeom>
              <a:avLst/>
              <a:gdLst/>
              <a:ahLst/>
              <a:cxnLst/>
              <a:rect l="l" t="t" r="r" b="b"/>
              <a:pathLst>
                <a:path w="68038" h="127488" extrusionOk="0">
                  <a:moveTo>
                    <a:pt x="25598" y="0"/>
                  </a:moveTo>
                  <a:cubicBezTo>
                    <a:pt x="14413" y="0"/>
                    <a:pt x="3897" y="7831"/>
                    <a:pt x="1695" y="19943"/>
                  </a:cubicBezTo>
                  <a:cubicBezTo>
                    <a:pt x="567" y="26163"/>
                    <a:pt x="0" y="32466"/>
                    <a:pt x="5" y="38785"/>
                  </a:cubicBezTo>
                  <a:cubicBezTo>
                    <a:pt x="5" y="56877"/>
                    <a:pt x="4598" y="73900"/>
                    <a:pt x="12676" y="88745"/>
                  </a:cubicBezTo>
                  <a:lnTo>
                    <a:pt x="12696" y="88735"/>
                  </a:lnTo>
                  <a:cubicBezTo>
                    <a:pt x="13125" y="89533"/>
                    <a:pt x="13568" y="90327"/>
                    <a:pt x="14027" y="91120"/>
                  </a:cubicBezTo>
                  <a:cubicBezTo>
                    <a:pt x="22888" y="106463"/>
                    <a:pt x="35052" y="118705"/>
                    <a:pt x="49093" y="127488"/>
                  </a:cubicBezTo>
                  <a:cubicBezTo>
                    <a:pt x="44721" y="124742"/>
                    <a:pt x="40552" y="121677"/>
                    <a:pt x="36634" y="118316"/>
                  </a:cubicBezTo>
                  <a:cubicBezTo>
                    <a:pt x="24002" y="107503"/>
                    <a:pt x="25801" y="87473"/>
                    <a:pt x="40197" y="79164"/>
                  </a:cubicBezTo>
                  <a:lnTo>
                    <a:pt x="40808" y="78809"/>
                  </a:lnTo>
                  <a:cubicBezTo>
                    <a:pt x="44459" y="76702"/>
                    <a:pt x="48483" y="75681"/>
                    <a:pt x="52492" y="75681"/>
                  </a:cubicBezTo>
                  <a:cubicBezTo>
                    <a:pt x="58042" y="75681"/>
                    <a:pt x="63566" y="77637"/>
                    <a:pt x="68038" y="81377"/>
                  </a:cubicBezTo>
                  <a:cubicBezTo>
                    <a:pt x="63238" y="77256"/>
                    <a:pt x="59172" y="72353"/>
                    <a:pt x="56017" y="66877"/>
                  </a:cubicBezTo>
                  <a:cubicBezTo>
                    <a:pt x="55559" y="66083"/>
                    <a:pt x="55120" y="65280"/>
                    <a:pt x="54706" y="64472"/>
                  </a:cubicBezTo>
                  <a:cubicBezTo>
                    <a:pt x="54647" y="64349"/>
                    <a:pt x="54583" y="64221"/>
                    <a:pt x="54519" y="64092"/>
                  </a:cubicBezTo>
                  <a:cubicBezTo>
                    <a:pt x="54278" y="63619"/>
                    <a:pt x="54046" y="63141"/>
                    <a:pt x="53824" y="62663"/>
                  </a:cubicBezTo>
                  <a:cubicBezTo>
                    <a:pt x="53691" y="62392"/>
                    <a:pt x="53568" y="62116"/>
                    <a:pt x="53440" y="61840"/>
                  </a:cubicBezTo>
                  <a:cubicBezTo>
                    <a:pt x="53169" y="61239"/>
                    <a:pt x="52907" y="60637"/>
                    <a:pt x="52656" y="60031"/>
                  </a:cubicBezTo>
                  <a:cubicBezTo>
                    <a:pt x="52572" y="59824"/>
                    <a:pt x="52493" y="59612"/>
                    <a:pt x="52410" y="59400"/>
                  </a:cubicBezTo>
                  <a:cubicBezTo>
                    <a:pt x="52217" y="58903"/>
                    <a:pt x="52025" y="58400"/>
                    <a:pt x="51843" y="57902"/>
                  </a:cubicBezTo>
                  <a:cubicBezTo>
                    <a:pt x="48437" y="48484"/>
                    <a:pt x="47604" y="38331"/>
                    <a:pt x="49433" y="28484"/>
                  </a:cubicBezTo>
                  <a:cubicBezTo>
                    <a:pt x="51301" y="18459"/>
                    <a:pt x="46515" y="8366"/>
                    <a:pt x="37683" y="3270"/>
                  </a:cubicBezTo>
                  <a:cubicBezTo>
                    <a:pt x="33811" y="1033"/>
                    <a:pt x="29660" y="0"/>
                    <a:pt x="25598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1704;p63">
            <a:extLst>
              <a:ext uri="{FF2B5EF4-FFF2-40B4-BE49-F238E27FC236}">
                <a16:creationId xmlns:a16="http://schemas.microsoft.com/office/drawing/2014/main" id="{F63B79DE-E916-804C-902F-D48FAD8A6DF6}"/>
              </a:ext>
            </a:extLst>
          </p:cNvPr>
          <p:cNvGrpSpPr/>
          <p:nvPr/>
        </p:nvGrpSpPr>
        <p:grpSpPr>
          <a:xfrm>
            <a:off x="5842865" y="2069241"/>
            <a:ext cx="505650" cy="504006"/>
            <a:chOff x="6039282" y="1042577"/>
            <a:chExt cx="734315" cy="731929"/>
          </a:xfrm>
        </p:grpSpPr>
        <p:sp>
          <p:nvSpPr>
            <p:cNvPr id="54" name="Google Shape;1705;p63">
              <a:extLst>
                <a:ext uri="{FF2B5EF4-FFF2-40B4-BE49-F238E27FC236}">
                  <a16:creationId xmlns:a16="http://schemas.microsoft.com/office/drawing/2014/main" id="{EF61B687-2299-4842-80EB-42805E3747E9}"/>
                </a:ext>
              </a:extLst>
            </p:cNvPr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6;p63">
              <a:extLst>
                <a:ext uri="{FF2B5EF4-FFF2-40B4-BE49-F238E27FC236}">
                  <a16:creationId xmlns:a16="http://schemas.microsoft.com/office/drawing/2014/main" id="{6D18B071-1B2C-604C-B14A-D4535203D562}"/>
                </a:ext>
              </a:extLst>
            </p:cNvPr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;p63">
              <a:extLst>
                <a:ext uri="{FF2B5EF4-FFF2-40B4-BE49-F238E27FC236}">
                  <a16:creationId xmlns:a16="http://schemas.microsoft.com/office/drawing/2014/main" id="{FD1E7EB6-1DA5-E449-A350-A08FF5F1F58E}"/>
                </a:ext>
              </a:extLst>
            </p:cNvPr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8;p63">
              <a:extLst>
                <a:ext uri="{FF2B5EF4-FFF2-40B4-BE49-F238E27FC236}">
                  <a16:creationId xmlns:a16="http://schemas.microsoft.com/office/drawing/2014/main" id="{21E8DE52-2712-2745-8035-12F3CD24C834}"/>
                </a:ext>
              </a:extLst>
            </p:cNvPr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709;p63">
              <a:extLst>
                <a:ext uri="{FF2B5EF4-FFF2-40B4-BE49-F238E27FC236}">
                  <a16:creationId xmlns:a16="http://schemas.microsoft.com/office/drawing/2014/main" id="{52279981-910A-A64F-9510-CA8A1FD3AE7D}"/>
                </a:ext>
              </a:extLst>
            </p:cNvPr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710;p63">
              <a:extLst>
                <a:ext uri="{FF2B5EF4-FFF2-40B4-BE49-F238E27FC236}">
                  <a16:creationId xmlns:a16="http://schemas.microsoft.com/office/drawing/2014/main" id="{A203CA9B-6B27-634C-9540-8D41D6BAA3D7}"/>
                </a:ext>
              </a:extLst>
            </p:cNvPr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11;p63">
              <a:extLst>
                <a:ext uri="{FF2B5EF4-FFF2-40B4-BE49-F238E27FC236}">
                  <a16:creationId xmlns:a16="http://schemas.microsoft.com/office/drawing/2014/main" id="{69E57B2E-7A12-FD49-9EB7-0E6FCE8C4FA2}"/>
                </a:ext>
              </a:extLst>
            </p:cNvPr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12;p63">
              <a:extLst>
                <a:ext uri="{FF2B5EF4-FFF2-40B4-BE49-F238E27FC236}">
                  <a16:creationId xmlns:a16="http://schemas.microsoft.com/office/drawing/2014/main" id="{A2567E2C-D8E8-2049-9083-F036401B0D57}"/>
                </a:ext>
              </a:extLst>
            </p:cNvPr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713;p63">
              <a:extLst>
                <a:ext uri="{FF2B5EF4-FFF2-40B4-BE49-F238E27FC236}">
                  <a16:creationId xmlns:a16="http://schemas.microsoft.com/office/drawing/2014/main" id="{C7C00C3C-A438-C740-A270-12DA1FEB0443}"/>
                </a:ext>
              </a:extLst>
            </p:cNvPr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14;p63">
              <a:extLst>
                <a:ext uri="{FF2B5EF4-FFF2-40B4-BE49-F238E27FC236}">
                  <a16:creationId xmlns:a16="http://schemas.microsoft.com/office/drawing/2014/main" id="{A68EA434-BBE5-F248-BF59-02482CD2D45A}"/>
                </a:ext>
              </a:extLst>
            </p:cNvPr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715;p63">
              <a:extLst>
                <a:ext uri="{FF2B5EF4-FFF2-40B4-BE49-F238E27FC236}">
                  <a16:creationId xmlns:a16="http://schemas.microsoft.com/office/drawing/2014/main" id="{FC69B650-529D-C94B-A1F2-9EA4CF05379F}"/>
                </a:ext>
              </a:extLst>
            </p:cNvPr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716;p63">
              <a:extLst>
                <a:ext uri="{FF2B5EF4-FFF2-40B4-BE49-F238E27FC236}">
                  <a16:creationId xmlns:a16="http://schemas.microsoft.com/office/drawing/2014/main" id="{2D7BF0DB-A6A1-0546-A149-4518CBB0A848}"/>
                </a:ext>
              </a:extLst>
            </p:cNvPr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717;p63">
              <a:extLst>
                <a:ext uri="{FF2B5EF4-FFF2-40B4-BE49-F238E27FC236}">
                  <a16:creationId xmlns:a16="http://schemas.microsoft.com/office/drawing/2014/main" id="{D2A7655E-8FFC-034F-AF89-EEAFADFFF53D}"/>
                </a:ext>
              </a:extLst>
            </p:cNvPr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718;p63">
              <a:extLst>
                <a:ext uri="{FF2B5EF4-FFF2-40B4-BE49-F238E27FC236}">
                  <a16:creationId xmlns:a16="http://schemas.microsoft.com/office/drawing/2014/main" id="{0F101B3D-B608-AD45-A4F7-ECAF57D3CB5D}"/>
                </a:ext>
              </a:extLst>
            </p:cNvPr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719;p63">
              <a:extLst>
                <a:ext uri="{FF2B5EF4-FFF2-40B4-BE49-F238E27FC236}">
                  <a16:creationId xmlns:a16="http://schemas.microsoft.com/office/drawing/2014/main" id="{545A1F7F-B2B7-9F45-A09F-6E9B131B9EBB}"/>
                </a:ext>
              </a:extLst>
            </p:cNvPr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720;p63">
              <a:extLst>
                <a:ext uri="{FF2B5EF4-FFF2-40B4-BE49-F238E27FC236}">
                  <a16:creationId xmlns:a16="http://schemas.microsoft.com/office/drawing/2014/main" id="{F68435C8-1919-0F47-BBD4-FBF74BF1ACAB}"/>
                </a:ext>
              </a:extLst>
            </p:cNvPr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721;p63">
              <a:extLst>
                <a:ext uri="{FF2B5EF4-FFF2-40B4-BE49-F238E27FC236}">
                  <a16:creationId xmlns:a16="http://schemas.microsoft.com/office/drawing/2014/main" id="{0847767D-05D2-0641-92FF-09D3B5A3087E}"/>
                </a:ext>
              </a:extLst>
            </p:cNvPr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722;p63">
              <a:extLst>
                <a:ext uri="{FF2B5EF4-FFF2-40B4-BE49-F238E27FC236}">
                  <a16:creationId xmlns:a16="http://schemas.microsoft.com/office/drawing/2014/main" id="{D2D8A619-6C73-9745-9734-80B54D64526E}"/>
                </a:ext>
              </a:extLst>
            </p:cNvPr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723;p63">
              <a:extLst>
                <a:ext uri="{FF2B5EF4-FFF2-40B4-BE49-F238E27FC236}">
                  <a16:creationId xmlns:a16="http://schemas.microsoft.com/office/drawing/2014/main" id="{37B2A682-F05E-F84B-BFED-5796A5D3FB80}"/>
                </a:ext>
              </a:extLst>
            </p:cNvPr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724;p63">
              <a:extLst>
                <a:ext uri="{FF2B5EF4-FFF2-40B4-BE49-F238E27FC236}">
                  <a16:creationId xmlns:a16="http://schemas.microsoft.com/office/drawing/2014/main" id="{A475C25B-F192-1F4B-AEE0-DC6EFE8A3929}"/>
                </a:ext>
              </a:extLst>
            </p:cNvPr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725;p63">
              <a:extLst>
                <a:ext uri="{FF2B5EF4-FFF2-40B4-BE49-F238E27FC236}">
                  <a16:creationId xmlns:a16="http://schemas.microsoft.com/office/drawing/2014/main" id="{1BE018F3-2818-444B-9C21-F8A8DE13C6C8}"/>
                </a:ext>
              </a:extLst>
            </p:cNvPr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3EDE889-9CA1-9F47-B579-1F7295EC7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Indexes</a:t>
            </a:r>
          </a:p>
        </p:txBody>
      </p:sp>
    </p:spTree>
    <p:extLst>
      <p:ext uri="{BB962C8B-B14F-4D97-AF65-F5344CB8AC3E}">
        <p14:creationId xmlns:p14="http://schemas.microsoft.com/office/powerpoint/2010/main" val="210999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1"/>
            <a:ext cx="5902151" cy="245668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3 | James 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1 | Alex Johns  | 2020-01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7 | Bob William | 2020-01-04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8 | Charli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6 | David       | 2020-08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9 | Benjamin    | 1990-01-02</a:t>
            </a:r>
          </a:p>
        </p:txBody>
      </p:sp>
      <p:sp>
        <p:nvSpPr>
          <p:cNvPr id="152" name="Google Shape;141;p15">
            <a:extLst>
              <a:ext uri="{FF2B5EF4-FFF2-40B4-BE49-F238E27FC236}">
                <a16:creationId xmlns:a16="http://schemas.microsoft.com/office/drawing/2014/main" id="{91523484-9AAA-3641-8731-C717F5B2F580}"/>
              </a:ext>
            </a:extLst>
          </p:cNvPr>
          <p:cNvSpPr/>
          <p:nvPr/>
        </p:nvSpPr>
        <p:spPr>
          <a:xfrm>
            <a:off x="6358342" y="836314"/>
            <a:ext cx="5639809" cy="243715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(1,0) | 16 |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031F272-FCB2-2545-8642-76570CABAE57}"/>
              </a:ext>
            </a:extLst>
          </p:cNvPr>
          <p:cNvGrpSpPr/>
          <p:nvPr/>
        </p:nvGrpSpPr>
        <p:grpSpPr>
          <a:xfrm>
            <a:off x="205176" y="3584528"/>
            <a:ext cx="11858773" cy="2810162"/>
            <a:chOff x="138113" y="3429000"/>
            <a:chExt cx="11858773" cy="2810162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30BD2DC-7A8B-2F45-AB54-865D208ABBAE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61237738-849E-0542-82FA-8A9EBDA4D0CF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B9A8F9C1-B4CE-F64B-A214-93053C00DBAE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74AC789-9C67-2940-84C4-89E96427522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19B5C8F-DE14-1D41-B49F-A06EF678D4D0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061A9DA0-82AE-E348-93A1-DE9E1E6792BE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E3BD587E-F5DE-8F47-A4C4-300CEF7CC88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11459A98-49DA-D048-99DC-BBE1C9CB1818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8" name="Straight Arrow Connector 127">
                <a:extLst>
                  <a:ext uri="{FF2B5EF4-FFF2-40B4-BE49-F238E27FC236}">
                    <a16:creationId xmlns:a16="http://schemas.microsoft.com/office/drawing/2014/main" id="{8C5A1C5F-4CC2-B84F-B3E7-DF50234C81F3}"/>
                  </a:ext>
                </a:extLst>
              </p:cNvPr>
              <p:cNvCxnSpPr>
                <a:cxnSpLocks/>
                <a:stCxn id="130" idx="3"/>
                <a:endCxn id="126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Arrow Connector 128">
                <a:extLst>
                  <a:ext uri="{FF2B5EF4-FFF2-40B4-BE49-F238E27FC236}">
                    <a16:creationId xmlns:a16="http://schemas.microsoft.com/office/drawing/2014/main" id="{0BD7A8E4-46A6-A54F-B695-482924688F4F}"/>
                  </a:ext>
                </a:extLst>
              </p:cNvPr>
              <p:cNvCxnSpPr>
                <a:cxnSpLocks/>
                <a:stCxn id="126" idx="3"/>
                <a:endCxn id="127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63B2D47-A89F-3844-93ED-DCA556D5D322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77C12F07-5EB0-9D4A-86C3-6816C168FFF4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88D0D3C5-62E8-CB45-9F9E-BFD782901B22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9B0CC18-B74C-F942-8E48-56721FFC3080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A84A066-56BC-864F-8B26-A9541E7A8AD8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AD2864C1-72A7-1D4A-BE64-1E1BD879DE83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70971279-B766-BF42-839E-45DE3FE2877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2C419766-5382-A141-8CDA-A4E87BDD2A0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098BADB-3DAC-6D4C-8424-6CA8B3A0D720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4327FB6D-4FED-3348-A1C6-914EE3413043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7B1A555A-1698-084F-B0DC-29866059F9B3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C58ECC08-0590-AF4B-94F3-CBD37DB02224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441B45F5-1DFA-374A-AE2F-D2DB331E608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2528308E-8444-B44D-B492-09FBE533705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EAF796A6-FBFC-3940-8EAF-CA469C8FD77E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F712E47E-75B7-3B47-9B17-74F2FC0B773A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E6022984-896A-CC46-AF78-E0CD528DCED7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47" name="Left Brace 146">
                <a:extLst>
                  <a:ext uri="{FF2B5EF4-FFF2-40B4-BE49-F238E27FC236}">
                    <a16:creationId xmlns:a16="http://schemas.microsoft.com/office/drawing/2014/main" id="{CF1D7017-0DDE-124F-A59A-8B6021AA150D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B0B155F0-D93F-6C44-8AC6-6DA43EC99D3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9" name="Left Brace 148">
                <a:extLst>
                  <a:ext uri="{FF2B5EF4-FFF2-40B4-BE49-F238E27FC236}">
                    <a16:creationId xmlns:a16="http://schemas.microsoft.com/office/drawing/2014/main" id="{3CB2DFCC-EFF9-A549-8619-32A754DE2528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89" name="Curved Connector 188">
                <a:extLst>
                  <a:ext uri="{FF2B5EF4-FFF2-40B4-BE49-F238E27FC236}">
                    <a16:creationId xmlns:a16="http://schemas.microsoft.com/office/drawing/2014/main" id="{5D321728-C0DB-5F4F-8927-400A22532140}"/>
                  </a:ext>
                </a:extLst>
              </p:cNvPr>
              <p:cNvCxnSpPr>
                <a:cxnSpLocks/>
                <a:stCxn id="130" idx="2"/>
                <a:endCxn id="131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Curved Connector 189">
                <a:extLst>
                  <a:ext uri="{FF2B5EF4-FFF2-40B4-BE49-F238E27FC236}">
                    <a16:creationId xmlns:a16="http://schemas.microsoft.com/office/drawing/2014/main" id="{E2B94001-B92C-DD48-86DA-69ADC3BD648D}"/>
                  </a:ext>
                </a:extLst>
              </p:cNvPr>
              <p:cNvCxnSpPr>
                <a:cxnSpLocks/>
                <a:stCxn id="126" idx="2"/>
                <a:endCxn id="141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Curved Connector 190">
                <a:extLst>
                  <a:ext uri="{FF2B5EF4-FFF2-40B4-BE49-F238E27FC236}">
                    <a16:creationId xmlns:a16="http://schemas.microsoft.com/office/drawing/2014/main" id="{69724F90-015A-1340-A810-54CC41CB6F05}"/>
                  </a:ext>
                </a:extLst>
              </p:cNvPr>
              <p:cNvCxnSpPr>
                <a:cxnSpLocks/>
                <a:stCxn id="127" idx="2"/>
                <a:endCxn id="144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5E1AB643-BEE3-3B43-9A6C-47EEF4056C43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4A9B96E2-61E9-F94F-888A-FF14DBAA888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2" name="Right Brace 81">
              <a:extLst>
                <a:ext uri="{FF2B5EF4-FFF2-40B4-BE49-F238E27FC236}">
                  <a16:creationId xmlns:a16="http://schemas.microsoft.com/office/drawing/2014/main" id="{303AD49F-A972-A847-B798-B127C5CE8FF2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83" name="Right Brace 82">
              <a:extLst>
                <a:ext uri="{FF2B5EF4-FFF2-40B4-BE49-F238E27FC236}">
                  <a16:creationId xmlns:a16="http://schemas.microsoft.com/office/drawing/2014/main" id="{E1DA68CB-CE23-384B-A4BD-7EF8182E0A52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A261C26-C8A3-9648-BB11-24855477A411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D95C100-CAFA-5249-8C8D-FBB16D7590B4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63E3FD79-43C5-824D-BE44-345F69D6668B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298C6B3C-0A79-9244-8F38-ACB6B05391F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17477D08-E05F-AA48-8090-4A688FB0A113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3790CCBD-19DD-AD44-97D1-07BC204E033A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7F075B17-EB09-914A-993A-185FA13FBFC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94909339-9EAF-F045-9FFE-80B74D08F7A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94" name="Straight Arrow Connector 93">
                <a:extLst>
                  <a:ext uri="{FF2B5EF4-FFF2-40B4-BE49-F238E27FC236}">
                    <a16:creationId xmlns:a16="http://schemas.microsoft.com/office/drawing/2014/main" id="{3025F1B8-D7BD-CA45-AC34-C6A976155E57}"/>
                  </a:ext>
                </a:extLst>
              </p:cNvPr>
              <p:cNvCxnSpPr>
                <a:cxnSpLocks/>
                <a:stCxn id="96" idx="3"/>
                <a:endCxn id="9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>
                <a:extLst>
                  <a:ext uri="{FF2B5EF4-FFF2-40B4-BE49-F238E27FC236}">
                    <a16:creationId xmlns:a16="http://schemas.microsoft.com/office/drawing/2014/main" id="{68C7B641-FBC1-4640-90CB-C5F8AEAC0A95}"/>
                  </a:ext>
                </a:extLst>
              </p:cNvPr>
              <p:cNvCxnSpPr>
                <a:cxnSpLocks/>
                <a:stCxn id="92" idx="3"/>
                <a:endCxn id="9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0465B47-A88E-2543-B97D-AAC99CEC81BB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358D3700-E806-8247-B7A0-E8EC609FEE9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2174251F-F827-2249-969A-EA6778F9AD7E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E5DC232E-374B-1D4C-8C0D-9E16CBFAD6F5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15A72989-4F9D-4D48-A5B5-4F0D1E7B1A76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08C6A8A8-54F4-FA4A-9C2C-7EDB9DEDF69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FAAAA008-B3A3-644A-903D-345EA1E6BC53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E6C52DBE-C806-9343-9E6D-A39D1C32526A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90DC0376-88AC-6645-B6A2-EEE16DDA200D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2B6DAD8E-DBD2-654C-8A69-668DFB08EC67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22EC4588-1EF5-6E46-8C81-08361E7AA7DC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EF1C7907-4180-924F-AE9E-1B2BC00F7108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607AB33B-86E5-204D-8005-19A9501761B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9B78878A-D079-E942-9E2B-4880DDB49993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8D8C529-30D9-854A-BEC1-E4CEED08B9E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8936E93B-AE8E-284A-A7E5-49CE5BB6DF7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7E0C6084-CFC3-1048-86EC-8A5E8690CD2F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13" name="Left Brace 112">
                <a:extLst>
                  <a:ext uri="{FF2B5EF4-FFF2-40B4-BE49-F238E27FC236}">
                    <a16:creationId xmlns:a16="http://schemas.microsoft.com/office/drawing/2014/main" id="{D95F5C7C-B5EE-754E-8DB6-58A5DD18085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9E965B36-6E92-CA4F-8276-B296C83C1038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15" name="Left Brace 114">
                <a:extLst>
                  <a:ext uri="{FF2B5EF4-FFF2-40B4-BE49-F238E27FC236}">
                    <a16:creationId xmlns:a16="http://schemas.microsoft.com/office/drawing/2014/main" id="{90B2F34E-F5B1-B94C-A803-B4806451577C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16" name="Curved Connector 115">
                <a:extLst>
                  <a:ext uri="{FF2B5EF4-FFF2-40B4-BE49-F238E27FC236}">
                    <a16:creationId xmlns:a16="http://schemas.microsoft.com/office/drawing/2014/main" id="{D921F10A-4961-F847-8127-ED7DA2580571}"/>
                  </a:ext>
                </a:extLst>
              </p:cNvPr>
              <p:cNvCxnSpPr>
                <a:stCxn id="96" idx="2"/>
                <a:endCxn id="9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Curved Connector 116">
                <a:extLst>
                  <a:ext uri="{FF2B5EF4-FFF2-40B4-BE49-F238E27FC236}">
                    <a16:creationId xmlns:a16="http://schemas.microsoft.com/office/drawing/2014/main" id="{48325E3E-33FD-E044-A570-34C6708E224E}"/>
                  </a:ext>
                </a:extLst>
              </p:cNvPr>
              <p:cNvCxnSpPr>
                <a:stCxn id="92" idx="2"/>
                <a:endCxn id="10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Curved Connector 117">
                <a:extLst>
                  <a:ext uri="{FF2B5EF4-FFF2-40B4-BE49-F238E27FC236}">
                    <a16:creationId xmlns:a16="http://schemas.microsoft.com/office/drawing/2014/main" id="{CEED4D73-02B7-8A40-ACF0-99AAA16EA1E2}"/>
                  </a:ext>
                </a:extLst>
              </p:cNvPr>
              <p:cNvCxnSpPr>
                <a:stCxn id="93" idx="2"/>
                <a:endCxn id="11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Left Brace 118">
                <a:extLst>
                  <a:ext uri="{FF2B5EF4-FFF2-40B4-BE49-F238E27FC236}">
                    <a16:creationId xmlns:a16="http://schemas.microsoft.com/office/drawing/2014/main" id="{77317F83-9F13-ED46-AD11-4BC566964241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60AE0272-DFEA-4945-9F34-63E3A78B1072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9C564AE-74DC-124E-9CE2-47CDE125A2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E7F6114-4145-3243-AB18-C9F2EC97697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659646"/>
            <a:chOff x="3957913" y="974708"/>
            <a:chExt cx="7692841" cy="3148989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246179" y="3431330"/>
              <a:ext cx="811470" cy="692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32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91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5358104" cy="276307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name LIKE ‘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’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2DBA42-4685-044F-9748-0DE5CB3A73DF}"/>
              </a:ext>
            </a:extLst>
          </p:cNvPr>
          <p:cNvSpPr/>
          <p:nvPr/>
        </p:nvSpPr>
        <p:spPr>
          <a:xfrm>
            <a:off x="6062284" y="745489"/>
            <a:ext cx="176984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91F0888-0AF7-AC42-89D8-8C2ABD7AB832}"/>
              </a:ext>
            </a:extLst>
          </p:cNvPr>
          <p:cNvSpPr/>
          <p:nvPr/>
        </p:nvSpPr>
        <p:spPr>
          <a:xfrm>
            <a:off x="6062283" y="1221752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m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B60B90B-451A-744C-8160-98550360494C}"/>
              </a:ext>
            </a:extLst>
          </p:cNvPr>
          <p:cNvSpPr/>
          <p:nvPr/>
        </p:nvSpPr>
        <p:spPr>
          <a:xfrm>
            <a:off x="6062282" y="1679096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b William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B234EA9-0D79-9C47-8D09-A24C7332BB9B}"/>
              </a:ext>
            </a:extLst>
          </p:cNvPr>
          <p:cNvSpPr/>
          <p:nvPr/>
        </p:nvSpPr>
        <p:spPr>
          <a:xfrm>
            <a:off x="6078290" y="2125459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83D57A9-7A1D-F74B-927D-7D5490C2C28C}"/>
              </a:ext>
            </a:extLst>
          </p:cNvPr>
          <p:cNvSpPr/>
          <p:nvPr/>
        </p:nvSpPr>
        <p:spPr>
          <a:xfrm>
            <a:off x="6078290" y="2621175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AA57A40-8BDE-9A4C-8F66-98B6C9990E8F}"/>
              </a:ext>
            </a:extLst>
          </p:cNvPr>
          <p:cNvSpPr/>
          <p:nvPr/>
        </p:nvSpPr>
        <p:spPr>
          <a:xfrm>
            <a:off x="6078289" y="3117383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njami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591647B-19A2-5F42-8482-6737940A93D9}"/>
              </a:ext>
            </a:extLst>
          </p:cNvPr>
          <p:cNvSpPr/>
          <p:nvPr/>
        </p:nvSpPr>
        <p:spPr>
          <a:xfrm>
            <a:off x="8879452" y="778027"/>
            <a:ext cx="1395425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00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0B992D8-5682-F146-84E1-82F0E94499CD}"/>
              </a:ext>
            </a:extLst>
          </p:cNvPr>
          <p:cNvSpPr/>
          <p:nvPr/>
        </p:nvSpPr>
        <p:spPr>
          <a:xfrm>
            <a:off x="8879451" y="1254290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0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A5E43F8-D2FE-7D4C-9301-2218E55FC52F}"/>
              </a:ext>
            </a:extLst>
          </p:cNvPr>
          <p:cNvSpPr/>
          <p:nvPr/>
        </p:nvSpPr>
        <p:spPr>
          <a:xfrm>
            <a:off x="8879450" y="1711634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1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BCD788-79A3-8945-BCC6-9152E5DB64B3}"/>
              </a:ext>
            </a:extLst>
          </p:cNvPr>
          <p:cNvSpPr/>
          <p:nvPr/>
        </p:nvSpPr>
        <p:spPr>
          <a:xfrm>
            <a:off x="8895458" y="2157997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0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0E02F5-334B-1444-B979-2D0E79A461EF}"/>
              </a:ext>
            </a:extLst>
          </p:cNvPr>
          <p:cNvSpPr/>
          <p:nvPr/>
        </p:nvSpPr>
        <p:spPr>
          <a:xfrm>
            <a:off x="8895458" y="2653713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F62599E-2B4A-B54A-81ED-AD6E01F8FBBF}"/>
              </a:ext>
            </a:extLst>
          </p:cNvPr>
          <p:cNvSpPr/>
          <p:nvPr/>
        </p:nvSpPr>
        <p:spPr>
          <a:xfrm>
            <a:off x="8895457" y="3149921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11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5700211-F607-9A4C-BAA0-6A4F226C0282}"/>
              </a:ext>
            </a:extLst>
          </p:cNvPr>
          <p:cNvSpPr/>
          <p:nvPr/>
        </p:nvSpPr>
        <p:spPr>
          <a:xfrm>
            <a:off x="10405351" y="792875"/>
            <a:ext cx="129653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0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9ABFACD-300C-4242-9A9C-5F3CD1486612}"/>
              </a:ext>
            </a:extLst>
          </p:cNvPr>
          <p:cNvSpPr/>
          <p:nvPr/>
        </p:nvSpPr>
        <p:spPr>
          <a:xfrm>
            <a:off x="10405350" y="1269138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1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9AAD0BA-86DA-8447-91F9-A70207726755}"/>
              </a:ext>
            </a:extLst>
          </p:cNvPr>
          <p:cNvSpPr/>
          <p:nvPr/>
        </p:nvSpPr>
        <p:spPr>
          <a:xfrm>
            <a:off x="10405349" y="1726482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2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80A6CAE-ED72-3D47-9C02-FD62E60A2CE4}"/>
              </a:ext>
            </a:extLst>
          </p:cNvPr>
          <p:cNvSpPr/>
          <p:nvPr/>
        </p:nvSpPr>
        <p:spPr>
          <a:xfrm>
            <a:off x="10421357" y="2172845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0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7D2BD1E-799E-A642-A74C-1EA65BB3AE43}"/>
              </a:ext>
            </a:extLst>
          </p:cNvPr>
          <p:cNvSpPr/>
          <p:nvPr/>
        </p:nvSpPr>
        <p:spPr>
          <a:xfrm>
            <a:off x="10421357" y="2668561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74B6F3-B01D-1342-BDEE-122556E823B6}"/>
              </a:ext>
            </a:extLst>
          </p:cNvPr>
          <p:cNvSpPr/>
          <p:nvPr/>
        </p:nvSpPr>
        <p:spPr>
          <a:xfrm>
            <a:off x="10421356" y="3164769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95F62E8-89A3-6B4F-B0D4-AB025B2F47D4}"/>
              </a:ext>
            </a:extLst>
          </p:cNvPr>
          <p:cNvSpPr txBox="1"/>
          <p:nvPr/>
        </p:nvSpPr>
        <p:spPr>
          <a:xfrm>
            <a:off x="8121549" y="1679096"/>
            <a:ext cx="68504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sz="5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F</a:t>
            </a:r>
            <a:r>
              <a:rPr lang="en-PK" sz="1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h(x)</a:t>
            </a: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CF19AA46-30FB-9D46-BE4D-AAEE9BD4958A}"/>
              </a:ext>
            </a:extLst>
          </p:cNvPr>
          <p:cNvSpPr/>
          <p:nvPr/>
        </p:nvSpPr>
        <p:spPr>
          <a:xfrm>
            <a:off x="11677391" y="796219"/>
            <a:ext cx="241126" cy="276307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963BDCD-6BFD-C346-9D31-2DDF15BC5FD0}"/>
              </a:ext>
            </a:extLst>
          </p:cNvPr>
          <p:cNvSpPr txBox="1"/>
          <p:nvPr/>
        </p:nvSpPr>
        <p:spPr>
          <a:xfrm rot="5400000">
            <a:off x="11704205" y="2040373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Fairwater Script" panose="020F0502020204030204" pitchFamily="34" charset="0"/>
              </a:rPr>
              <a:t>CTID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6D0F4E9D-2CC0-F448-857A-4C5867C83AD9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99364301-BA93-B44C-84F6-3B00FD927B38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A3A96CCB-5F1F-0847-BD89-F8DAE88CA66C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CC7896D3-C803-6344-957E-DF1D7BD9E107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AA57663E-3AB3-D449-9330-4E7004C818CE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7573727B-A34C-3646-90B4-43A28333283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AAEBA1FC-3840-CA47-AE36-8030E83D3B3D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69C40F3D-BA67-C643-9989-4B57DAB86CC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5F443EEB-ABB7-D444-B713-A0718A99A3CD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54" name="Straight Arrow Connector 153">
                <a:extLst>
                  <a:ext uri="{FF2B5EF4-FFF2-40B4-BE49-F238E27FC236}">
                    <a16:creationId xmlns:a16="http://schemas.microsoft.com/office/drawing/2014/main" id="{5F40B937-95FD-B346-828F-F3F50600DC53}"/>
                  </a:ext>
                </a:extLst>
              </p:cNvPr>
              <p:cNvCxnSpPr>
                <a:cxnSpLocks/>
                <a:stCxn id="156" idx="3"/>
                <a:endCxn id="15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Arrow Connector 154">
                <a:extLst>
                  <a:ext uri="{FF2B5EF4-FFF2-40B4-BE49-F238E27FC236}">
                    <a16:creationId xmlns:a16="http://schemas.microsoft.com/office/drawing/2014/main" id="{4D50DFFA-0105-3A42-A922-C416926D4691}"/>
                  </a:ext>
                </a:extLst>
              </p:cNvPr>
              <p:cNvCxnSpPr>
                <a:cxnSpLocks/>
                <a:stCxn id="152" idx="3"/>
                <a:endCxn id="15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1B54B9DF-9754-174F-8572-23CEAA420964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867D0CD-0A4C-EF42-A7E1-F2BA1B09DFF8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82605209-7047-714E-BB5B-E2532F6C571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8B856539-C5B1-2441-A42E-A7C7E63ABA46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E1A11FD5-5F4D-464A-87B2-34DF8F47C5A7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745EEF38-F828-034E-86FE-271E4D0BDB5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2E00ADCA-5050-AE44-88BA-A1BB7C28B7F8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6FEDAC91-0750-0440-A7ED-455DB17FB72E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B91429D4-D0CD-524B-A52F-FAE3486618E5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497825CF-A57D-9241-9751-1AC093C32484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008C0DFC-AE34-3449-9B85-3EFAD4282346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F2EE63A-03E0-DF48-BDFB-80DCE6E730DE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0B9F62F8-8452-5F48-865B-72B46C5030E7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0A41D339-F275-6149-9B7A-2B5ADC73AD1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F2C14038-43E4-7746-A6D8-49D0DEB9C46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C04A3DE6-2EE3-4B4E-A1BA-55498C352DD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9A7CC56B-8716-F043-A499-A8B1B12A9C23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73" name="Left Brace 172">
                <a:extLst>
                  <a:ext uri="{FF2B5EF4-FFF2-40B4-BE49-F238E27FC236}">
                    <a16:creationId xmlns:a16="http://schemas.microsoft.com/office/drawing/2014/main" id="{8D92E0C1-15D9-CA45-A408-7365C60F6A37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23CA98AA-552D-824C-9A9A-72490E8BF17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75" name="Left Brace 174">
                <a:extLst>
                  <a:ext uri="{FF2B5EF4-FFF2-40B4-BE49-F238E27FC236}">
                    <a16:creationId xmlns:a16="http://schemas.microsoft.com/office/drawing/2014/main" id="{86E15A2F-902E-8746-AA40-77C5BF1E161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76" name="Curved Connector 175">
                <a:extLst>
                  <a:ext uri="{FF2B5EF4-FFF2-40B4-BE49-F238E27FC236}">
                    <a16:creationId xmlns:a16="http://schemas.microsoft.com/office/drawing/2014/main" id="{AC2287F6-1F1F-884E-83DC-3A039CB98CAF}"/>
                  </a:ext>
                </a:extLst>
              </p:cNvPr>
              <p:cNvCxnSpPr>
                <a:cxnSpLocks/>
                <a:stCxn id="156" idx="2"/>
                <a:endCxn id="15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Curved Connector 176">
                <a:extLst>
                  <a:ext uri="{FF2B5EF4-FFF2-40B4-BE49-F238E27FC236}">
                    <a16:creationId xmlns:a16="http://schemas.microsoft.com/office/drawing/2014/main" id="{7510F551-9641-DA42-AE04-8EDEC68A3492}"/>
                  </a:ext>
                </a:extLst>
              </p:cNvPr>
              <p:cNvCxnSpPr>
                <a:cxnSpLocks/>
                <a:stCxn id="152" idx="2"/>
                <a:endCxn id="16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Curved Connector 177">
                <a:extLst>
                  <a:ext uri="{FF2B5EF4-FFF2-40B4-BE49-F238E27FC236}">
                    <a16:creationId xmlns:a16="http://schemas.microsoft.com/office/drawing/2014/main" id="{8E166EEF-E26E-CF47-BB69-9FDF374C1D10}"/>
                  </a:ext>
                </a:extLst>
              </p:cNvPr>
              <p:cNvCxnSpPr>
                <a:cxnSpLocks/>
                <a:stCxn id="153" idx="2"/>
                <a:endCxn id="17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Left Brace 178">
                <a:extLst>
                  <a:ext uri="{FF2B5EF4-FFF2-40B4-BE49-F238E27FC236}">
                    <a16:creationId xmlns:a16="http://schemas.microsoft.com/office/drawing/2014/main" id="{0A7071BB-2AEB-484F-AECA-DDC8DD8A8526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7B244665-9BC3-D14C-8EA6-19CCAD0424A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08" name="Right Brace 107">
              <a:extLst>
                <a:ext uri="{FF2B5EF4-FFF2-40B4-BE49-F238E27FC236}">
                  <a16:creationId xmlns:a16="http://schemas.microsoft.com/office/drawing/2014/main" id="{30EC857D-8736-5740-9D00-06EE0298C770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109" name="Right Brace 108">
              <a:extLst>
                <a:ext uri="{FF2B5EF4-FFF2-40B4-BE49-F238E27FC236}">
                  <a16:creationId xmlns:a16="http://schemas.microsoft.com/office/drawing/2014/main" id="{A3EC28D4-4CEF-AF4F-BAAE-2A84734FDC1E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BEDED69-E06E-3742-8D2E-E0522B70BAB3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77ABB7C-CC1C-7C40-ACA5-F1A986E1A7A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9296DC63-6AA1-454B-8145-76176247AC1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0B889266-2BEE-8745-AA7C-301F24D7130F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EA8B6BD9-B774-7F46-BDB7-478357D68C0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B19B3B0-03AF-7F41-87AA-DB6E38CC32A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79A5A34-AF67-E846-B93F-B20F0E86590D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CE6C5C96-2701-0940-B1A4-773E92E220C7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0" name="Straight Arrow Connector 119">
                <a:extLst>
                  <a:ext uri="{FF2B5EF4-FFF2-40B4-BE49-F238E27FC236}">
                    <a16:creationId xmlns:a16="http://schemas.microsoft.com/office/drawing/2014/main" id="{991B66C3-08C9-A94F-85DC-F53B9EFF00E8}"/>
                  </a:ext>
                </a:extLst>
              </p:cNvPr>
              <p:cNvCxnSpPr>
                <a:cxnSpLocks/>
                <a:stCxn id="122" idx="3"/>
                <a:endCxn id="118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Arrow Connector 120">
                <a:extLst>
                  <a:ext uri="{FF2B5EF4-FFF2-40B4-BE49-F238E27FC236}">
                    <a16:creationId xmlns:a16="http://schemas.microsoft.com/office/drawing/2014/main" id="{D867036B-5819-6D42-821A-BE2C892E0397}"/>
                  </a:ext>
                </a:extLst>
              </p:cNvPr>
              <p:cNvCxnSpPr>
                <a:cxnSpLocks/>
                <a:stCxn id="118" idx="3"/>
                <a:endCxn id="119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8685655B-DF3E-2344-8B9F-68F529CD7FDE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66DCC048-0714-3249-A957-1C9DFE8C691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390A63F3-5ED1-D44C-9362-E052D8E55F34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3C2CDAD-9240-0741-818F-BC72570107A7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2DA506BD-602B-FE46-B38C-6A3356A17720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A7819987-9607-F246-AA31-2B49969D7C9F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6BF130E3-4694-EC49-AA33-A6B5C5AA527D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2081EE4-CB4E-384D-A7AD-06B01F5F2AD9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6E85A614-BF56-7F4D-8B87-952F492EF54E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D517D411-1D3E-9B4B-94D8-1ED76D6ABF42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94AD87E3-B09C-7445-941D-3FA9B5B4F5A9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E6EBFAE-06CE-104E-ACC4-0CFCEF58AD2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B4F00EFE-2C0F-9347-92FD-1D7446D928D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17651671-5B93-A04E-8A3E-2884D0E53A7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A3A7AE5D-2601-8B4C-A21D-53CE2F5A49E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2BC84DA-99D1-1D45-8330-A04A627081BD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787D637A-0FFD-6C41-A11F-1B6B0F96B36C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39" name="Left Brace 138">
                <a:extLst>
                  <a:ext uri="{FF2B5EF4-FFF2-40B4-BE49-F238E27FC236}">
                    <a16:creationId xmlns:a16="http://schemas.microsoft.com/office/drawing/2014/main" id="{3E336180-3772-4044-B080-9EBB8F010A08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58C3BC7-B73E-AD4D-8293-B2DD7C493F59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1" name="Left Brace 140">
                <a:extLst>
                  <a:ext uri="{FF2B5EF4-FFF2-40B4-BE49-F238E27FC236}">
                    <a16:creationId xmlns:a16="http://schemas.microsoft.com/office/drawing/2014/main" id="{79A57690-1658-C740-851A-2F8B6EB3B53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42" name="Curved Connector 141">
                <a:extLst>
                  <a:ext uri="{FF2B5EF4-FFF2-40B4-BE49-F238E27FC236}">
                    <a16:creationId xmlns:a16="http://schemas.microsoft.com/office/drawing/2014/main" id="{897948F9-1435-B44E-815C-F6055F96D2C7}"/>
                  </a:ext>
                </a:extLst>
              </p:cNvPr>
              <p:cNvCxnSpPr>
                <a:stCxn id="122" idx="2"/>
                <a:endCxn id="123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Curved Connector 142">
                <a:extLst>
                  <a:ext uri="{FF2B5EF4-FFF2-40B4-BE49-F238E27FC236}">
                    <a16:creationId xmlns:a16="http://schemas.microsoft.com/office/drawing/2014/main" id="{162C6A13-1A44-D143-8DC7-036C892FE97E}"/>
                  </a:ext>
                </a:extLst>
              </p:cNvPr>
              <p:cNvCxnSpPr>
                <a:stCxn id="118" idx="2"/>
                <a:endCxn id="133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Curved Connector 143">
                <a:extLst>
                  <a:ext uri="{FF2B5EF4-FFF2-40B4-BE49-F238E27FC236}">
                    <a16:creationId xmlns:a16="http://schemas.microsoft.com/office/drawing/2014/main" id="{BC426609-9A66-1541-82B4-647A61EB15BE}"/>
                  </a:ext>
                </a:extLst>
              </p:cNvPr>
              <p:cNvCxnSpPr>
                <a:stCxn id="119" idx="2"/>
                <a:endCxn id="136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5" name="Left Brace 144">
                <a:extLst>
                  <a:ext uri="{FF2B5EF4-FFF2-40B4-BE49-F238E27FC236}">
                    <a16:creationId xmlns:a16="http://schemas.microsoft.com/office/drawing/2014/main" id="{D4D774A6-0AD9-6842-8FBE-EDF5A9E3B9C0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56E3340-0402-D34B-8874-F7CBF8342F91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F355B17-945F-1B49-ABC8-28093AE84B24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9838D07-F3B0-7746-9B42-9C35B896845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984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3200" dirty="0">
                <a:solidFill>
                  <a:schemeClr val="tx1"/>
                </a:solidFill>
                <a:cs typeface="Arial" pitchFamily="34" charset="0"/>
                <a:sym typeface="Arial"/>
              </a:rPr>
              <a:t>Linux Tuning for PostgreSQL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9813510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8111252-3BA5-3449-83DE-C36BB4054529}"/>
              </a:ext>
            </a:extLst>
          </p:cNvPr>
          <p:cNvGrpSpPr/>
          <p:nvPr/>
        </p:nvGrpSpPr>
        <p:grpSpPr>
          <a:xfrm>
            <a:off x="1440000" y="1440000"/>
            <a:ext cx="9563201" cy="4743246"/>
            <a:chOff x="1440000" y="1440000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000" y="1440000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0626" y="3214253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8506" y="1440000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6388" y="3214253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4268" y="1440000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873932" y="2591640"/>
              <a:ext cx="2317353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mory Architectu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863752" y="2918920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ow to create indexes in PostgreSQ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200400" y="4507650"/>
              <a:ext cx="2590799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Tunning Parameters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505759" y="4788164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ne your Linux Box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163006" y="2591640"/>
              <a:ext cx="2430443" cy="30271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lnSpc>
                  <a:spcPts val="1750"/>
                </a:lnSpc>
              </a:pPr>
              <a:r>
                <a:rPr lang="es-NI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uge Pages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163006" y="2918920"/>
              <a:ext cx="2134705" cy="352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Linux Huge page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805013" y="4507650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Monitoring</a:t>
              </a:r>
              <a:endParaRPr lang="ko-KR" altLang="en-US" sz="1400" b="1" dirty="0">
                <a:solidFill>
                  <a:schemeClr val="tx2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805013" y="4788164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nitor your Linux O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146468" y="2591640"/>
              <a:ext cx="2812472" cy="30271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lnSpc>
                  <a:spcPts val="1750"/>
                </a:lnSpc>
              </a:pPr>
              <a:r>
                <a:rPr lang="es-NI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ransparent Huge Pages</a:t>
              </a:r>
              <a:endPara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459984" y="2918920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inux Transparent Huge Pages</a:t>
              </a:r>
            </a:p>
          </p:txBody>
        </p:sp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17A8074-FACB-1540-87D6-EC54D67A7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7474855" y="3848429"/>
              <a:ext cx="792000" cy="339319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128331" y="3729449"/>
              <a:ext cx="720000" cy="792000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485346" y="1680441"/>
              <a:ext cx="792000" cy="720000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9026773" y="1680441"/>
              <a:ext cx="792000" cy="720000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947C71-FCDD-2740-86A0-9426083EA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Linux Tunning</a:t>
            </a:r>
          </a:p>
        </p:txBody>
      </p:sp>
    </p:spTree>
    <p:extLst>
      <p:ext uri="{BB962C8B-B14F-4D97-AF65-F5344CB8AC3E}">
        <p14:creationId xmlns:p14="http://schemas.microsoft.com/office/powerpoint/2010/main" val="176342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56F0C-847B-194F-BB59-58226A830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Input Output Handling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7C0B1B-8697-9748-BC62-4F6541F86B0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 IO, Buffered IO and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believes that the Operating system (Kernel) knows much better about storage and IO scheduling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has its own buffering; and also needs the pages cache. 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ncrease the use of memory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And different kernel and setting behave differently.</a:t>
            </a:r>
          </a:p>
        </p:txBody>
      </p:sp>
    </p:spTree>
    <p:extLst>
      <p:ext uri="{BB962C8B-B14F-4D97-AF65-F5344CB8AC3E}">
        <p14:creationId xmlns:p14="http://schemas.microsoft.com/office/powerpoint/2010/main" val="79340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B6FED-E565-6740-A6A9-E3C1C03F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irtual Memory</a:t>
            </a:r>
            <a:endParaRPr lang="en-P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719E0-5167-964D-B2B2-321AF09C3A3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very process is given the impression that it is working with large, contiguous sections of memory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ach process runs in its own dedicated address spac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Pages Table are used to translate the virtual addresses seen by the application into Physical Address</a:t>
            </a:r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086C91F-0853-3743-8ED7-AEF6F387E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1965" y="2536466"/>
            <a:ext cx="2263472" cy="355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2B692D-DB90-5441-AA6A-6FC9C814715C}"/>
              </a:ext>
            </a:extLst>
          </p:cNvPr>
          <p:cNvSpPr/>
          <p:nvPr/>
        </p:nvSpPr>
        <p:spPr>
          <a:xfrm>
            <a:off x="161763" y="6256473"/>
            <a:ext cx="118967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  <a:hlinkClick r:id="rId4"/>
              </a:rPr>
              <a:t>https://en.wikipedia.org/wiki/Virtual_memory</a:t>
            </a: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hlinkClick r:id="rId5"/>
              </a:rPr>
              <a:t>https://en.wikipedia.org/wiki/Page_table</a:t>
            </a:r>
            <a:endParaRPr lang="en-US" sz="1200" dirty="0">
              <a:latin typeface="+mj-lt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B2C3B6AE-6E2D-5044-B0B1-D5DAF96D61C6}"/>
              </a:ext>
            </a:extLst>
          </p:cNvPr>
          <p:cNvSpPr txBox="1">
            <a:spLocks/>
          </p:cNvSpPr>
          <p:nvPr/>
        </p:nvSpPr>
        <p:spPr>
          <a:xfrm>
            <a:off x="323529" y="4004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0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FD288-729E-E74A-9E56-21C03736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lation Lookaside Buffer (TLB)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C8110F-0B18-9648-A182-64FE7F7E093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ranslation Lookaside Buffer is a memory cache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 reduce the time to  access a user memory loc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a match is found the physical address of the page is returned → </a:t>
            </a:r>
            <a:r>
              <a:rPr lang="en-US" dirty="0">
                <a:solidFill>
                  <a:srgbClr val="FF4100"/>
                </a:solidFill>
              </a:rPr>
              <a:t>TLB hi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match not found scan the page table (</a:t>
            </a:r>
            <a:r>
              <a:rPr lang="en-US" i="1" dirty="0"/>
              <a:t>walk</a:t>
            </a:r>
            <a:r>
              <a:rPr lang="en-US" dirty="0"/>
              <a:t>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   looking for the address mapping (entry) → </a:t>
            </a:r>
            <a:r>
              <a:rPr lang="en-US" dirty="0">
                <a:solidFill>
                  <a:srgbClr val="FF4100"/>
                </a:solidFill>
              </a:rPr>
              <a:t>TLB mis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FF4100"/>
              </a:solidFill>
            </a:endParaRPr>
          </a:p>
          <a:p>
            <a:endParaRPr lang="en-PK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4A19334-87FE-B54A-86DC-A92361FC7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509" y="1657148"/>
            <a:ext cx="4908163" cy="3386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9E81597-CFCB-CD49-9083-4A04813B0F07}"/>
              </a:ext>
            </a:extLst>
          </p:cNvPr>
          <p:cNvSpPr/>
          <p:nvPr/>
        </p:nvSpPr>
        <p:spPr>
          <a:xfrm>
            <a:off x="861988" y="6364951"/>
            <a:ext cx="3302955" cy="3350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Small page size bigger </a:t>
            </a:r>
            <a:r>
              <a:rPr lang="en-US" sz="1200" i="1" u="sng" dirty="0">
                <a:solidFill>
                  <a:srgbClr val="0070C0"/>
                </a:solidFill>
              </a:rPr>
              <a:t>TLB</a:t>
            </a:r>
            <a:r>
              <a:rPr lang="en-US" sz="1200" i="1" dirty="0">
                <a:solidFill>
                  <a:srgbClr val="0070C0"/>
                </a:solidFill>
              </a:rPr>
              <a:t> size → expensive</a:t>
            </a:r>
          </a:p>
        </p:txBody>
      </p:sp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86208BBD-894C-4E4E-B32C-82DEA306F401}"/>
              </a:ext>
            </a:extLst>
          </p:cNvPr>
          <p:cNvSpPr/>
          <p:nvPr/>
        </p:nvSpPr>
        <p:spPr>
          <a:xfrm rot="16200000" flipH="1">
            <a:off x="402840" y="6347509"/>
            <a:ext cx="335091" cy="36997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1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7C5EEC-C4AA-8748-BF42-7B279984F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sym typeface="Calibri"/>
              </a:rPr>
              <a:t>Memory Pages</a:t>
            </a:r>
            <a:endParaRPr lang="en-P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D2B0E7-70BA-8741-A0EB-D094F584431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6A7A9BFF-5007-6441-9F28-469BD54A817A}"/>
              </a:ext>
            </a:extLst>
          </p:cNvPr>
          <p:cNvSpPr txBox="1">
            <a:spLocks/>
          </p:cNvSpPr>
          <p:nvPr/>
        </p:nvSpPr>
        <p:spPr>
          <a:xfrm>
            <a:off x="475929" y="5528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66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5E4BDA-49A2-6A43-A575-93C10C6E344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 flipH="1">
            <a:off x="366729" y="587631"/>
            <a:ext cx="5488528" cy="5662337"/>
          </a:xfrm>
          <a:prstGeom prst="rect">
            <a:avLst/>
          </a:prstGeom>
          <a:noFill/>
        </p:spPr>
      </p:pic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1124330" y="3688783"/>
            <a:ext cx="4748072" cy="6814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3200" dirty="0"/>
              <a:t>Database Performance</a:t>
            </a:r>
            <a:endParaRPr sz="3200"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1592820" y="792473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32C66F-BD5D-9641-8C69-54D2B34FDC2D}"/>
              </a:ext>
            </a:extLst>
          </p:cNvPr>
          <p:cNvGrpSpPr/>
          <p:nvPr/>
        </p:nvGrpSpPr>
        <p:grpSpPr>
          <a:xfrm>
            <a:off x="6905408" y="1266601"/>
            <a:ext cx="3834352" cy="3632953"/>
            <a:chOff x="7230978" y="2590849"/>
            <a:chExt cx="9915696" cy="10362237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1E9E8D7-670A-964A-84DB-39467BDD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978" y="9499615"/>
              <a:ext cx="4235443" cy="2801055"/>
            </a:xfrm>
            <a:custGeom>
              <a:avLst/>
              <a:gdLst>
                <a:gd name="connsiteX0" fmla="*/ 24813 w 4235443"/>
                <a:gd name="connsiteY0" fmla="*/ 0 h 2801055"/>
                <a:gd name="connsiteX1" fmla="*/ 1223186 w 4235443"/>
                <a:gd name="connsiteY1" fmla="*/ 0 h 2801055"/>
                <a:gd name="connsiteX2" fmla="*/ 1075088 w 4235443"/>
                <a:gd name="connsiteY2" fmla="*/ 315198 h 2801055"/>
                <a:gd name="connsiteX3" fmla="*/ 1686681 w 4235443"/>
                <a:gd name="connsiteY3" fmla="*/ 800328 h 2801055"/>
                <a:gd name="connsiteX4" fmla="*/ 2297360 w 4235443"/>
                <a:gd name="connsiteY4" fmla="*/ 315198 h 2801055"/>
                <a:gd name="connsiteX5" fmla="*/ 2148347 w 4235443"/>
                <a:gd name="connsiteY5" fmla="*/ 0 h 2801055"/>
                <a:gd name="connsiteX6" fmla="*/ 3455639 w 4235443"/>
                <a:gd name="connsiteY6" fmla="*/ 0 h 2801055"/>
                <a:gd name="connsiteX7" fmla="*/ 3455639 w 4235443"/>
                <a:gd name="connsiteY7" fmla="*/ 1221506 h 2801055"/>
                <a:gd name="connsiteX8" fmla="*/ 3468437 w 4235443"/>
                <a:gd name="connsiteY8" fmla="*/ 1209629 h 2801055"/>
                <a:gd name="connsiteX9" fmla="*/ 3750922 w 4235443"/>
                <a:gd name="connsiteY9" fmla="*/ 1094513 h 2801055"/>
                <a:gd name="connsiteX10" fmla="*/ 4235443 w 4235443"/>
                <a:gd name="connsiteY10" fmla="*/ 1705723 h 2801055"/>
                <a:gd name="connsiteX11" fmla="*/ 3750922 w 4235443"/>
                <a:gd name="connsiteY11" fmla="*/ 2316019 h 2801055"/>
                <a:gd name="connsiteX12" fmla="*/ 3468437 w 4235443"/>
                <a:gd name="connsiteY12" fmla="*/ 2201817 h 2801055"/>
                <a:gd name="connsiteX13" fmla="*/ 3455639 w 4235443"/>
                <a:gd name="connsiteY13" fmla="*/ 2189939 h 2801055"/>
                <a:gd name="connsiteX14" fmla="*/ 3455639 w 4235443"/>
                <a:gd name="connsiteY14" fmla="*/ 2801055 h 2801055"/>
                <a:gd name="connsiteX15" fmla="*/ 3455582 w 4235443"/>
                <a:gd name="connsiteY15" fmla="*/ 2800991 h 2801055"/>
                <a:gd name="connsiteX16" fmla="*/ 2770916 w 4235443"/>
                <a:gd name="connsiteY16" fmla="*/ 2562329 h 2801055"/>
                <a:gd name="connsiteX17" fmla="*/ 1167856 w 4235443"/>
                <a:gd name="connsiteY17" fmla="*/ 2514694 h 2801055"/>
                <a:gd name="connsiteX18" fmla="*/ 977983 w 4235443"/>
                <a:gd name="connsiteY18" fmla="*/ 1620118 h 2801055"/>
                <a:gd name="connsiteX19" fmla="*/ 677411 w 4235443"/>
                <a:gd name="connsiteY19" fmla="*/ 1270554 h 2801055"/>
                <a:gd name="connsiteX20" fmla="*/ 869385 w 4235443"/>
                <a:gd name="connsiteY20" fmla="*/ 1030272 h 2801055"/>
                <a:gd name="connsiteX21" fmla="*/ 537283 w 4235443"/>
                <a:gd name="connsiteY21" fmla="*/ 806805 h 2801055"/>
                <a:gd name="connsiteX22" fmla="*/ 333397 w 4235443"/>
                <a:gd name="connsiteY22" fmla="*/ 438325 h 2801055"/>
                <a:gd name="connsiteX23" fmla="*/ 9440 w 4235443"/>
                <a:gd name="connsiteY23" fmla="*/ 44278 h 280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235443" h="2801055">
                  <a:moveTo>
                    <a:pt x="24813" y="0"/>
                  </a:moveTo>
                  <a:lnTo>
                    <a:pt x="1223186" y="0"/>
                  </a:lnTo>
                  <a:cubicBezTo>
                    <a:pt x="1130853" y="84966"/>
                    <a:pt x="1075088" y="194600"/>
                    <a:pt x="1075088" y="315198"/>
                  </a:cubicBezTo>
                  <a:cubicBezTo>
                    <a:pt x="1075088" y="582887"/>
                    <a:pt x="1348430" y="800328"/>
                    <a:pt x="1686681" y="800328"/>
                  </a:cubicBezTo>
                  <a:cubicBezTo>
                    <a:pt x="2023103" y="800328"/>
                    <a:pt x="2297360" y="582887"/>
                    <a:pt x="2297360" y="315198"/>
                  </a:cubicBezTo>
                  <a:cubicBezTo>
                    <a:pt x="2297360" y="194600"/>
                    <a:pt x="2241594" y="84966"/>
                    <a:pt x="2148347" y="0"/>
                  </a:cubicBezTo>
                  <a:lnTo>
                    <a:pt x="3455639" y="0"/>
                  </a:lnTo>
                  <a:lnTo>
                    <a:pt x="3455639" y="1221506"/>
                  </a:lnTo>
                  <a:cubicBezTo>
                    <a:pt x="3460210" y="1216937"/>
                    <a:pt x="3464780" y="1213283"/>
                    <a:pt x="3468437" y="1209629"/>
                  </a:cubicBezTo>
                  <a:cubicBezTo>
                    <a:pt x="3547972" y="1137453"/>
                    <a:pt x="3645790" y="1094513"/>
                    <a:pt x="3750922" y="1094513"/>
                  </a:cubicBezTo>
                  <a:cubicBezTo>
                    <a:pt x="4018780" y="1094513"/>
                    <a:pt x="4235443" y="1368598"/>
                    <a:pt x="4235443" y="1705723"/>
                  </a:cubicBezTo>
                  <a:cubicBezTo>
                    <a:pt x="4235443" y="2042847"/>
                    <a:pt x="4018780" y="2316019"/>
                    <a:pt x="3750922" y="2316019"/>
                  </a:cubicBezTo>
                  <a:cubicBezTo>
                    <a:pt x="3645790" y="2316019"/>
                    <a:pt x="3547972" y="2273992"/>
                    <a:pt x="3468437" y="2201817"/>
                  </a:cubicBezTo>
                  <a:cubicBezTo>
                    <a:pt x="3464780" y="2198162"/>
                    <a:pt x="3460210" y="2194507"/>
                    <a:pt x="3455639" y="2189939"/>
                  </a:cubicBezTo>
                  <a:lnTo>
                    <a:pt x="3455639" y="2801055"/>
                  </a:lnTo>
                  <a:lnTo>
                    <a:pt x="3455582" y="2800991"/>
                  </a:lnTo>
                  <a:cubicBezTo>
                    <a:pt x="3292322" y="2647969"/>
                    <a:pt x="3070964" y="2550420"/>
                    <a:pt x="2770916" y="2562329"/>
                  </a:cubicBezTo>
                  <a:cubicBezTo>
                    <a:pt x="1570724" y="2609965"/>
                    <a:pt x="1455818" y="2964434"/>
                    <a:pt x="1167856" y="2514694"/>
                  </a:cubicBezTo>
                  <a:cubicBezTo>
                    <a:pt x="879894" y="2064254"/>
                    <a:pt x="1172060" y="1812063"/>
                    <a:pt x="977983" y="1620118"/>
                  </a:cubicBezTo>
                  <a:cubicBezTo>
                    <a:pt x="977983" y="1620118"/>
                    <a:pt x="681614" y="1466701"/>
                    <a:pt x="677411" y="1270554"/>
                  </a:cubicBezTo>
                  <a:cubicBezTo>
                    <a:pt x="673206" y="1074407"/>
                    <a:pt x="869385" y="1030272"/>
                    <a:pt x="869385" y="1030272"/>
                  </a:cubicBezTo>
                  <a:cubicBezTo>
                    <a:pt x="869385" y="1030272"/>
                    <a:pt x="549894" y="1018363"/>
                    <a:pt x="537283" y="806805"/>
                  </a:cubicBezTo>
                  <a:cubicBezTo>
                    <a:pt x="525372" y="594543"/>
                    <a:pt x="669003" y="578432"/>
                    <a:pt x="333397" y="438325"/>
                  </a:cubicBezTo>
                  <a:cubicBezTo>
                    <a:pt x="81167" y="333770"/>
                    <a:pt x="-35489" y="235522"/>
                    <a:pt x="9440" y="44278"/>
                  </a:cubicBezTo>
                  <a:close/>
                </a:path>
              </a:pathLst>
            </a:custGeom>
            <a:solidFill>
              <a:schemeClr val="accent2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BC08805-423F-8047-B090-9ACA94F47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9499615"/>
              <a:ext cx="3441376" cy="3453471"/>
            </a:xfrm>
            <a:custGeom>
              <a:avLst/>
              <a:gdLst>
                <a:gd name="connsiteX0" fmla="*/ 0 w 3441376"/>
                <a:gd name="connsiteY0" fmla="*/ 0 h 3453471"/>
                <a:gd name="connsiteX1" fmla="*/ 1265037 w 3441376"/>
                <a:gd name="connsiteY1" fmla="*/ 0 h 3453471"/>
                <a:gd name="connsiteX2" fmla="*/ 1116048 w 3441376"/>
                <a:gd name="connsiteY2" fmla="*/ 315198 h 3453471"/>
                <a:gd name="connsiteX3" fmla="*/ 1726629 w 3441376"/>
                <a:gd name="connsiteY3" fmla="*/ 800328 h 3453471"/>
                <a:gd name="connsiteX4" fmla="*/ 2338125 w 3441376"/>
                <a:gd name="connsiteY4" fmla="*/ 315198 h 3453471"/>
                <a:gd name="connsiteX5" fmla="*/ 2190050 w 3441376"/>
                <a:gd name="connsiteY5" fmla="*/ 0 h 3453471"/>
                <a:gd name="connsiteX6" fmla="*/ 3441376 w 3441376"/>
                <a:gd name="connsiteY6" fmla="*/ 0 h 3453471"/>
                <a:gd name="connsiteX7" fmla="*/ 3441376 w 3441376"/>
                <a:gd name="connsiteY7" fmla="*/ 1221506 h 3453471"/>
                <a:gd name="connsiteX8" fmla="*/ 3146140 w 3441376"/>
                <a:gd name="connsiteY8" fmla="*/ 1094513 h 3453471"/>
                <a:gd name="connsiteX9" fmla="*/ 2661696 w 3441376"/>
                <a:gd name="connsiteY9" fmla="*/ 1705723 h 3453471"/>
                <a:gd name="connsiteX10" fmla="*/ 3146140 w 3441376"/>
                <a:gd name="connsiteY10" fmla="*/ 2316019 h 3453471"/>
                <a:gd name="connsiteX11" fmla="*/ 3441376 w 3441376"/>
                <a:gd name="connsiteY11" fmla="*/ 2189939 h 3453471"/>
                <a:gd name="connsiteX12" fmla="*/ 3441376 w 3441376"/>
                <a:gd name="connsiteY12" fmla="*/ 3453471 h 3453471"/>
                <a:gd name="connsiteX13" fmla="*/ 359996 w 3441376"/>
                <a:gd name="connsiteY13" fmla="*/ 3453471 h 3453471"/>
                <a:gd name="connsiteX14" fmla="*/ 337274 w 3441376"/>
                <a:gd name="connsiteY14" fmla="*/ 3372491 h 3453471"/>
                <a:gd name="connsiteX15" fmla="*/ 1198 w 3441376"/>
                <a:gd name="connsiteY15" fmla="*/ 2800991 h 3453471"/>
                <a:gd name="connsiteX16" fmla="*/ 0 w 3441376"/>
                <a:gd name="connsiteY16" fmla="*/ 2800063 h 3453471"/>
                <a:gd name="connsiteX17" fmla="*/ 0 w 3441376"/>
                <a:gd name="connsiteY17" fmla="*/ 2201817 h 3453471"/>
                <a:gd name="connsiteX18" fmla="*/ 281526 w 3441376"/>
                <a:gd name="connsiteY18" fmla="*/ 2316019 h 3453471"/>
                <a:gd name="connsiteX19" fmla="*/ 766883 w 3441376"/>
                <a:gd name="connsiteY19" fmla="*/ 1705723 h 3453471"/>
                <a:gd name="connsiteX20" fmla="*/ 281526 w 3441376"/>
                <a:gd name="connsiteY20" fmla="*/ 1094513 h 3453471"/>
                <a:gd name="connsiteX21" fmla="*/ 0 w 3441376"/>
                <a:gd name="connsiteY21" fmla="*/ 1209629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1376" h="3453471">
                  <a:moveTo>
                    <a:pt x="0" y="0"/>
                  </a:moveTo>
                  <a:lnTo>
                    <a:pt x="1265037" y="0"/>
                  </a:lnTo>
                  <a:cubicBezTo>
                    <a:pt x="1171804" y="84966"/>
                    <a:pt x="1116048" y="194600"/>
                    <a:pt x="1116048" y="315198"/>
                  </a:cubicBezTo>
                  <a:cubicBezTo>
                    <a:pt x="1116048" y="582887"/>
                    <a:pt x="1390261" y="800328"/>
                    <a:pt x="1726629" y="800328"/>
                  </a:cubicBezTo>
                  <a:cubicBezTo>
                    <a:pt x="2064826" y="800328"/>
                    <a:pt x="2338125" y="582887"/>
                    <a:pt x="2338125" y="315198"/>
                  </a:cubicBezTo>
                  <a:cubicBezTo>
                    <a:pt x="2338125" y="194600"/>
                    <a:pt x="2282368" y="84966"/>
                    <a:pt x="2190050" y="0"/>
                  </a:cubicBezTo>
                  <a:lnTo>
                    <a:pt x="3441376" y="0"/>
                  </a:lnTo>
                  <a:lnTo>
                    <a:pt x="3441376" y="1221506"/>
                  </a:lnTo>
                  <a:cubicBezTo>
                    <a:pt x="3359112" y="1142021"/>
                    <a:pt x="3257653" y="1094513"/>
                    <a:pt x="3146140" y="1094513"/>
                  </a:cubicBezTo>
                  <a:cubicBezTo>
                    <a:pt x="2879239" y="1094513"/>
                    <a:pt x="2661696" y="1368598"/>
                    <a:pt x="2661696" y="1705723"/>
                  </a:cubicBezTo>
                  <a:cubicBezTo>
                    <a:pt x="2661696" y="2042847"/>
                    <a:pt x="2879239" y="2316019"/>
                    <a:pt x="3146140" y="2316019"/>
                  </a:cubicBezTo>
                  <a:cubicBezTo>
                    <a:pt x="3257653" y="2316019"/>
                    <a:pt x="3359112" y="2269424"/>
                    <a:pt x="3441376" y="2189939"/>
                  </a:cubicBezTo>
                  <a:lnTo>
                    <a:pt x="3441376" y="3453471"/>
                  </a:lnTo>
                  <a:lnTo>
                    <a:pt x="359996" y="3453471"/>
                  </a:lnTo>
                  <a:lnTo>
                    <a:pt x="337274" y="3372491"/>
                  </a:lnTo>
                  <a:cubicBezTo>
                    <a:pt x="269619" y="3162507"/>
                    <a:pt x="164457" y="2954013"/>
                    <a:pt x="1198" y="2800991"/>
                  </a:cubicBezTo>
                  <a:lnTo>
                    <a:pt x="0" y="2800063"/>
                  </a:lnTo>
                  <a:lnTo>
                    <a:pt x="0" y="2201817"/>
                  </a:lnTo>
                  <a:cubicBezTo>
                    <a:pt x="78608" y="2273992"/>
                    <a:pt x="176410" y="2316019"/>
                    <a:pt x="281526" y="2316019"/>
                  </a:cubicBezTo>
                  <a:cubicBezTo>
                    <a:pt x="550255" y="2316019"/>
                    <a:pt x="766883" y="2042847"/>
                    <a:pt x="766883" y="1705723"/>
                  </a:cubicBezTo>
                  <a:cubicBezTo>
                    <a:pt x="766883" y="1368598"/>
                    <a:pt x="550255" y="1094513"/>
                    <a:pt x="281526" y="1094513"/>
                  </a:cubicBezTo>
                  <a:cubicBezTo>
                    <a:pt x="176410" y="1094513"/>
                    <a:pt x="78608" y="1137453"/>
                    <a:pt x="0" y="1209629"/>
                  </a:cubicBezTo>
                  <a:close/>
                </a:path>
              </a:pathLst>
            </a:custGeom>
            <a:solidFill>
              <a:schemeClr val="accent3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B4BBB9F-33D3-0943-991C-F295DD536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5661" y="6045234"/>
              <a:ext cx="4251067" cy="4255595"/>
            </a:xfrm>
            <a:custGeom>
              <a:avLst/>
              <a:gdLst>
                <a:gd name="connsiteX0" fmla="*/ 645037 w 4251067"/>
                <a:gd name="connsiteY0" fmla="*/ 0 h 4255595"/>
                <a:gd name="connsiteX1" fmla="*/ 1198004 w 4251067"/>
                <a:gd name="connsiteY1" fmla="*/ 0 h 4255595"/>
                <a:gd name="connsiteX2" fmla="*/ 1049966 w 4251067"/>
                <a:gd name="connsiteY2" fmla="*/ 316313 h 4255595"/>
                <a:gd name="connsiteX3" fmla="*/ 1661310 w 4251067"/>
                <a:gd name="connsiteY3" fmla="*/ 800838 h 4255595"/>
                <a:gd name="connsiteX4" fmla="*/ 2271739 w 4251067"/>
                <a:gd name="connsiteY4" fmla="*/ 316313 h 4255595"/>
                <a:gd name="connsiteX5" fmla="*/ 2122787 w 4251067"/>
                <a:gd name="connsiteY5" fmla="*/ 0 h 4255595"/>
                <a:gd name="connsiteX6" fmla="*/ 3429546 w 4251067"/>
                <a:gd name="connsiteY6" fmla="*/ 0 h 4255595"/>
                <a:gd name="connsiteX7" fmla="*/ 3429546 w 4251067"/>
                <a:gd name="connsiteY7" fmla="*/ 1267994 h 4255595"/>
                <a:gd name="connsiteX8" fmla="*/ 3442339 w 4251067"/>
                <a:gd name="connsiteY8" fmla="*/ 1253367 h 4255595"/>
                <a:gd name="connsiteX9" fmla="*/ 3766744 w 4251067"/>
                <a:gd name="connsiteY9" fmla="*/ 1096124 h 4255595"/>
                <a:gd name="connsiteX10" fmla="*/ 4251067 w 4251067"/>
                <a:gd name="connsiteY10" fmla="*/ 1706809 h 4255595"/>
                <a:gd name="connsiteX11" fmla="*/ 3766744 w 4251067"/>
                <a:gd name="connsiteY11" fmla="*/ 2318408 h 4255595"/>
                <a:gd name="connsiteX12" fmla="*/ 3442339 w 4251067"/>
                <a:gd name="connsiteY12" fmla="*/ 2160252 h 4255595"/>
                <a:gd name="connsiteX13" fmla="*/ 3429546 w 4251067"/>
                <a:gd name="connsiteY13" fmla="*/ 2145624 h 4255595"/>
                <a:gd name="connsiteX14" fmla="*/ 3429546 w 4251067"/>
                <a:gd name="connsiteY14" fmla="*/ 3454757 h 4255595"/>
                <a:gd name="connsiteX15" fmla="*/ 2122787 w 4251067"/>
                <a:gd name="connsiteY15" fmla="*/ 3454757 h 4255595"/>
                <a:gd name="connsiteX16" fmla="*/ 2271739 w 4251067"/>
                <a:gd name="connsiteY16" fmla="*/ 3770155 h 4255595"/>
                <a:gd name="connsiteX17" fmla="*/ 1661310 w 4251067"/>
                <a:gd name="connsiteY17" fmla="*/ 4255595 h 4255595"/>
                <a:gd name="connsiteX18" fmla="*/ 1049966 w 4251067"/>
                <a:gd name="connsiteY18" fmla="*/ 3770155 h 4255595"/>
                <a:gd name="connsiteX19" fmla="*/ 1198004 w 4251067"/>
                <a:gd name="connsiteY19" fmla="*/ 3454757 h 4255595"/>
                <a:gd name="connsiteX20" fmla="*/ 0 w 4251067"/>
                <a:gd name="connsiteY20" fmla="*/ 3454757 h 4255595"/>
                <a:gd name="connsiteX21" fmla="*/ 20807 w 4251067"/>
                <a:gd name="connsiteY21" fmla="*/ 3394827 h 4255595"/>
                <a:gd name="connsiteX22" fmla="*/ 84510 w 4251067"/>
                <a:gd name="connsiteY22" fmla="*/ 3272738 h 4255595"/>
                <a:gd name="connsiteX23" fmla="*/ 909161 w 4251067"/>
                <a:gd name="connsiteY23" fmla="*/ 1506004 h 4255595"/>
                <a:gd name="connsiteX24" fmla="*/ 645256 w 4251067"/>
                <a:gd name="connsiteY24" fmla="*/ 51829 h 425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51067" h="4255595">
                  <a:moveTo>
                    <a:pt x="645037" y="0"/>
                  </a:moveTo>
                  <a:lnTo>
                    <a:pt x="1198004" y="0"/>
                  </a:lnTo>
                  <a:cubicBezTo>
                    <a:pt x="1105709" y="85021"/>
                    <a:pt x="1049966" y="195639"/>
                    <a:pt x="1049966" y="316313"/>
                  </a:cubicBezTo>
                  <a:cubicBezTo>
                    <a:pt x="1049966" y="583259"/>
                    <a:pt x="1323197" y="800838"/>
                    <a:pt x="1661310" y="800838"/>
                  </a:cubicBezTo>
                  <a:cubicBezTo>
                    <a:pt x="1997594" y="800838"/>
                    <a:pt x="2271739" y="583259"/>
                    <a:pt x="2271739" y="316313"/>
                  </a:cubicBezTo>
                  <a:cubicBezTo>
                    <a:pt x="2271739" y="195639"/>
                    <a:pt x="2215996" y="85021"/>
                    <a:pt x="2122787" y="0"/>
                  </a:cubicBezTo>
                  <a:lnTo>
                    <a:pt x="3429546" y="0"/>
                  </a:lnTo>
                  <a:lnTo>
                    <a:pt x="3429546" y="1267994"/>
                  </a:lnTo>
                  <a:cubicBezTo>
                    <a:pt x="3434115" y="1262509"/>
                    <a:pt x="3438684" y="1257938"/>
                    <a:pt x="3442339" y="1253367"/>
                  </a:cubicBezTo>
                  <a:cubicBezTo>
                    <a:pt x="3528238" y="1155547"/>
                    <a:pt x="3641551" y="1096124"/>
                    <a:pt x="3766744" y="1096124"/>
                  </a:cubicBezTo>
                  <a:cubicBezTo>
                    <a:pt x="4033579" y="1096124"/>
                    <a:pt x="4251067" y="1369470"/>
                    <a:pt x="4251067" y="1706809"/>
                  </a:cubicBezTo>
                  <a:cubicBezTo>
                    <a:pt x="4251067" y="2044148"/>
                    <a:pt x="4033579" y="2318408"/>
                    <a:pt x="3766744" y="2318408"/>
                  </a:cubicBezTo>
                  <a:cubicBezTo>
                    <a:pt x="3641551" y="2318408"/>
                    <a:pt x="3528238" y="2258071"/>
                    <a:pt x="3442339" y="2160252"/>
                  </a:cubicBezTo>
                  <a:cubicBezTo>
                    <a:pt x="3438684" y="2155681"/>
                    <a:pt x="3434115" y="2150195"/>
                    <a:pt x="3429546" y="2145624"/>
                  </a:cubicBezTo>
                  <a:lnTo>
                    <a:pt x="3429546" y="3454757"/>
                  </a:lnTo>
                  <a:lnTo>
                    <a:pt x="2122787" y="3454757"/>
                  </a:lnTo>
                  <a:cubicBezTo>
                    <a:pt x="2215996" y="3539777"/>
                    <a:pt x="2271739" y="3649481"/>
                    <a:pt x="2271739" y="3770155"/>
                  </a:cubicBezTo>
                  <a:cubicBezTo>
                    <a:pt x="2271739" y="4038016"/>
                    <a:pt x="1997594" y="4255595"/>
                    <a:pt x="1661310" y="4255595"/>
                  </a:cubicBezTo>
                  <a:cubicBezTo>
                    <a:pt x="1323197" y="4255595"/>
                    <a:pt x="1049966" y="4038016"/>
                    <a:pt x="1049966" y="3770155"/>
                  </a:cubicBezTo>
                  <a:cubicBezTo>
                    <a:pt x="1049966" y="3649481"/>
                    <a:pt x="1105709" y="3539777"/>
                    <a:pt x="1198004" y="3454757"/>
                  </a:cubicBezTo>
                  <a:lnTo>
                    <a:pt x="0" y="3454757"/>
                  </a:lnTo>
                  <a:lnTo>
                    <a:pt x="20807" y="3394827"/>
                  </a:lnTo>
                  <a:cubicBezTo>
                    <a:pt x="37393" y="3357327"/>
                    <a:pt x="58587" y="3316784"/>
                    <a:pt x="84510" y="3272738"/>
                  </a:cubicBezTo>
                  <a:cubicBezTo>
                    <a:pt x="292600" y="2921072"/>
                    <a:pt x="989035" y="1929825"/>
                    <a:pt x="909161" y="1506004"/>
                  </a:cubicBezTo>
                  <a:cubicBezTo>
                    <a:pt x="873911" y="1320584"/>
                    <a:pt x="662713" y="750739"/>
                    <a:pt x="645256" y="5182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033C9D9-901F-BC44-8CBB-B0CC63414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9592" y="2811337"/>
              <a:ext cx="2981773" cy="4035107"/>
            </a:xfrm>
            <a:custGeom>
              <a:avLst/>
              <a:gdLst>
                <a:gd name="connsiteX0" fmla="*/ 0 w 2981773"/>
                <a:gd name="connsiteY0" fmla="*/ 0 h 4035107"/>
                <a:gd name="connsiteX1" fmla="*/ 233411 w 2981773"/>
                <a:gd name="connsiteY1" fmla="*/ 67971 h 4035107"/>
                <a:gd name="connsiteX2" fmla="*/ 2876773 w 2981773"/>
                <a:gd name="connsiteY2" fmla="*/ 2699961 h 4035107"/>
                <a:gd name="connsiteX3" fmla="*/ 2939583 w 2981773"/>
                <a:gd name="connsiteY3" fmla="*/ 2978615 h 4035107"/>
                <a:gd name="connsiteX4" fmla="*/ 2981773 w 2981773"/>
                <a:gd name="connsiteY4" fmla="*/ 3234269 h 4035107"/>
                <a:gd name="connsiteX5" fmla="*/ 2240641 w 2981773"/>
                <a:gd name="connsiteY5" fmla="*/ 3234269 h 4035107"/>
                <a:gd name="connsiteX6" fmla="*/ 2388677 w 2981773"/>
                <a:gd name="connsiteY6" fmla="*/ 3550582 h 4035107"/>
                <a:gd name="connsiteX7" fmla="*/ 1777344 w 2981773"/>
                <a:gd name="connsiteY7" fmla="*/ 4035107 h 4035107"/>
                <a:gd name="connsiteX8" fmla="*/ 1166924 w 2981773"/>
                <a:gd name="connsiteY8" fmla="*/ 3550582 h 4035107"/>
                <a:gd name="connsiteX9" fmla="*/ 1314960 w 2981773"/>
                <a:gd name="connsiteY9" fmla="*/ 3234269 h 4035107"/>
                <a:gd name="connsiteX10" fmla="*/ 0 w 2981773"/>
                <a:gd name="connsiteY10" fmla="*/ 3234269 h 4035107"/>
                <a:gd name="connsiteX11" fmla="*/ 0 w 2981773"/>
                <a:gd name="connsiteY11" fmla="*/ 1939764 h 4035107"/>
                <a:gd name="connsiteX12" fmla="*/ 282365 w 2981773"/>
                <a:gd name="connsiteY12" fmla="*/ 2054953 h 4035107"/>
                <a:gd name="connsiteX13" fmla="*/ 767593 w 2981773"/>
                <a:gd name="connsiteY13" fmla="*/ 1443354 h 4035107"/>
                <a:gd name="connsiteX14" fmla="*/ 282365 w 2981773"/>
                <a:gd name="connsiteY14" fmla="*/ 832669 h 4035107"/>
                <a:gd name="connsiteX15" fmla="*/ 0 w 2981773"/>
                <a:gd name="connsiteY15" fmla="*/ 946944 h 403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81773" h="4035107">
                  <a:moveTo>
                    <a:pt x="0" y="0"/>
                  </a:moveTo>
                  <a:lnTo>
                    <a:pt x="233411" y="67971"/>
                  </a:lnTo>
                  <a:cubicBezTo>
                    <a:pt x="1494666" y="481769"/>
                    <a:pt x="2530002" y="1346597"/>
                    <a:pt x="2876773" y="2699961"/>
                  </a:cubicBezTo>
                  <a:cubicBezTo>
                    <a:pt x="2900769" y="2793679"/>
                    <a:pt x="2921649" y="2886577"/>
                    <a:pt x="2939583" y="2978615"/>
                  </a:cubicBezTo>
                  <a:lnTo>
                    <a:pt x="2981773" y="3234269"/>
                  </a:lnTo>
                  <a:lnTo>
                    <a:pt x="2240641" y="3234269"/>
                  </a:lnTo>
                  <a:cubicBezTo>
                    <a:pt x="2332935" y="3319289"/>
                    <a:pt x="2388677" y="3429907"/>
                    <a:pt x="2388677" y="3550582"/>
                  </a:cubicBezTo>
                  <a:cubicBezTo>
                    <a:pt x="2388677" y="3817528"/>
                    <a:pt x="2115450" y="4035107"/>
                    <a:pt x="1777344" y="4035107"/>
                  </a:cubicBezTo>
                  <a:cubicBezTo>
                    <a:pt x="1441065" y="4035107"/>
                    <a:pt x="1166924" y="3817528"/>
                    <a:pt x="1166924" y="3550582"/>
                  </a:cubicBezTo>
                  <a:cubicBezTo>
                    <a:pt x="1166924" y="3429907"/>
                    <a:pt x="1222666" y="3319289"/>
                    <a:pt x="1314960" y="3234269"/>
                  </a:cubicBezTo>
                  <a:lnTo>
                    <a:pt x="0" y="3234269"/>
                  </a:lnTo>
                  <a:lnTo>
                    <a:pt x="0" y="1939764"/>
                  </a:lnTo>
                  <a:cubicBezTo>
                    <a:pt x="79501" y="2011985"/>
                    <a:pt x="177277" y="2054953"/>
                    <a:pt x="282365" y="2054953"/>
                  </a:cubicBezTo>
                  <a:cubicBezTo>
                    <a:pt x="550108" y="2054953"/>
                    <a:pt x="767593" y="1780693"/>
                    <a:pt x="767593" y="1443354"/>
                  </a:cubicBezTo>
                  <a:cubicBezTo>
                    <a:pt x="767593" y="1106015"/>
                    <a:pt x="550108" y="832669"/>
                    <a:pt x="282365" y="832669"/>
                  </a:cubicBezTo>
                  <a:cubicBezTo>
                    <a:pt x="177277" y="832669"/>
                    <a:pt x="79501" y="874722"/>
                    <a:pt x="0" y="946944"/>
                  </a:cubicBezTo>
                  <a:close/>
                </a:path>
              </a:pathLst>
            </a:custGeom>
            <a:solidFill>
              <a:schemeClr val="accent4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2EB54A8-C5BA-AC46-9B6A-C6BCB94AF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9555" y="9499615"/>
              <a:ext cx="2386334" cy="3453471"/>
            </a:xfrm>
            <a:custGeom>
              <a:avLst/>
              <a:gdLst>
                <a:gd name="connsiteX0" fmla="*/ 791859 w 2386334"/>
                <a:gd name="connsiteY0" fmla="*/ 0 h 3453471"/>
                <a:gd name="connsiteX1" fmla="*/ 2107661 w 2386334"/>
                <a:gd name="connsiteY1" fmla="*/ 0 h 3453471"/>
                <a:gd name="connsiteX2" fmla="*/ 1959531 w 2386334"/>
                <a:gd name="connsiteY2" fmla="*/ 315198 h 3453471"/>
                <a:gd name="connsiteX3" fmla="*/ 2332944 w 2386334"/>
                <a:gd name="connsiteY3" fmla="*/ 762170 h 3453471"/>
                <a:gd name="connsiteX4" fmla="*/ 2386334 w 2386334"/>
                <a:gd name="connsiteY4" fmla="*/ 775358 h 3453471"/>
                <a:gd name="connsiteX5" fmla="*/ 2377285 w 2386334"/>
                <a:gd name="connsiteY5" fmla="*/ 786062 h 3453471"/>
                <a:gd name="connsiteX6" fmla="*/ 2010501 w 2386334"/>
                <a:gd name="connsiteY6" fmla="*/ 1170379 h 3453471"/>
                <a:gd name="connsiteX7" fmla="*/ 1641077 w 2386334"/>
                <a:gd name="connsiteY7" fmla="*/ 3451539 h 3453471"/>
                <a:gd name="connsiteX8" fmla="*/ 1641560 w 2386334"/>
                <a:gd name="connsiteY8" fmla="*/ 3453471 h 3453471"/>
                <a:gd name="connsiteX9" fmla="*/ 791859 w 2386334"/>
                <a:gd name="connsiteY9" fmla="*/ 3453471 h 3453471"/>
                <a:gd name="connsiteX10" fmla="*/ 791859 w 2386334"/>
                <a:gd name="connsiteY10" fmla="*/ 2177149 h 3453471"/>
                <a:gd name="connsiteX11" fmla="*/ 779972 w 2386334"/>
                <a:gd name="connsiteY11" fmla="*/ 2189939 h 3453471"/>
                <a:gd name="connsiteX12" fmla="*/ 484625 w 2386334"/>
                <a:gd name="connsiteY12" fmla="*/ 2316019 h 3453471"/>
                <a:gd name="connsiteX13" fmla="*/ 0 w 2386334"/>
                <a:gd name="connsiteY13" fmla="*/ 1705723 h 3453471"/>
                <a:gd name="connsiteX14" fmla="*/ 484625 w 2386334"/>
                <a:gd name="connsiteY14" fmla="*/ 1094513 h 3453471"/>
                <a:gd name="connsiteX15" fmla="*/ 779972 w 2386334"/>
                <a:gd name="connsiteY15" fmla="*/ 1221506 h 3453471"/>
                <a:gd name="connsiteX16" fmla="*/ 791859 w 2386334"/>
                <a:gd name="connsiteY16" fmla="*/ 1233383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86334" h="3453471">
                  <a:moveTo>
                    <a:pt x="791859" y="0"/>
                  </a:moveTo>
                  <a:lnTo>
                    <a:pt x="2107661" y="0"/>
                  </a:lnTo>
                  <a:cubicBezTo>
                    <a:pt x="2015309" y="84966"/>
                    <a:pt x="1959531" y="194600"/>
                    <a:pt x="1959531" y="315198"/>
                  </a:cubicBezTo>
                  <a:cubicBezTo>
                    <a:pt x="1959531" y="515965"/>
                    <a:pt x="2113834" y="688467"/>
                    <a:pt x="2332944" y="762170"/>
                  </a:cubicBezTo>
                  <a:lnTo>
                    <a:pt x="2386334" y="775358"/>
                  </a:lnTo>
                  <a:lnTo>
                    <a:pt x="2377285" y="786062"/>
                  </a:lnTo>
                  <a:cubicBezTo>
                    <a:pt x="2162014" y="1035396"/>
                    <a:pt x="2010501" y="1170379"/>
                    <a:pt x="2010501" y="1170379"/>
                  </a:cubicBezTo>
                  <a:cubicBezTo>
                    <a:pt x="2010501" y="1170379"/>
                    <a:pt x="1395133" y="2327379"/>
                    <a:pt x="1641077" y="3451539"/>
                  </a:cubicBezTo>
                  <a:lnTo>
                    <a:pt x="1641560" y="3453471"/>
                  </a:lnTo>
                  <a:lnTo>
                    <a:pt x="791859" y="3453471"/>
                  </a:lnTo>
                  <a:lnTo>
                    <a:pt x="791859" y="2177149"/>
                  </a:lnTo>
                  <a:cubicBezTo>
                    <a:pt x="788201" y="2181717"/>
                    <a:pt x="783629" y="2185371"/>
                    <a:pt x="779972" y="2189939"/>
                  </a:cubicBezTo>
                  <a:cubicBezTo>
                    <a:pt x="697677" y="2269424"/>
                    <a:pt x="595266" y="2316019"/>
                    <a:pt x="484625" y="2316019"/>
                  </a:cubicBezTo>
                  <a:cubicBezTo>
                    <a:pt x="216710" y="2316019"/>
                    <a:pt x="0" y="2042847"/>
                    <a:pt x="0" y="1705723"/>
                  </a:cubicBezTo>
                  <a:cubicBezTo>
                    <a:pt x="0" y="1368598"/>
                    <a:pt x="216710" y="1094513"/>
                    <a:pt x="484625" y="1094513"/>
                  </a:cubicBezTo>
                  <a:cubicBezTo>
                    <a:pt x="595266" y="1094513"/>
                    <a:pt x="697677" y="1142021"/>
                    <a:pt x="779972" y="1221506"/>
                  </a:cubicBezTo>
                  <a:cubicBezTo>
                    <a:pt x="783629" y="1226074"/>
                    <a:pt x="788201" y="1229728"/>
                    <a:pt x="791859" y="123338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974529D-2BD9-834E-B05B-87EF895BE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5217" y="6045234"/>
              <a:ext cx="3861457" cy="4231127"/>
            </a:xfrm>
            <a:custGeom>
              <a:avLst/>
              <a:gdLst>
                <a:gd name="connsiteX0" fmla="*/ 833579 w 3861457"/>
                <a:gd name="connsiteY0" fmla="*/ 0 h 4231127"/>
                <a:gd name="connsiteX1" fmla="*/ 2148843 w 3861457"/>
                <a:gd name="connsiteY1" fmla="*/ 0 h 4231127"/>
                <a:gd name="connsiteX2" fmla="*/ 2000773 w 3861457"/>
                <a:gd name="connsiteY2" fmla="*/ 316313 h 4231127"/>
                <a:gd name="connsiteX3" fmla="*/ 2611334 w 3861457"/>
                <a:gd name="connsiteY3" fmla="*/ 800838 h 4231127"/>
                <a:gd name="connsiteX4" fmla="*/ 3222808 w 3861457"/>
                <a:gd name="connsiteY4" fmla="*/ 316313 h 4231127"/>
                <a:gd name="connsiteX5" fmla="*/ 3074738 w 3861457"/>
                <a:gd name="connsiteY5" fmla="*/ 0 h 4231127"/>
                <a:gd name="connsiteX6" fmla="*/ 3816086 w 3861457"/>
                <a:gd name="connsiteY6" fmla="*/ 0 h 4231127"/>
                <a:gd name="connsiteX7" fmla="*/ 3819092 w 3861457"/>
                <a:gd name="connsiteY7" fmla="*/ 18213 h 4231127"/>
                <a:gd name="connsiteX8" fmla="*/ 2505168 w 3861457"/>
                <a:gd name="connsiteY8" fmla="*/ 4141623 h 4231127"/>
                <a:gd name="connsiteX9" fmla="*/ 2429499 w 3861457"/>
                <a:gd name="connsiteY9" fmla="*/ 4231127 h 4231127"/>
                <a:gd name="connsiteX10" fmla="*/ 2374033 w 3861457"/>
                <a:gd name="connsiteY10" fmla="*/ 4217413 h 4231127"/>
                <a:gd name="connsiteX11" fmla="*/ 2000773 w 3861457"/>
                <a:gd name="connsiteY11" fmla="*/ 3770155 h 4231127"/>
                <a:gd name="connsiteX12" fmla="*/ 2148843 w 3861457"/>
                <a:gd name="connsiteY12" fmla="*/ 3454757 h 4231127"/>
                <a:gd name="connsiteX13" fmla="*/ 833579 w 3861457"/>
                <a:gd name="connsiteY13" fmla="*/ 3454757 h 4231127"/>
                <a:gd name="connsiteX14" fmla="*/ 833579 w 3861457"/>
                <a:gd name="connsiteY14" fmla="*/ 2129169 h 4231127"/>
                <a:gd name="connsiteX15" fmla="*/ 821697 w 3861457"/>
                <a:gd name="connsiteY15" fmla="*/ 2145624 h 4231127"/>
                <a:gd name="connsiteX16" fmla="*/ 484427 w 3861457"/>
                <a:gd name="connsiteY16" fmla="*/ 2318408 h 4231127"/>
                <a:gd name="connsiteX17" fmla="*/ 0 w 3861457"/>
                <a:gd name="connsiteY17" fmla="*/ 1706809 h 4231127"/>
                <a:gd name="connsiteX18" fmla="*/ 484427 w 3861457"/>
                <a:gd name="connsiteY18" fmla="*/ 1096124 h 4231127"/>
                <a:gd name="connsiteX19" fmla="*/ 821697 w 3861457"/>
                <a:gd name="connsiteY19" fmla="*/ 1267994 h 4231127"/>
                <a:gd name="connsiteX20" fmla="*/ 833579 w 3861457"/>
                <a:gd name="connsiteY20" fmla="*/ 1284449 h 42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1457" h="4231127">
                  <a:moveTo>
                    <a:pt x="833579" y="0"/>
                  </a:moveTo>
                  <a:lnTo>
                    <a:pt x="2148843" y="0"/>
                  </a:lnTo>
                  <a:cubicBezTo>
                    <a:pt x="2056528" y="85021"/>
                    <a:pt x="2000773" y="195639"/>
                    <a:pt x="2000773" y="316313"/>
                  </a:cubicBezTo>
                  <a:cubicBezTo>
                    <a:pt x="2000773" y="583259"/>
                    <a:pt x="2274977" y="800838"/>
                    <a:pt x="2611334" y="800838"/>
                  </a:cubicBezTo>
                  <a:cubicBezTo>
                    <a:pt x="2949518" y="800838"/>
                    <a:pt x="3222808" y="583259"/>
                    <a:pt x="3222808" y="316313"/>
                  </a:cubicBezTo>
                  <a:cubicBezTo>
                    <a:pt x="3222808" y="195639"/>
                    <a:pt x="3167053" y="85021"/>
                    <a:pt x="3074738" y="0"/>
                  </a:cubicBezTo>
                  <a:lnTo>
                    <a:pt x="3816086" y="0"/>
                  </a:lnTo>
                  <a:lnTo>
                    <a:pt x="3819092" y="18213"/>
                  </a:lnTo>
                  <a:cubicBezTo>
                    <a:pt x="4075570" y="1914055"/>
                    <a:pt x="3108496" y="3412926"/>
                    <a:pt x="2505168" y="4141623"/>
                  </a:cubicBezTo>
                  <a:lnTo>
                    <a:pt x="2429499" y="4231127"/>
                  </a:lnTo>
                  <a:lnTo>
                    <a:pt x="2374033" y="4217413"/>
                  </a:lnTo>
                  <a:cubicBezTo>
                    <a:pt x="2155013" y="4143663"/>
                    <a:pt x="2000773" y="3971051"/>
                    <a:pt x="2000773" y="3770155"/>
                  </a:cubicBezTo>
                  <a:cubicBezTo>
                    <a:pt x="2000773" y="3649481"/>
                    <a:pt x="2056528" y="3539777"/>
                    <a:pt x="2148843" y="3454757"/>
                  </a:cubicBezTo>
                  <a:lnTo>
                    <a:pt x="833579" y="3454757"/>
                  </a:lnTo>
                  <a:lnTo>
                    <a:pt x="833579" y="2129169"/>
                  </a:lnTo>
                  <a:cubicBezTo>
                    <a:pt x="829923" y="2134654"/>
                    <a:pt x="825353" y="2140139"/>
                    <a:pt x="821697" y="2145624"/>
                  </a:cubicBezTo>
                  <a:cubicBezTo>
                    <a:pt x="733952" y="2252586"/>
                    <a:pt x="615130" y="2318408"/>
                    <a:pt x="484427" y="2318408"/>
                  </a:cubicBezTo>
                  <a:cubicBezTo>
                    <a:pt x="216621" y="2318408"/>
                    <a:pt x="0" y="2044148"/>
                    <a:pt x="0" y="1706809"/>
                  </a:cubicBezTo>
                  <a:cubicBezTo>
                    <a:pt x="0" y="1369470"/>
                    <a:pt x="216621" y="1096124"/>
                    <a:pt x="484427" y="1096124"/>
                  </a:cubicBezTo>
                  <a:cubicBezTo>
                    <a:pt x="615130" y="1096124"/>
                    <a:pt x="733952" y="1161032"/>
                    <a:pt x="821697" y="1267994"/>
                  </a:cubicBezTo>
                  <a:cubicBezTo>
                    <a:pt x="825353" y="1273479"/>
                    <a:pt x="829923" y="1278050"/>
                    <a:pt x="833579" y="128444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6797C3B-0329-1142-9C7A-73E717AFD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91296" y="2590849"/>
              <a:ext cx="5013382" cy="3453471"/>
            </a:xfrm>
            <a:custGeom>
              <a:avLst/>
              <a:gdLst>
                <a:gd name="connsiteX0" fmla="*/ 2645229 w 5013382"/>
                <a:gd name="connsiteY0" fmla="*/ 230 h 3453471"/>
                <a:gd name="connsiteX1" fmla="*/ 4112473 w 5013382"/>
                <a:gd name="connsiteY1" fmla="*/ 186759 h 3453471"/>
                <a:gd name="connsiteX2" fmla="*/ 4233726 w 5013382"/>
                <a:gd name="connsiteY2" fmla="*/ 222069 h 3453471"/>
                <a:gd name="connsiteX3" fmla="*/ 4233726 w 5013382"/>
                <a:gd name="connsiteY3" fmla="*/ 1178878 h 3453471"/>
                <a:gd name="connsiteX4" fmla="*/ 4246522 w 5013382"/>
                <a:gd name="connsiteY4" fmla="*/ 1166998 h 3453471"/>
                <a:gd name="connsiteX5" fmla="*/ 4528039 w 5013382"/>
                <a:gd name="connsiteY5" fmla="*/ 1052765 h 3453471"/>
                <a:gd name="connsiteX6" fmla="*/ 5013382 w 5013382"/>
                <a:gd name="connsiteY6" fmla="*/ 1663223 h 3453471"/>
                <a:gd name="connsiteX7" fmla="*/ 4528039 w 5013382"/>
                <a:gd name="connsiteY7" fmla="*/ 2274594 h 3453471"/>
                <a:gd name="connsiteX8" fmla="*/ 4246522 w 5013382"/>
                <a:gd name="connsiteY8" fmla="*/ 2159448 h 3453471"/>
                <a:gd name="connsiteX9" fmla="*/ 4233726 w 5013382"/>
                <a:gd name="connsiteY9" fmla="*/ 2147568 h 3453471"/>
                <a:gd name="connsiteX10" fmla="*/ 4233726 w 5013382"/>
                <a:gd name="connsiteY10" fmla="*/ 3453471 h 3453471"/>
                <a:gd name="connsiteX11" fmla="*/ 2982437 w 5013382"/>
                <a:gd name="connsiteY11" fmla="*/ 3453471 h 3453471"/>
                <a:gd name="connsiteX12" fmla="*/ 3130508 w 5013382"/>
                <a:gd name="connsiteY12" fmla="*/ 3138190 h 3453471"/>
                <a:gd name="connsiteX13" fmla="*/ 2519030 w 5013382"/>
                <a:gd name="connsiteY13" fmla="*/ 2652931 h 3453471"/>
                <a:gd name="connsiteX14" fmla="*/ 1908467 w 5013382"/>
                <a:gd name="connsiteY14" fmla="*/ 3138190 h 3453471"/>
                <a:gd name="connsiteX15" fmla="*/ 2057452 w 5013382"/>
                <a:gd name="connsiteY15" fmla="*/ 3453471 h 3453471"/>
                <a:gd name="connsiteX16" fmla="*/ 792453 w 5013382"/>
                <a:gd name="connsiteY16" fmla="*/ 3453471 h 3453471"/>
                <a:gd name="connsiteX17" fmla="*/ 792453 w 5013382"/>
                <a:gd name="connsiteY17" fmla="*/ 2135687 h 3453471"/>
                <a:gd name="connsiteX18" fmla="*/ 779656 w 5013382"/>
                <a:gd name="connsiteY18" fmla="*/ 2147568 h 3453471"/>
                <a:gd name="connsiteX19" fmla="*/ 485343 w 5013382"/>
                <a:gd name="connsiteY19" fmla="*/ 2274594 h 3453471"/>
                <a:gd name="connsiteX20" fmla="*/ 0 w 5013382"/>
                <a:gd name="connsiteY20" fmla="*/ 1663223 h 3453471"/>
                <a:gd name="connsiteX21" fmla="*/ 485343 w 5013382"/>
                <a:gd name="connsiteY21" fmla="*/ 1052765 h 3453471"/>
                <a:gd name="connsiteX22" fmla="*/ 779656 w 5013382"/>
                <a:gd name="connsiteY22" fmla="*/ 1178878 h 3453471"/>
                <a:gd name="connsiteX23" fmla="*/ 792453 w 5013382"/>
                <a:gd name="connsiteY23" fmla="*/ 1191672 h 3453471"/>
                <a:gd name="connsiteX24" fmla="*/ 792453 w 5013382"/>
                <a:gd name="connsiteY24" fmla="*/ 256839 h 3453471"/>
                <a:gd name="connsiteX25" fmla="*/ 1097092 w 5013382"/>
                <a:gd name="connsiteY25" fmla="*/ 173934 h 3453471"/>
                <a:gd name="connsiteX26" fmla="*/ 2645229 w 5013382"/>
                <a:gd name="connsiteY26" fmla="*/ 230 h 3453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013382" h="3453471">
                  <a:moveTo>
                    <a:pt x="2645229" y="230"/>
                  </a:moveTo>
                  <a:cubicBezTo>
                    <a:pt x="3143792" y="4419"/>
                    <a:pt x="3640289" y="65995"/>
                    <a:pt x="4112473" y="186759"/>
                  </a:cubicBezTo>
                  <a:lnTo>
                    <a:pt x="4233726" y="222069"/>
                  </a:lnTo>
                  <a:lnTo>
                    <a:pt x="4233726" y="1178878"/>
                  </a:lnTo>
                  <a:cubicBezTo>
                    <a:pt x="4237382" y="1174308"/>
                    <a:pt x="4241952" y="1170653"/>
                    <a:pt x="4246522" y="1166998"/>
                  </a:cubicBezTo>
                  <a:cubicBezTo>
                    <a:pt x="4325128" y="1094803"/>
                    <a:pt x="4422927" y="1052765"/>
                    <a:pt x="4528039" y="1052765"/>
                  </a:cubicBezTo>
                  <a:cubicBezTo>
                    <a:pt x="4795846" y="1052765"/>
                    <a:pt x="5013382" y="1326009"/>
                    <a:pt x="5013382" y="1663223"/>
                  </a:cubicBezTo>
                  <a:cubicBezTo>
                    <a:pt x="5013382" y="2000436"/>
                    <a:pt x="4795846" y="2274594"/>
                    <a:pt x="4528039" y="2274594"/>
                  </a:cubicBezTo>
                  <a:cubicBezTo>
                    <a:pt x="4422927" y="2274594"/>
                    <a:pt x="4325128" y="2231642"/>
                    <a:pt x="4246522" y="2159448"/>
                  </a:cubicBezTo>
                  <a:cubicBezTo>
                    <a:pt x="4241952" y="2155792"/>
                    <a:pt x="4237382" y="2152137"/>
                    <a:pt x="4233726" y="2147568"/>
                  </a:cubicBezTo>
                  <a:lnTo>
                    <a:pt x="4233726" y="3453471"/>
                  </a:lnTo>
                  <a:lnTo>
                    <a:pt x="2982437" y="3453471"/>
                  </a:lnTo>
                  <a:cubicBezTo>
                    <a:pt x="3074752" y="3368482"/>
                    <a:pt x="3130508" y="3258819"/>
                    <a:pt x="3130508" y="3138190"/>
                  </a:cubicBezTo>
                  <a:cubicBezTo>
                    <a:pt x="3130508" y="2870430"/>
                    <a:pt x="2857216" y="2652931"/>
                    <a:pt x="2519030" y="2652931"/>
                  </a:cubicBezTo>
                  <a:cubicBezTo>
                    <a:pt x="2182672" y="2652931"/>
                    <a:pt x="1908467" y="2870430"/>
                    <a:pt x="1908467" y="3138190"/>
                  </a:cubicBezTo>
                  <a:cubicBezTo>
                    <a:pt x="1908467" y="3258819"/>
                    <a:pt x="1964222" y="3368482"/>
                    <a:pt x="2057452" y="3453471"/>
                  </a:cubicBezTo>
                  <a:lnTo>
                    <a:pt x="792453" y="3453471"/>
                  </a:lnTo>
                  <a:lnTo>
                    <a:pt x="792453" y="2135687"/>
                  </a:lnTo>
                  <a:lnTo>
                    <a:pt x="779656" y="2147568"/>
                  </a:lnTo>
                  <a:cubicBezTo>
                    <a:pt x="698309" y="2227073"/>
                    <a:pt x="595939" y="2274594"/>
                    <a:pt x="485343" y="2274594"/>
                  </a:cubicBezTo>
                  <a:cubicBezTo>
                    <a:pt x="216622" y="2274594"/>
                    <a:pt x="0" y="2000436"/>
                    <a:pt x="0" y="1663223"/>
                  </a:cubicBezTo>
                  <a:cubicBezTo>
                    <a:pt x="0" y="1326009"/>
                    <a:pt x="216622" y="1052765"/>
                    <a:pt x="485343" y="1052765"/>
                  </a:cubicBezTo>
                  <a:cubicBezTo>
                    <a:pt x="595939" y="1052765"/>
                    <a:pt x="698309" y="1100286"/>
                    <a:pt x="779656" y="1178878"/>
                  </a:cubicBezTo>
                  <a:cubicBezTo>
                    <a:pt x="784226" y="1183447"/>
                    <a:pt x="787882" y="1187102"/>
                    <a:pt x="792453" y="1191672"/>
                  </a:cubicBezTo>
                  <a:lnTo>
                    <a:pt x="792453" y="256839"/>
                  </a:lnTo>
                  <a:lnTo>
                    <a:pt x="1097092" y="173934"/>
                  </a:lnTo>
                  <a:cubicBezTo>
                    <a:pt x="1598353" y="54434"/>
                    <a:pt x="2122925" y="-4159"/>
                    <a:pt x="2645229" y="23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337BB56-D390-DF4B-8098-27DA224DC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0276" y="2847498"/>
              <a:ext cx="2784173" cy="3998946"/>
            </a:xfrm>
            <a:custGeom>
              <a:avLst/>
              <a:gdLst>
                <a:gd name="connsiteX0" fmla="*/ 2784173 w 2784173"/>
                <a:gd name="connsiteY0" fmla="*/ 0 h 3998946"/>
                <a:gd name="connsiteX1" fmla="*/ 2784173 w 2784173"/>
                <a:gd name="connsiteY1" fmla="*/ 922667 h 3998946"/>
                <a:gd name="connsiteX2" fmla="*/ 2489074 w 2784173"/>
                <a:gd name="connsiteY2" fmla="*/ 796508 h 3998946"/>
                <a:gd name="connsiteX3" fmla="*/ 2004857 w 2784173"/>
                <a:gd name="connsiteY3" fmla="*/ 1407193 h 3998946"/>
                <a:gd name="connsiteX4" fmla="*/ 2489074 w 2784173"/>
                <a:gd name="connsiteY4" fmla="*/ 2018792 h 3998946"/>
                <a:gd name="connsiteX5" fmla="*/ 2784173 w 2784173"/>
                <a:gd name="connsiteY5" fmla="*/ 1891718 h 3998946"/>
                <a:gd name="connsiteX6" fmla="*/ 2784173 w 2784173"/>
                <a:gd name="connsiteY6" fmla="*/ 3198108 h 3998946"/>
                <a:gd name="connsiteX7" fmla="*/ 1477701 w 2784173"/>
                <a:gd name="connsiteY7" fmla="*/ 3198108 h 3998946"/>
                <a:gd name="connsiteX8" fmla="*/ 1625707 w 2784173"/>
                <a:gd name="connsiteY8" fmla="*/ 3514421 h 3998946"/>
                <a:gd name="connsiteX9" fmla="*/ 1014497 w 2784173"/>
                <a:gd name="connsiteY9" fmla="*/ 3998946 h 3998946"/>
                <a:gd name="connsiteX10" fmla="*/ 404202 w 2784173"/>
                <a:gd name="connsiteY10" fmla="*/ 3514421 h 3998946"/>
                <a:gd name="connsiteX11" fmla="*/ 553121 w 2784173"/>
                <a:gd name="connsiteY11" fmla="*/ 3198108 h 3998946"/>
                <a:gd name="connsiteX12" fmla="*/ 424 w 2784173"/>
                <a:gd name="connsiteY12" fmla="*/ 3198108 h 3998946"/>
                <a:gd name="connsiteX13" fmla="*/ 0 w 2784173"/>
                <a:gd name="connsiteY13" fmla="*/ 3097916 h 3998946"/>
                <a:gd name="connsiteX14" fmla="*/ 1679835 w 2784173"/>
                <a:gd name="connsiteY14" fmla="*/ 456434 h 3998946"/>
                <a:gd name="connsiteX15" fmla="*/ 2716937 w 2784173"/>
                <a:gd name="connsiteY15" fmla="*/ 18298 h 399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84173" h="3998946">
                  <a:moveTo>
                    <a:pt x="2784173" y="0"/>
                  </a:moveTo>
                  <a:lnTo>
                    <a:pt x="2784173" y="922667"/>
                  </a:lnTo>
                  <a:cubicBezTo>
                    <a:pt x="2701947" y="844047"/>
                    <a:pt x="2600535" y="796508"/>
                    <a:pt x="2489074" y="796508"/>
                  </a:cubicBezTo>
                  <a:cubicBezTo>
                    <a:pt x="2221385" y="796508"/>
                    <a:pt x="2004857" y="1069854"/>
                    <a:pt x="2004857" y="1407193"/>
                  </a:cubicBezTo>
                  <a:cubicBezTo>
                    <a:pt x="2004857" y="1744532"/>
                    <a:pt x="2221385" y="2018792"/>
                    <a:pt x="2489074" y="2018792"/>
                  </a:cubicBezTo>
                  <a:cubicBezTo>
                    <a:pt x="2600535" y="2018792"/>
                    <a:pt x="2701947" y="1971253"/>
                    <a:pt x="2784173" y="1891718"/>
                  </a:cubicBezTo>
                  <a:lnTo>
                    <a:pt x="2784173" y="3198108"/>
                  </a:lnTo>
                  <a:lnTo>
                    <a:pt x="1477701" y="3198108"/>
                  </a:lnTo>
                  <a:cubicBezTo>
                    <a:pt x="1569976" y="3283128"/>
                    <a:pt x="1625707" y="3393746"/>
                    <a:pt x="1625707" y="3514421"/>
                  </a:cubicBezTo>
                  <a:cubicBezTo>
                    <a:pt x="1625707" y="3781367"/>
                    <a:pt x="1352535" y="3998946"/>
                    <a:pt x="1014497" y="3998946"/>
                  </a:cubicBezTo>
                  <a:cubicBezTo>
                    <a:pt x="677373" y="3998946"/>
                    <a:pt x="404202" y="3781367"/>
                    <a:pt x="404202" y="3514421"/>
                  </a:cubicBezTo>
                  <a:cubicBezTo>
                    <a:pt x="404202" y="3393746"/>
                    <a:pt x="459932" y="3283128"/>
                    <a:pt x="553121" y="3198108"/>
                  </a:cubicBezTo>
                  <a:lnTo>
                    <a:pt x="424" y="3198108"/>
                  </a:lnTo>
                  <a:lnTo>
                    <a:pt x="0" y="3097916"/>
                  </a:lnTo>
                  <a:cubicBezTo>
                    <a:pt x="14702" y="2228432"/>
                    <a:pt x="354009" y="1195536"/>
                    <a:pt x="1679835" y="456434"/>
                  </a:cubicBezTo>
                  <a:cubicBezTo>
                    <a:pt x="2001633" y="277003"/>
                    <a:pt x="2350930" y="130666"/>
                    <a:pt x="2716937" y="182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200">
              <a:solidFill>
                <a:schemeClr val="bg2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724E473-607A-2F44-A7DA-F7886D51F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5362" y="5243107"/>
              <a:ext cx="3442290" cy="5058637"/>
            </a:xfrm>
            <a:custGeom>
              <a:avLst/>
              <a:gdLst>
                <a:gd name="T0" fmla="*/ 2865 w 3765"/>
                <a:gd name="T1" fmla="*/ 2743 h 5532"/>
                <a:gd name="T2" fmla="*/ 2865 w 3765"/>
                <a:gd name="T3" fmla="*/ 2743 h 5532"/>
                <a:gd name="T4" fmla="*/ 3396 w 3765"/>
                <a:gd name="T5" fmla="*/ 3411 h 5532"/>
                <a:gd name="T6" fmla="*/ 3396 w 3765"/>
                <a:gd name="T7" fmla="*/ 3411 h 5532"/>
                <a:gd name="T8" fmla="*/ 3764 w 3765"/>
                <a:gd name="T9" fmla="*/ 3223 h 5532"/>
                <a:gd name="T10" fmla="*/ 3764 w 3765"/>
                <a:gd name="T11" fmla="*/ 4655 h 5532"/>
                <a:gd name="T12" fmla="*/ 2395 w 3765"/>
                <a:gd name="T13" fmla="*/ 4655 h 5532"/>
                <a:gd name="T14" fmla="*/ 2395 w 3765"/>
                <a:gd name="T15" fmla="*/ 4655 h 5532"/>
                <a:gd name="T16" fmla="*/ 2558 w 3765"/>
                <a:gd name="T17" fmla="*/ 5001 h 5532"/>
                <a:gd name="T18" fmla="*/ 2558 w 3765"/>
                <a:gd name="T19" fmla="*/ 5001 h 5532"/>
                <a:gd name="T20" fmla="*/ 1889 w 3765"/>
                <a:gd name="T21" fmla="*/ 5531 h 5532"/>
                <a:gd name="T22" fmla="*/ 1889 w 3765"/>
                <a:gd name="T23" fmla="*/ 5531 h 5532"/>
                <a:gd name="T24" fmla="*/ 1221 w 3765"/>
                <a:gd name="T25" fmla="*/ 5001 h 5532"/>
                <a:gd name="T26" fmla="*/ 1221 w 3765"/>
                <a:gd name="T27" fmla="*/ 5001 h 5532"/>
                <a:gd name="T28" fmla="*/ 1383 w 3765"/>
                <a:gd name="T29" fmla="*/ 4655 h 5532"/>
                <a:gd name="T30" fmla="*/ 0 w 3765"/>
                <a:gd name="T31" fmla="*/ 4655 h 5532"/>
                <a:gd name="T32" fmla="*/ 0 w 3765"/>
                <a:gd name="T33" fmla="*/ 3239 h 5532"/>
                <a:gd name="T34" fmla="*/ 0 w 3765"/>
                <a:gd name="T35" fmla="*/ 3239 h 5532"/>
                <a:gd name="T36" fmla="*/ 354 w 3765"/>
                <a:gd name="T37" fmla="*/ 3411 h 5532"/>
                <a:gd name="T38" fmla="*/ 354 w 3765"/>
                <a:gd name="T39" fmla="*/ 3411 h 5532"/>
                <a:gd name="T40" fmla="*/ 885 w 3765"/>
                <a:gd name="T41" fmla="*/ 2743 h 5532"/>
                <a:gd name="T42" fmla="*/ 885 w 3765"/>
                <a:gd name="T43" fmla="*/ 2743 h 5532"/>
                <a:gd name="T44" fmla="*/ 354 w 3765"/>
                <a:gd name="T45" fmla="*/ 2075 h 5532"/>
                <a:gd name="T46" fmla="*/ 354 w 3765"/>
                <a:gd name="T47" fmla="*/ 2075 h 5532"/>
                <a:gd name="T48" fmla="*/ 0 w 3765"/>
                <a:gd name="T49" fmla="*/ 2247 h 5532"/>
                <a:gd name="T50" fmla="*/ 0 w 3765"/>
                <a:gd name="T51" fmla="*/ 876 h 5532"/>
                <a:gd name="T52" fmla="*/ 1383 w 3765"/>
                <a:gd name="T53" fmla="*/ 876 h 5532"/>
                <a:gd name="T54" fmla="*/ 1383 w 3765"/>
                <a:gd name="T55" fmla="*/ 876 h 5532"/>
                <a:gd name="T56" fmla="*/ 1221 w 3765"/>
                <a:gd name="T57" fmla="*/ 531 h 5532"/>
                <a:gd name="T58" fmla="*/ 1221 w 3765"/>
                <a:gd name="T59" fmla="*/ 531 h 5532"/>
                <a:gd name="T60" fmla="*/ 1889 w 3765"/>
                <a:gd name="T61" fmla="*/ 0 h 5532"/>
                <a:gd name="T62" fmla="*/ 1889 w 3765"/>
                <a:gd name="T63" fmla="*/ 0 h 5532"/>
                <a:gd name="T64" fmla="*/ 2558 w 3765"/>
                <a:gd name="T65" fmla="*/ 531 h 5532"/>
                <a:gd name="T66" fmla="*/ 2558 w 3765"/>
                <a:gd name="T67" fmla="*/ 531 h 5532"/>
                <a:gd name="T68" fmla="*/ 2395 w 3765"/>
                <a:gd name="T69" fmla="*/ 876 h 5532"/>
                <a:gd name="T70" fmla="*/ 3764 w 3765"/>
                <a:gd name="T71" fmla="*/ 876 h 5532"/>
                <a:gd name="T72" fmla="*/ 3764 w 3765"/>
                <a:gd name="T73" fmla="*/ 2263 h 5532"/>
                <a:gd name="T74" fmla="*/ 3764 w 3765"/>
                <a:gd name="T75" fmla="*/ 2263 h 5532"/>
                <a:gd name="T76" fmla="*/ 3396 w 3765"/>
                <a:gd name="T77" fmla="*/ 2075 h 5532"/>
                <a:gd name="T78" fmla="*/ 3396 w 3765"/>
                <a:gd name="T79" fmla="*/ 2075 h 5532"/>
                <a:gd name="T80" fmla="*/ 2865 w 3765"/>
                <a:gd name="T81" fmla="*/ 2743 h 5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765" h="5532">
                  <a:moveTo>
                    <a:pt x="2865" y="2743"/>
                  </a:moveTo>
                  <a:lnTo>
                    <a:pt x="2865" y="2743"/>
                  </a:lnTo>
                  <a:cubicBezTo>
                    <a:pt x="2865" y="3113"/>
                    <a:pt x="3103" y="3411"/>
                    <a:pt x="3396" y="3411"/>
                  </a:cubicBezTo>
                  <a:lnTo>
                    <a:pt x="3396" y="3411"/>
                  </a:lnTo>
                  <a:cubicBezTo>
                    <a:pt x="3539" y="3411"/>
                    <a:pt x="3669" y="3340"/>
                    <a:pt x="3764" y="3223"/>
                  </a:cubicBezTo>
                  <a:lnTo>
                    <a:pt x="3764" y="4655"/>
                  </a:lnTo>
                  <a:lnTo>
                    <a:pt x="2395" y="4655"/>
                  </a:lnTo>
                  <a:lnTo>
                    <a:pt x="2395" y="4655"/>
                  </a:lnTo>
                  <a:cubicBezTo>
                    <a:pt x="2497" y="4748"/>
                    <a:pt x="2558" y="4868"/>
                    <a:pt x="2558" y="5001"/>
                  </a:cubicBezTo>
                  <a:lnTo>
                    <a:pt x="2558" y="5001"/>
                  </a:lnTo>
                  <a:cubicBezTo>
                    <a:pt x="2558" y="5293"/>
                    <a:pt x="2258" y="5531"/>
                    <a:pt x="1889" y="5531"/>
                  </a:cubicBezTo>
                  <a:lnTo>
                    <a:pt x="1889" y="5531"/>
                  </a:lnTo>
                  <a:cubicBezTo>
                    <a:pt x="1520" y="5531"/>
                    <a:pt x="1221" y="5293"/>
                    <a:pt x="1221" y="5001"/>
                  </a:cubicBezTo>
                  <a:lnTo>
                    <a:pt x="1221" y="5001"/>
                  </a:lnTo>
                  <a:cubicBezTo>
                    <a:pt x="1221" y="4868"/>
                    <a:pt x="1282" y="4748"/>
                    <a:pt x="1383" y="4655"/>
                  </a:cubicBezTo>
                  <a:lnTo>
                    <a:pt x="0" y="4655"/>
                  </a:lnTo>
                  <a:lnTo>
                    <a:pt x="0" y="3239"/>
                  </a:lnTo>
                  <a:lnTo>
                    <a:pt x="0" y="3239"/>
                  </a:lnTo>
                  <a:cubicBezTo>
                    <a:pt x="93" y="3346"/>
                    <a:pt x="217" y="3411"/>
                    <a:pt x="354" y="3411"/>
                  </a:cubicBezTo>
                  <a:lnTo>
                    <a:pt x="354" y="3411"/>
                  </a:lnTo>
                  <a:cubicBezTo>
                    <a:pt x="647" y="3411"/>
                    <a:pt x="885" y="3113"/>
                    <a:pt x="885" y="2743"/>
                  </a:cubicBezTo>
                  <a:lnTo>
                    <a:pt x="885" y="2743"/>
                  </a:lnTo>
                  <a:cubicBezTo>
                    <a:pt x="885" y="2374"/>
                    <a:pt x="647" y="2075"/>
                    <a:pt x="354" y="2075"/>
                  </a:cubicBezTo>
                  <a:lnTo>
                    <a:pt x="354" y="2075"/>
                  </a:lnTo>
                  <a:cubicBezTo>
                    <a:pt x="217" y="2075"/>
                    <a:pt x="93" y="2140"/>
                    <a:pt x="0" y="2247"/>
                  </a:cubicBezTo>
                  <a:lnTo>
                    <a:pt x="0" y="876"/>
                  </a:lnTo>
                  <a:lnTo>
                    <a:pt x="1383" y="876"/>
                  </a:lnTo>
                  <a:lnTo>
                    <a:pt x="1383" y="876"/>
                  </a:lnTo>
                  <a:cubicBezTo>
                    <a:pt x="1282" y="784"/>
                    <a:pt x="1221" y="663"/>
                    <a:pt x="1221" y="531"/>
                  </a:cubicBezTo>
                  <a:lnTo>
                    <a:pt x="1221" y="531"/>
                  </a:lnTo>
                  <a:cubicBezTo>
                    <a:pt x="1221" y="237"/>
                    <a:pt x="1520" y="0"/>
                    <a:pt x="1889" y="0"/>
                  </a:cubicBezTo>
                  <a:lnTo>
                    <a:pt x="1889" y="0"/>
                  </a:lnTo>
                  <a:cubicBezTo>
                    <a:pt x="2258" y="0"/>
                    <a:pt x="2558" y="237"/>
                    <a:pt x="2558" y="531"/>
                  </a:cubicBezTo>
                  <a:lnTo>
                    <a:pt x="2558" y="531"/>
                  </a:lnTo>
                  <a:cubicBezTo>
                    <a:pt x="2558" y="663"/>
                    <a:pt x="2497" y="784"/>
                    <a:pt x="2395" y="876"/>
                  </a:cubicBezTo>
                  <a:lnTo>
                    <a:pt x="3764" y="876"/>
                  </a:lnTo>
                  <a:lnTo>
                    <a:pt x="3764" y="2263"/>
                  </a:lnTo>
                  <a:lnTo>
                    <a:pt x="3764" y="2263"/>
                  </a:lnTo>
                  <a:cubicBezTo>
                    <a:pt x="3669" y="2146"/>
                    <a:pt x="3539" y="2075"/>
                    <a:pt x="3396" y="2075"/>
                  </a:cubicBezTo>
                  <a:lnTo>
                    <a:pt x="3396" y="2075"/>
                  </a:lnTo>
                  <a:cubicBezTo>
                    <a:pt x="3103" y="2075"/>
                    <a:pt x="2865" y="2374"/>
                    <a:pt x="2865" y="2743"/>
                  </a:cubicBezTo>
                </a:path>
              </a:pathLst>
            </a:custGeom>
            <a:solidFill>
              <a:schemeClr val="tx2"/>
            </a:solidFill>
            <a:ln w="76200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endParaRPr lang="en-US" sz="6532"/>
            </a:p>
          </p:txBody>
        </p:sp>
      </p:grpSp>
    </p:spTree>
    <p:extLst>
      <p:ext uri="{BB962C8B-B14F-4D97-AF65-F5344CB8AC3E}">
        <p14:creationId xmlns:p14="http://schemas.microsoft.com/office/powerpoint/2010/main" val="24332892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7685-B7AB-404C-AA0D-1D2D74E72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Linux Page sizes</a:t>
            </a:r>
            <a:endParaRPr lang="en-PK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23E057F5-CAD0-DF4C-B693-71AC69078E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nux Page size is 4K</a:t>
            </a:r>
          </a:p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modern processors support other page siz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f we consider a server with 256G of RAM:</a:t>
            </a:r>
          </a:p>
          <a:p>
            <a:endParaRPr lang="en-PK" dirty="0"/>
          </a:p>
        </p:txBody>
      </p:sp>
      <p:graphicFrame>
        <p:nvGraphicFramePr>
          <p:cNvPr id="277" name="Google Shape;277;p37"/>
          <p:cNvGraphicFramePr/>
          <p:nvPr>
            <p:extLst>
              <p:ext uri="{D42A27DB-BD31-4B8C-83A1-F6EECF244321}">
                <p14:modId xmlns:p14="http://schemas.microsoft.com/office/powerpoint/2010/main" val="2568393062"/>
              </p:ext>
            </p:extLst>
          </p:nvPr>
        </p:nvGraphicFramePr>
        <p:xfrm>
          <a:off x="8461839" y="3176507"/>
          <a:ext cx="2611733" cy="21944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36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7532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4K</a:t>
                      </a:r>
                      <a:endParaRPr sz="24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67108864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2M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31072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G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256</a:t>
                      </a:r>
                      <a:endParaRPr sz="2400" dirty="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78" name="Google Shape;278;p37"/>
          <p:cNvSpPr/>
          <p:nvPr/>
        </p:nvSpPr>
        <p:spPr>
          <a:xfrm>
            <a:off x="8283089" y="3575968"/>
            <a:ext cx="1299800" cy="1166335"/>
          </a:xfrm>
          <a:custGeom>
            <a:avLst/>
            <a:gdLst/>
            <a:ahLst/>
            <a:cxnLst/>
            <a:rect l="l" t="t" r="r" b="b"/>
            <a:pathLst>
              <a:path w="38994" h="40339" extrusionOk="0">
                <a:moveTo>
                  <a:pt x="20025" y="2275"/>
                </a:moveTo>
                <a:cubicBezTo>
                  <a:pt x="13696" y="2275"/>
                  <a:pt x="5541" y="4406"/>
                  <a:pt x="2711" y="10067"/>
                </a:cubicBezTo>
                <a:cubicBezTo>
                  <a:pt x="47" y="15397"/>
                  <a:pt x="-297" y="21914"/>
                  <a:pt x="546" y="27813"/>
                </a:cubicBezTo>
                <a:cubicBezTo>
                  <a:pt x="1879" y="37141"/>
                  <a:pt x="16790" y="41483"/>
                  <a:pt x="26085" y="39933"/>
                </a:cubicBezTo>
                <a:cubicBezTo>
                  <a:pt x="29019" y="39444"/>
                  <a:pt x="29886" y="35356"/>
                  <a:pt x="31712" y="33008"/>
                </a:cubicBezTo>
                <a:cubicBezTo>
                  <a:pt x="37377" y="25724"/>
                  <a:pt x="42009" y="13120"/>
                  <a:pt x="36473" y="5738"/>
                </a:cubicBezTo>
                <a:cubicBezTo>
                  <a:pt x="30670" y="-1999"/>
                  <a:pt x="11797" y="-2046"/>
                  <a:pt x="7472" y="6604"/>
                </a:cubicBezTo>
              </a:path>
            </a:pathLst>
          </a:custGeom>
          <a:noFill/>
          <a:ln w="3810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9" name="Google Shape;279;p37"/>
          <p:cNvSpPr txBox="1"/>
          <p:nvPr/>
        </p:nvSpPr>
        <p:spPr>
          <a:xfrm rot="-1148617">
            <a:off x="5552181" y="4291583"/>
            <a:ext cx="2625628" cy="539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2400" dirty="0">
                <a:latin typeface="Arial" panose="020B0604020202020204" pitchFamily="34" charset="0"/>
                <a:ea typeface="Caveat"/>
                <a:cs typeface="Arial" panose="020B0604020202020204" pitchFamily="34" charset="0"/>
                <a:sym typeface="Caveat"/>
              </a:rPr>
              <a:t>large/huge pages</a:t>
            </a:r>
            <a:endParaRPr sz="2400" dirty="0">
              <a:latin typeface="Arial" panose="020B0604020202020204" pitchFamily="34" charset="0"/>
              <a:ea typeface="Caveat"/>
              <a:cs typeface="Arial" panose="020B0604020202020204" pitchFamily="34" charset="0"/>
              <a:sym typeface="Caveat"/>
            </a:endParaRPr>
          </a:p>
        </p:txBody>
      </p:sp>
    </p:spTree>
    <p:extLst>
      <p:ext uri="{BB962C8B-B14F-4D97-AF65-F5344CB8AC3E}">
        <p14:creationId xmlns:p14="http://schemas.microsoft.com/office/powerpoint/2010/main" val="48763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0109C3-361B-574B-AC5A-DBF2D8E2F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Classic Huge P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ABCF774-FC98-274B-A31F-72F868C082E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Tota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64041660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...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pagesiz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048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4k:      12811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2M:     395673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1G:    266338304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sysctl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-w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vm.nr_hugepages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=256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indent="1574761">
              <a:lnSpc>
                <a:spcPct val="115000"/>
              </a:lnSpc>
            </a:pPr>
            <a:endParaRPr lang="en-GB" sz="2000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GB" sz="1050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76935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64">
            <a:extLst>
              <a:ext uri="{FF2B5EF4-FFF2-40B4-BE49-F238E27FC236}">
                <a16:creationId xmlns:a16="http://schemas.microsoft.com/office/drawing/2014/main" id="{EC7F88AB-2B87-4F43-A652-8A02A6E63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124" y="1939214"/>
            <a:ext cx="2885901" cy="1570504"/>
          </a:xfrm>
          <a:prstGeom prst="roundRect">
            <a:avLst>
              <a:gd name="adj" fmla="val 9389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2" name="Freeform 66">
            <a:extLst>
              <a:ext uri="{FF2B5EF4-FFF2-40B4-BE49-F238E27FC236}">
                <a16:creationId xmlns:a16="http://schemas.microsoft.com/office/drawing/2014/main" id="{55EB60AB-ACEC-41AB-8A97-5B691C46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1939214"/>
            <a:ext cx="2883909" cy="1570504"/>
          </a:xfrm>
          <a:prstGeom prst="roundRect">
            <a:avLst>
              <a:gd name="adj" fmla="val 890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4" name="Freeform 68">
            <a:extLst>
              <a:ext uri="{FF2B5EF4-FFF2-40B4-BE49-F238E27FC236}">
                <a16:creationId xmlns:a16="http://schemas.microsoft.com/office/drawing/2014/main" id="{9C219447-C54E-45B2-9CF3-34145DE66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274" y="1939214"/>
            <a:ext cx="2885901" cy="1570504"/>
          </a:xfrm>
          <a:prstGeom prst="roundRect">
            <a:avLst>
              <a:gd name="adj" fmla="val 9227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96A22A9D-4D6D-4815-AE6C-F635C610B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3138" y="4418538"/>
            <a:ext cx="2885901" cy="1570504"/>
          </a:xfrm>
          <a:prstGeom prst="roundRect">
            <a:avLst>
              <a:gd name="adj" fmla="val 963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1C319915-092C-488C-BCB0-ED9AAA6BC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4709" y="4418538"/>
            <a:ext cx="2883909" cy="1570504"/>
          </a:xfrm>
          <a:prstGeom prst="roundRect">
            <a:avLst>
              <a:gd name="adj" fmla="val 10262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0" name="Freeform 74">
            <a:extLst>
              <a:ext uri="{FF2B5EF4-FFF2-40B4-BE49-F238E27FC236}">
                <a16:creationId xmlns:a16="http://schemas.microsoft.com/office/drawing/2014/main" id="{38974F59-A0AD-4C75-A136-90888154B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6280" y="4418538"/>
            <a:ext cx="2885901" cy="1570504"/>
          </a:xfrm>
          <a:prstGeom prst="roundRect">
            <a:avLst>
              <a:gd name="adj" fmla="val 9874"/>
            </a:avLst>
          </a:pr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2" name="Freeform 65">
            <a:extLst>
              <a:ext uri="{FF2B5EF4-FFF2-40B4-BE49-F238E27FC236}">
                <a16:creationId xmlns:a16="http://schemas.microsoft.com/office/drawing/2014/main" id="{A9BA9141-D57A-4B07-A4D2-5F1402000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23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4" name="Freeform 67">
            <a:extLst>
              <a:ext uri="{FF2B5EF4-FFF2-40B4-BE49-F238E27FC236}">
                <a16:creationId xmlns:a16="http://schemas.microsoft.com/office/drawing/2014/main" id="{EDF3C36B-CDF1-4FFD-A053-9A7DBDB2AB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2690 h 1516"/>
              <a:gd name="T18" fmla="*/ 545740 w 1517"/>
              <a:gd name="T19" fmla="*/ 27269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6"/>
                  <a:pt x="0" y="757"/>
                </a:cubicBezTo>
                <a:cubicBezTo>
                  <a:pt x="0" y="338"/>
                  <a:pt x="339" y="0"/>
                  <a:pt x="758" y="0"/>
                </a:cubicBezTo>
                <a:cubicBezTo>
                  <a:pt x="1176" y="0"/>
                  <a:pt x="1516" y="338"/>
                  <a:pt x="1516" y="757"/>
                </a:cubicBezTo>
                <a:cubicBezTo>
                  <a:pt x="1516" y="1176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6" name="Freeform 69">
            <a:extLst>
              <a:ext uri="{FF2B5EF4-FFF2-40B4-BE49-F238E27FC236}">
                <a16:creationId xmlns:a16="http://schemas.microsoft.com/office/drawing/2014/main" id="{ED040D78-3F5C-4DC3-9142-D20D2359AE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5474" y="238365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2690 h 1516"/>
              <a:gd name="T8" fmla="*/ 0 w 1517"/>
              <a:gd name="T9" fmla="*/ 27269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2690 h 1516"/>
              <a:gd name="T16" fmla="*/ 545740 w 1517"/>
              <a:gd name="T17" fmla="*/ 27269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40" y="1515"/>
                  <a:pt x="0" y="1176"/>
                  <a:pt x="0" y="757"/>
                </a:cubicBezTo>
                <a:cubicBezTo>
                  <a:pt x="0" y="338"/>
                  <a:pt x="340" y="0"/>
                  <a:pt x="758" y="0"/>
                </a:cubicBezTo>
                <a:cubicBezTo>
                  <a:pt x="1177" y="0"/>
                  <a:pt x="1516" y="338"/>
                  <a:pt x="1516" y="757"/>
                </a:cubicBezTo>
                <a:cubicBezTo>
                  <a:pt x="1516" y="1176"/>
                  <a:pt x="1177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98" name="Freeform 71">
            <a:extLst>
              <a:ext uri="{FF2B5EF4-FFF2-40B4-BE49-F238E27FC236}">
                <a16:creationId xmlns:a16="http://schemas.microsoft.com/office/drawing/2014/main" id="{9F5B66EF-FE0A-44E8-8165-359AF63DD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337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545740 w 1517"/>
              <a:gd name="T15" fmla="*/ 273050 h 1516"/>
              <a:gd name="T16" fmla="*/ 545740 w 1517"/>
              <a:gd name="T17" fmla="*/ 273050 h 1516"/>
              <a:gd name="T18" fmla="*/ 272870 w 1517"/>
              <a:gd name="T19" fmla="*/ 545740 h 151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0" name="Freeform 73">
            <a:extLst>
              <a:ext uri="{FF2B5EF4-FFF2-40B4-BE49-F238E27FC236}">
                <a16:creationId xmlns:a16="http://schemas.microsoft.com/office/drawing/2014/main" id="{40227C0D-9619-4B62-88E2-8AABC6F3E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909" y="4860989"/>
            <a:ext cx="685601" cy="685601"/>
          </a:xfrm>
          <a:custGeom>
            <a:avLst/>
            <a:gdLst>
              <a:gd name="T0" fmla="*/ 272870 w 1517"/>
              <a:gd name="T1" fmla="*/ 545740 h 1516"/>
              <a:gd name="T2" fmla="*/ 272870 w 1517"/>
              <a:gd name="T3" fmla="*/ 545740 h 1516"/>
              <a:gd name="T4" fmla="*/ 272870 w 1517"/>
              <a:gd name="T5" fmla="*/ 545740 h 1516"/>
              <a:gd name="T6" fmla="*/ 0 w 1517"/>
              <a:gd name="T7" fmla="*/ 273050 h 1516"/>
              <a:gd name="T8" fmla="*/ 0 w 1517"/>
              <a:gd name="T9" fmla="*/ 273050 h 1516"/>
              <a:gd name="T10" fmla="*/ 272870 w 1517"/>
              <a:gd name="T11" fmla="*/ 0 h 1516"/>
              <a:gd name="T12" fmla="*/ 272870 w 1517"/>
              <a:gd name="T13" fmla="*/ 0 h 1516"/>
              <a:gd name="T14" fmla="*/ 272870 w 1517"/>
              <a:gd name="T15" fmla="*/ 0 h 1516"/>
              <a:gd name="T16" fmla="*/ 545740 w 1517"/>
              <a:gd name="T17" fmla="*/ 273050 h 1516"/>
              <a:gd name="T18" fmla="*/ 545740 w 1517"/>
              <a:gd name="T19" fmla="*/ 273050 h 1516"/>
              <a:gd name="T20" fmla="*/ 272870 w 1517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7" h="1516">
                <a:moveTo>
                  <a:pt x="758" y="1515"/>
                </a:moveTo>
                <a:lnTo>
                  <a:pt x="758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8" y="0"/>
                </a:cubicBezTo>
                <a:cubicBezTo>
                  <a:pt x="1176" y="0"/>
                  <a:pt x="1516" y="339"/>
                  <a:pt x="1516" y="758"/>
                </a:cubicBezTo>
                <a:cubicBezTo>
                  <a:pt x="1516" y="1177"/>
                  <a:pt x="1176" y="1515"/>
                  <a:pt x="758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2" name="Freeform 75">
            <a:extLst>
              <a:ext uri="{FF2B5EF4-FFF2-40B4-BE49-F238E27FC236}">
                <a16:creationId xmlns:a16="http://schemas.microsoft.com/office/drawing/2014/main" id="{25BE3F63-D919-4FF5-9C08-A8CA3B2EB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3480" y="4860989"/>
            <a:ext cx="685601" cy="685601"/>
          </a:xfrm>
          <a:custGeom>
            <a:avLst/>
            <a:gdLst>
              <a:gd name="T0" fmla="*/ 272690 w 1516"/>
              <a:gd name="T1" fmla="*/ 545740 h 1516"/>
              <a:gd name="T2" fmla="*/ 272690 w 1516"/>
              <a:gd name="T3" fmla="*/ 545740 h 1516"/>
              <a:gd name="T4" fmla="*/ 272690 w 1516"/>
              <a:gd name="T5" fmla="*/ 545740 h 1516"/>
              <a:gd name="T6" fmla="*/ 0 w 1516"/>
              <a:gd name="T7" fmla="*/ 273050 h 1516"/>
              <a:gd name="T8" fmla="*/ 0 w 1516"/>
              <a:gd name="T9" fmla="*/ 273050 h 1516"/>
              <a:gd name="T10" fmla="*/ 272690 w 1516"/>
              <a:gd name="T11" fmla="*/ 0 h 1516"/>
              <a:gd name="T12" fmla="*/ 272690 w 1516"/>
              <a:gd name="T13" fmla="*/ 0 h 1516"/>
              <a:gd name="T14" fmla="*/ 272690 w 1516"/>
              <a:gd name="T15" fmla="*/ 0 h 1516"/>
              <a:gd name="T16" fmla="*/ 545740 w 1516"/>
              <a:gd name="T17" fmla="*/ 273050 h 1516"/>
              <a:gd name="T18" fmla="*/ 545740 w 1516"/>
              <a:gd name="T19" fmla="*/ 273050 h 1516"/>
              <a:gd name="T20" fmla="*/ 272690 w 1516"/>
              <a:gd name="T21" fmla="*/ 545740 h 15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6" h="1516">
                <a:moveTo>
                  <a:pt x="757" y="1515"/>
                </a:moveTo>
                <a:lnTo>
                  <a:pt x="757" y="1515"/>
                </a:lnTo>
                <a:cubicBezTo>
                  <a:pt x="339" y="1515"/>
                  <a:pt x="0" y="1177"/>
                  <a:pt x="0" y="758"/>
                </a:cubicBezTo>
                <a:cubicBezTo>
                  <a:pt x="0" y="339"/>
                  <a:pt x="339" y="0"/>
                  <a:pt x="757" y="0"/>
                </a:cubicBezTo>
                <a:cubicBezTo>
                  <a:pt x="1176" y="0"/>
                  <a:pt x="1515" y="339"/>
                  <a:pt x="1515" y="758"/>
                </a:cubicBezTo>
                <a:cubicBezTo>
                  <a:pt x="1515" y="1177"/>
                  <a:pt x="1176" y="1515"/>
                  <a:pt x="757" y="15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4" name="Freeform 394">
            <a:extLst>
              <a:ext uri="{FF2B5EF4-FFF2-40B4-BE49-F238E27FC236}">
                <a16:creationId xmlns:a16="http://schemas.microsoft.com/office/drawing/2014/main" id="{8CFE1DBD-1436-4A3A-924A-1B49063B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2437471"/>
            <a:ext cx="577978" cy="577978"/>
          </a:xfrm>
          <a:custGeom>
            <a:avLst/>
            <a:gdLst>
              <a:gd name="T0" fmla="*/ 460014 w 1277"/>
              <a:gd name="T1" fmla="*/ 230007 h 1277"/>
              <a:gd name="T2" fmla="*/ 460014 w 1277"/>
              <a:gd name="T3" fmla="*/ 230007 h 1277"/>
              <a:gd name="T4" fmla="*/ 230007 w 1277"/>
              <a:gd name="T5" fmla="*/ 460014 h 1277"/>
              <a:gd name="T6" fmla="*/ 230007 w 1277"/>
              <a:gd name="T7" fmla="*/ 460014 h 1277"/>
              <a:gd name="T8" fmla="*/ 0 w 1277"/>
              <a:gd name="T9" fmla="*/ 230007 h 1277"/>
              <a:gd name="T10" fmla="*/ 0 w 1277"/>
              <a:gd name="T11" fmla="*/ 230007 h 1277"/>
              <a:gd name="T12" fmla="*/ 230007 w 1277"/>
              <a:gd name="T13" fmla="*/ 0 h 1277"/>
              <a:gd name="T14" fmla="*/ 230007 w 1277"/>
              <a:gd name="T15" fmla="*/ 0 h 1277"/>
              <a:gd name="T16" fmla="*/ 460014 w 1277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7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6"/>
                  <a:pt x="638" y="1276"/>
                </a:cubicBezTo>
                <a:cubicBezTo>
                  <a:pt x="285" y="1276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6" name="Freeform 395">
            <a:extLst>
              <a:ext uri="{FF2B5EF4-FFF2-40B4-BE49-F238E27FC236}">
                <a16:creationId xmlns:a16="http://schemas.microsoft.com/office/drawing/2014/main" id="{73BC68BF-3C68-47B3-AB13-72F2AC1F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149" y="4914801"/>
            <a:ext cx="577978" cy="577978"/>
          </a:xfrm>
          <a:custGeom>
            <a:avLst/>
            <a:gdLst>
              <a:gd name="T0" fmla="*/ 460014 w 1277"/>
              <a:gd name="T1" fmla="*/ 229827 h 1278"/>
              <a:gd name="T2" fmla="*/ 460014 w 1277"/>
              <a:gd name="T3" fmla="*/ 229827 h 1278"/>
              <a:gd name="T4" fmla="*/ 230007 w 1277"/>
              <a:gd name="T5" fmla="*/ 460015 h 1278"/>
              <a:gd name="T6" fmla="*/ 230007 w 1277"/>
              <a:gd name="T7" fmla="*/ 460015 h 1278"/>
              <a:gd name="T8" fmla="*/ 0 w 1277"/>
              <a:gd name="T9" fmla="*/ 229827 h 1278"/>
              <a:gd name="T10" fmla="*/ 0 w 1277"/>
              <a:gd name="T11" fmla="*/ 229827 h 1278"/>
              <a:gd name="T12" fmla="*/ 230007 w 1277"/>
              <a:gd name="T13" fmla="*/ 0 h 1278"/>
              <a:gd name="T14" fmla="*/ 230007 w 1277"/>
              <a:gd name="T15" fmla="*/ 0 h 1278"/>
              <a:gd name="T16" fmla="*/ 460014 w 1277"/>
              <a:gd name="T17" fmla="*/ 229827 h 12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7" h="1278">
                <a:moveTo>
                  <a:pt x="1276" y="638"/>
                </a:moveTo>
                <a:lnTo>
                  <a:pt x="1276" y="638"/>
                </a:lnTo>
                <a:cubicBezTo>
                  <a:pt x="1276" y="991"/>
                  <a:pt x="990" y="1277"/>
                  <a:pt x="638" y="1277"/>
                </a:cubicBezTo>
                <a:cubicBezTo>
                  <a:pt x="285" y="1277"/>
                  <a:pt x="0" y="991"/>
                  <a:pt x="0" y="638"/>
                </a:cubicBezTo>
                <a:cubicBezTo>
                  <a:pt x="0" y="286"/>
                  <a:pt x="285" y="0"/>
                  <a:pt x="638" y="0"/>
                </a:cubicBezTo>
                <a:cubicBezTo>
                  <a:pt x="990" y="0"/>
                  <a:pt x="1276" y="286"/>
                  <a:pt x="1276" y="6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08" name="Freeform 396">
            <a:extLst>
              <a:ext uri="{FF2B5EF4-FFF2-40B4-BE49-F238E27FC236}">
                <a16:creationId xmlns:a16="http://schemas.microsoft.com/office/drawing/2014/main" id="{A8140764-F817-42E7-98D2-D47E354CF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243747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30188 w 1278"/>
              <a:gd name="T5" fmla="*/ 460014 h 1277"/>
              <a:gd name="T6" fmla="*/ 230188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30188 w 1278"/>
              <a:gd name="T13" fmla="*/ 0 h 1277"/>
              <a:gd name="T14" fmla="*/ 230188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9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6"/>
                  <a:pt x="286" y="0"/>
                  <a:pt x="639" y="0"/>
                </a:cubicBezTo>
                <a:cubicBezTo>
                  <a:pt x="991" y="0"/>
                  <a:pt x="1277" y="286"/>
                  <a:pt x="1277" y="6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0" name="Freeform 397">
            <a:extLst>
              <a:ext uri="{FF2B5EF4-FFF2-40B4-BE49-F238E27FC236}">
                <a16:creationId xmlns:a16="http://schemas.microsoft.com/office/drawing/2014/main" id="{B1E5DA25-E7E0-4439-BA16-386D6B607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713" y="4915797"/>
            <a:ext cx="577978" cy="575985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30188 w 1278"/>
              <a:gd name="T5" fmla="*/ 458428 h 1276"/>
              <a:gd name="T6" fmla="*/ 230188 w 1278"/>
              <a:gd name="T7" fmla="*/ 458428 h 1276"/>
              <a:gd name="T8" fmla="*/ 0 w 1278"/>
              <a:gd name="T9" fmla="*/ 229394 h 1276"/>
              <a:gd name="T10" fmla="*/ 0 w 1278"/>
              <a:gd name="T11" fmla="*/ 229394 h 1276"/>
              <a:gd name="T12" fmla="*/ 230188 w 1278"/>
              <a:gd name="T13" fmla="*/ 0 h 1276"/>
              <a:gd name="T14" fmla="*/ 230188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9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9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2" name="Freeform 398">
            <a:extLst>
              <a:ext uri="{FF2B5EF4-FFF2-40B4-BE49-F238E27FC236}">
                <a16:creationId xmlns:a16="http://schemas.microsoft.com/office/drawing/2014/main" id="{B6BF1F56-7A3E-4026-B510-5CC997F14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2438468"/>
            <a:ext cx="577978" cy="575984"/>
          </a:xfrm>
          <a:custGeom>
            <a:avLst/>
            <a:gdLst>
              <a:gd name="T0" fmla="*/ 460015 w 1278"/>
              <a:gd name="T1" fmla="*/ 229394 h 1276"/>
              <a:gd name="T2" fmla="*/ 460015 w 1278"/>
              <a:gd name="T3" fmla="*/ 229394 h 1276"/>
              <a:gd name="T4" fmla="*/ 229827 w 1278"/>
              <a:gd name="T5" fmla="*/ 458427 h 1276"/>
              <a:gd name="T6" fmla="*/ 229827 w 1278"/>
              <a:gd name="T7" fmla="*/ 458427 h 1276"/>
              <a:gd name="T8" fmla="*/ 0 w 1278"/>
              <a:gd name="T9" fmla="*/ 229394 h 1276"/>
              <a:gd name="T10" fmla="*/ 0 w 1278"/>
              <a:gd name="T11" fmla="*/ 229394 h 1276"/>
              <a:gd name="T12" fmla="*/ 229827 w 1278"/>
              <a:gd name="T13" fmla="*/ 0 h 1276"/>
              <a:gd name="T14" fmla="*/ 229827 w 1278"/>
              <a:gd name="T15" fmla="*/ 0 h 1276"/>
              <a:gd name="T16" fmla="*/ 460015 w 1278"/>
              <a:gd name="T17" fmla="*/ 229394 h 1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6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5"/>
                  <a:pt x="638" y="1275"/>
                </a:cubicBezTo>
                <a:cubicBezTo>
                  <a:pt x="286" y="1275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114" name="Freeform 399">
            <a:extLst>
              <a:ext uri="{FF2B5EF4-FFF2-40B4-BE49-F238E27FC236}">
                <a16:creationId xmlns:a16="http://schemas.microsoft.com/office/drawing/2014/main" id="{0ED1CCB6-8157-474B-BA0E-57662BB7A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78" y="4914801"/>
            <a:ext cx="577978" cy="577978"/>
          </a:xfrm>
          <a:custGeom>
            <a:avLst/>
            <a:gdLst>
              <a:gd name="T0" fmla="*/ 460015 w 1278"/>
              <a:gd name="T1" fmla="*/ 230007 h 1277"/>
              <a:gd name="T2" fmla="*/ 460015 w 1278"/>
              <a:gd name="T3" fmla="*/ 230007 h 1277"/>
              <a:gd name="T4" fmla="*/ 229827 w 1278"/>
              <a:gd name="T5" fmla="*/ 460014 h 1277"/>
              <a:gd name="T6" fmla="*/ 229827 w 1278"/>
              <a:gd name="T7" fmla="*/ 460014 h 1277"/>
              <a:gd name="T8" fmla="*/ 0 w 1278"/>
              <a:gd name="T9" fmla="*/ 230007 h 1277"/>
              <a:gd name="T10" fmla="*/ 0 w 1278"/>
              <a:gd name="T11" fmla="*/ 230007 h 1277"/>
              <a:gd name="T12" fmla="*/ 229827 w 1278"/>
              <a:gd name="T13" fmla="*/ 0 h 1277"/>
              <a:gd name="T14" fmla="*/ 229827 w 1278"/>
              <a:gd name="T15" fmla="*/ 0 h 1277"/>
              <a:gd name="T16" fmla="*/ 460015 w 1278"/>
              <a:gd name="T17" fmla="*/ 230007 h 127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78" h="1277">
                <a:moveTo>
                  <a:pt x="1277" y="638"/>
                </a:moveTo>
                <a:lnTo>
                  <a:pt x="1277" y="638"/>
                </a:lnTo>
                <a:cubicBezTo>
                  <a:pt x="1277" y="990"/>
                  <a:pt x="991" y="1276"/>
                  <a:pt x="638" y="1276"/>
                </a:cubicBezTo>
                <a:cubicBezTo>
                  <a:pt x="286" y="1276"/>
                  <a:pt x="0" y="990"/>
                  <a:pt x="0" y="638"/>
                </a:cubicBezTo>
                <a:cubicBezTo>
                  <a:pt x="0" y="285"/>
                  <a:pt x="286" y="0"/>
                  <a:pt x="638" y="0"/>
                </a:cubicBezTo>
                <a:cubicBezTo>
                  <a:pt x="991" y="0"/>
                  <a:pt x="1277" y="285"/>
                  <a:pt x="1277" y="638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Poppins" panose="000005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788E36-D152-4EF3-BCB1-18063DE5F82E}"/>
              </a:ext>
            </a:extLst>
          </p:cNvPr>
          <p:cNvSpPr txBox="1"/>
          <p:nvPr/>
        </p:nvSpPr>
        <p:spPr>
          <a:xfrm>
            <a:off x="1562127" y="2302216"/>
            <a:ext cx="2425642" cy="31162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PK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assic Huge Pages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7609CE-9E1D-4780-80BD-8263E2554313}"/>
              </a:ext>
            </a:extLst>
          </p:cNvPr>
          <p:cNvSpPr txBox="1"/>
          <p:nvPr/>
        </p:nvSpPr>
        <p:spPr>
          <a:xfrm>
            <a:off x="1603126" y="4613721"/>
            <a:ext cx="2399909" cy="77328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vercommit_memory</a:t>
            </a:r>
            <a: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&amp; 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vercommit_ratio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A63F53-0931-46CC-86EF-22E0B880ECDC}"/>
              </a:ext>
            </a:extLst>
          </p:cNvPr>
          <p:cNvSpPr txBox="1"/>
          <p:nvPr/>
        </p:nvSpPr>
        <p:spPr>
          <a:xfrm>
            <a:off x="5455807" y="2283813"/>
            <a:ext cx="1607067" cy="56085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PK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ranparent Huge Pages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05F21C-1ADC-408B-BCE7-41C0C2BE47DA}"/>
              </a:ext>
            </a:extLst>
          </p:cNvPr>
          <p:cNvSpPr txBox="1"/>
          <p:nvPr/>
        </p:nvSpPr>
        <p:spPr>
          <a:xfrm>
            <a:off x="5215874" y="4701728"/>
            <a:ext cx="2407785" cy="77328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rty_background_ratio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&amp; 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rty_background_bytes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40C74F-1233-4883-895D-E700467DBF44}"/>
              </a:ext>
            </a:extLst>
          </p:cNvPr>
          <p:cNvSpPr txBox="1"/>
          <p:nvPr/>
        </p:nvSpPr>
        <p:spPr>
          <a:xfrm>
            <a:off x="9015696" y="2344290"/>
            <a:ext cx="1607067" cy="31162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GB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wappines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B1F01E-497F-41EB-AE0C-90AB696A012D}"/>
              </a:ext>
            </a:extLst>
          </p:cNvPr>
          <p:cNvSpPr txBox="1"/>
          <p:nvPr/>
        </p:nvSpPr>
        <p:spPr>
          <a:xfrm>
            <a:off x="8733664" y="4699257"/>
            <a:ext cx="2415970" cy="79252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lvl="1" indent="-285750" algn="ctr">
              <a:lnSpc>
                <a:spcPts val="1750"/>
              </a:lnSpc>
            </a:pP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m.dirty_ratio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&amp; </a:t>
            </a:r>
            <a:br>
              <a:rPr lang="en-US" sz="1200" b="1" spc="-15" dirty="0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200" b="1" spc="-15" dirty="0" err="1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m.dirty_bytes</a:t>
            </a:r>
            <a:endParaRPr lang="en-US" sz="1200" b="1" spc="-15" dirty="0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711EFD-72EB-400E-8DB3-C06252076283}"/>
              </a:ext>
            </a:extLst>
          </p:cNvPr>
          <p:cNvSpPr txBox="1"/>
          <p:nvPr/>
        </p:nvSpPr>
        <p:spPr>
          <a:xfrm>
            <a:off x="984568" y="2482125"/>
            <a:ext cx="54973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C15A73C-CE3A-456F-87A6-0CF7304E915A}"/>
              </a:ext>
            </a:extLst>
          </p:cNvPr>
          <p:cNvSpPr txBox="1"/>
          <p:nvPr/>
        </p:nvSpPr>
        <p:spPr>
          <a:xfrm>
            <a:off x="4550728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6CFD60-3077-4D5C-BF89-6796C7CD3B3F}"/>
              </a:ext>
            </a:extLst>
          </p:cNvPr>
          <p:cNvSpPr txBox="1"/>
          <p:nvPr/>
        </p:nvSpPr>
        <p:spPr>
          <a:xfrm>
            <a:off x="8105861" y="2112793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5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93E148-699E-4314-B9EF-8FF989562721}"/>
              </a:ext>
            </a:extLst>
          </p:cNvPr>
          <p:cNvSpPr txBox="1"/>
          <p:nvPr/>
        </p:nvSpPr>
        <p:spPr>
          <a:xfrm>
            <a:off x="98456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1E4FDAD-E54F-49F6-89E3-03640C9DC386}"/>
              </a:ext>
            </a:extLst>
          </p:cNvPr>
          <p:cNvSpPr txBox="1"/>
          <p:nvPr/>
        </p:nvSpPr>
        <p:spPr>
          <a:xfrm>
            <a:off x="4550728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E73223-BE6F-4164-902D-CC684CC471F5}"/>
              </a:ext>
            </a:extLst>
          </p:cNvPr>
          <p:cNvSpPr txBox="1"/>
          <p:nvPr/>
        </p:nvSpPr>
        <p:spPr>
          <a:xfrm>
            <a:off x="8105861" y="4592175"/>
            <a:ext cx="549739" cy="83099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0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EBC16-C1AC-4143-A6A6-11A717BDA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Tunning Parameters</a:t>
            </a:r>
          </a:p>
        </p:txBody>
      </p:sp>
    </p:spTree>
    <p:extLst>
      <p:ext uri="{BB962C8B-B14F-4D97-AF65-F5344CB8AC3E}">
        <p14:creationId xmlns:p14="http://schemas.microsoft.com/office/powerpoint/2010/main" val="93866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7CC48-770B-E54F-B504-F4C0C8469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C0189EA-29E4-E04B-B419-7E8BD872612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vi /etc/default/grub</a:t>
            </a:r>
          </a:p>
          <a:p>
            <a:pPr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RUB_CMDLINE_LINUX_DEFAULT="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B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default_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”</a:t>
            </a:r>
          </a:p>
          <a:p>
            <a:pPr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update-grub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enerating grub configuration file ...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linux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vmlinuz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initrd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initrd.img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elf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bin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Done</a:t>
            </a:r>
          </a:p>
          <a:p>
            <a:pPr lvl="1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shutdown -r now</a:t>
            </a: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30814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8F8578-3F75-6144-BFFA-C558627EE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BAD293-85A3-8D4A-BB37-D72B01BFEF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vim /et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10/main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.conf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_pages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ON # default is try</a:t>
            </a: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service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start</a:t>
            </a:r>
          </a:p>
          <a:p>
            <a:pPr lvl="0"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/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PK" dirty="0"/>
          </a:p>
        </p:txBody>
      </p:sp>
      <p:sp>
        <p:nvSpPr>
          <p:cNvPr id="508" name="Google Shape;508;p65"/>
          <p:cNvSpPr txBox="1"/>
          <p:nvPr/>
        </p:nvSpPr>
        <p:spPr>
          <a:xfrm>
            <a:off x="5163033" y="1986641"/>
            <a:ext cx="8310800" cy="5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2933" u="sng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48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76C3A-AF90-6947-B67A-A2401A2C2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Transparent Huge pag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B7DAEF-B022-4C47-8105-A90EA0EC5A4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" dirty="0"/>
              <a:t>The kernel works in the background (</a:t>
            </a:r>
            <a:r>
              <a:rPr lang="en" dirty="0" err="1">
                <a:sym typeface="Courier New"/>
              </a:rPr>
              <a:t>khugepaged</a:t>
            </a:r>
            <a:r>
              <a:rPr lang="en" dirty="0"/>
              <a:t>) trying to: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"create" huge pages.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Find enough contiguous blocks of memory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Convert them into a huge pag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ransparently allocate them to processes when</a:t>
            </a:r>
            <a:r>
              <a:rPr lang="en-US" dirty="0">
                <a:sym typeface="Arial"/>
              </a:rPr>
              <a:t> </a:t>
            </a:r>
            <a:r>
              <a:rPr lang="en-US" dirty="0"/>
              <a:t>there is a "fit"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407164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1C4FF6-7C78-E740-98D7-6B09F8546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Disabling Transparent Huge pages</a:t>
            </a:r>
            <a:endParaRPr lang="en-P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15342F0-7879-C746-B56F-C05B2C0FF56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pPr mar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| grep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Page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2048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</a:t>
            </a: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ux | </a:t>
            </a:r>
            <a:r>
              <a:rPr lang="en-GB" b="1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grep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huge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oot        42  0.0  0.0      0     0 ?        SN   Jan17   0:00 [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khugepaged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]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To disable i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run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enabled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defrag</a:t>
            </a:r>
          </a:p>
          <a:p>
            <a:pPr marL="0" lv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boot 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GRUB_CMDLINE_LINUX_DEFAULT="(...) </a:t>
            </a: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never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048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89D42-AC7A-D648-B519-E979FFEAF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vm.swappin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300D3C-20CA-DD47-A7E3-ABD4C39B30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 This is another kernel parameter that can affect the performance of the database. 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Used to control the swappiness (swapping pages to swap memory into RAM) behavior on a Linux system. 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parameter can take anything from “0” to “100”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default value is 60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Higher value means more aggressively swap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883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2D7B-3BD2-E345-B7B2-5B6985F9E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overcommit_memory and vm.overcommit_ratio</a:t>
            </a:r>
            <a:endParaRPr lang="en-P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C2E3DE-C7DA-5341-8F92-CE84184BB8A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Applications acquire memory and free that memory when it is no longer needed. </a:t>
            </a:r>
            <a:endParaRPr lang="en-US" sz="2000" dirty="0"/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But in some cases, an application acquires too much memory and does not release it.  This can invoke the OOM killer. 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is is used to control the memory over-commit.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has three option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Heuristic overcommit, Do it intelligently (default); based kernel heuristic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Allow overcommit anyway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Don’t over commit beyond the overcommit ratio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699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91609-27EA-A04F-A706-5BC6040BB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dirty_background_ratio and vm.dirty_background_byt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675343-601E-2C44-B848-7A1F8C30BD3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vm.dirty_background_ratio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back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 The value of this parameter ranges from 0 to 100;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33674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4" name="Group 523">
            <a:extLst>
              <a:ext uri="{FF2B5EF4-FFF2-40B4-BE49-F238E27FC236}">
                <a16:creationId xmlns:a16="http://schemas.microsoft.com/office/drawing/2014/main" id="{E638C8F5-F5D6-F049-9678-8C504FA5325A}"/>
              </a:ext>
            </a:extLst>
          </p:cNvPr>
          <p:cNvGrpSpPr/>
          <p:nvPr/>
        </p:nvGrpSpPr>
        <p:grpSpPr>
          <a:xfrm>
            <a:off x="1411382" y="1319126"/>
            <a:ext cx="9563201" cy="4743246"/>
            <a:chOff x="1314400" y="1693199"/>
            <a:chExt cx="9563201" cy="4743246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00" y="1693199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026" y="3467452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2906" y="1693199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9" name="Freeform 426">
              <a:extLst>
                <a:ext uri="{FF2B5EF4-FFF2-40B4-BE49-F238E27FC236}">
                  <a16:creationId xmlns:a16="http://schemas.microsoft.com/office/drawing/2014/main" id="{8298E5C9-58BA-2140-BFA8-B2DDB084C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0788" y="3467452"/>
              <a:ext cx="2968933" cy="2968993"/>
            </a:xfrm>
            <a:custGeom>
              <a:avLst/>
              <a:gdLst>
                <a:gd name="T0" fmla="*/ 1313125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125 w 4766"/>
                <a:gd name="T9" fmla="*/ 134579 h 4766"/>
                <a:gd name="T10" fmla="*/ 1313125 w 4766"/>
                <a:gd name="T11" fmla="*/ 134579 h 4766"/>
                <a:gd name="T12" fmla="*/ 1799177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177 w 4766"/>
                <a:gd name="T21" fmla="*/ 2978376 h 4766"/>
                <a:gd name="T22" fmla="*/ 1799177 w 4766"/>
                <a:gd name="T23" fmla="*/ 2978376 h 4766"/>
                <a:gd name="T24" fmla="*/ 1313125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0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0" y="206"/>
                  </a:lnTo>
                  <a:cubicBezTo>
                    <a:pt x="2216" y="0"/>
                    <a:pt x="2549" y="0"/>
                    <a:pt x="2754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4" y="4559"/>
                  </a:lnTo>
                  <a:cubicBezTo>
                    <a:pt x="2549" y="4765"/>
                    <a:pt x="2216" y="4765"/>
                    <a:pt x="2010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748332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altLang="ko-KR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ardwa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738152" y="3172119"/>
              <a:ext cx="2134705" cy="292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hoose your hardware wisely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380159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Workload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380159" y="4930523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hoose Database according to your workloa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141583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perating System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037406" y="3172119"/>
              <a:ext cx="2134705" cy="660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200000"/>
                </a:lnSpc>
              </a:pPr>
              <a:r>
                <a:rPr lang="en-US" sz="1000" b="1" dirty="0"/>
                <a:t>Operating System </a:t>
              </a:r>
              <a:r>
                <a:rPr lang="en-US" sz="1000" dirty="0"/>
                <a:t>Selection and  </a:t>
              </a:r>
              <a:r>
                <a:rPr lang="en-US" sz="1000" b="1" dirty="0"/>
                <a:t>Tun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6F5AC5-377A-F345-82C4-0ED5FBACC271}"/>
                </a:ext>
              </a:extLst>
            </p:cNvPr>
            <p:cNvSpPr txBox="1"/>
            <p:nvPr/>
          </p:nvSpPr>
          <p:spPr>
            <a:xfrm>
              <a:off x="6679413" y="465000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Databas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46A20-F6AF-0940-868E-635B7ACFB596}"/>
                </a:ext>
              </a:extLst>
            </p:cNvPr>
            <p:cNvSpPr txBox="1"/>
            <p:nvPr/>
          </p:nvSpPr>
          <p:spPr>
            <a:xfrm>
              <a:off x="6679413" y="4930523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hoose your database according your data need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326765" y="2844839"/>
              <a:ext cx="2134705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4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Arial"/>
                </a:rPr>
                <a:t>Software</a:t>
              </a:r>
              <a:endParaRPr lang="ko-KR" altLang="en-US" sz="1400" b="1" dirty="0"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334384" y="3172119"/>
              <a:ext cx="2134705" cy="522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00" spc="-1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oftware Impact on database performance</a:t>
              </a:r>
            </a:p>
          </p:txBody>
        </p:sp>
        <p:pic>
          <p:nvPicPr>
            <p:cNvPr id="76" name="Picture 7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77E5C37-8266-4E4C-B540-27AFA6CB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 flipH="1">
              <a:off x="7498109" y="3982648"/>
              <a:ext cx="494290" cy="509943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17A8074-FACB-1540-87D6-EC54D67A7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784327" y="2099901"/>
              <a:ext cx="623346" cy="30777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90FBA5B1-33B6-3A41-84CA-8252509AD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5803331" y="2459537"/>
              <a:ext cx="585337" cy="293436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0FE82B9-709F-C542-893A-6F5D0A8F50C5}"/>
                </a:ext>
              </a:extLst>
            </p:cNvPr>
            <p:cNvGrpSpPr/>
            <p:nvPr/>
          </p:nvGrpSpPr>
          <p:grpSpPr>
            <a:xfrm>
              <a:off x="4002731" y="3998587"/>
              <a:ext cx="1146623" cy="660792"/>
              <a:chOff x="1484788" y="2873431"/>
              <a:chExt cx="13116267" cy="10080569"/>
            </a:xfrm>
          </p:grpSpPr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757617D3-44F2-2140-8961-9CF01228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788" y="3827908"/>
                <a:ext cx="11602745" cy="8530323"/>
              </a:xfrm>
              <a:custGeom>
                <a:avLst/>
                <a:gdLst>
                  <a:gd name="connsiteX0" fmla="*/ 9801527 w 10714073"/>
                  <a:gd name="connsiteY0" fmla="*/ 0 h 7876973"/>
                  <a:gd name="connsiteX1" fmla="*/ 10714073 w 10714073"/>
                  <a:gd name="connsiteY1" fmla="*/ 911795 h 7876973"/>
                  <a:gd name="connsiteX2" fmla="*/ 5730676 w 10714073"/>
                  <a:gd name="connsiteY2" fmla="*/ 5894014 h 7876973"/>
                  <a:gd name="connsiteX3" fmla="*/ 5485719 w 10714073"/>
                  <a:gd name="connsiteY3" fmla="*/ 6139598 h 7876973"/>
                  <a:gd name="connsiteX4" fmla="*/ 4961839 w 10714073"/>
                  <a:gd name="connsiteY4" fmla="*/ 6662770 h 7876973"/>
                  <a:gd name="connsiteX5" fmla="*/ 3748161 w 10714073"/>
                  <a:gd name="connsiteY5" fmla="*/ 7876973 h 7876973"/>
                  <a:gd name="connsiteX6" fmla="*/ 0 w 10714073"/>
                  <a:gd name="connsiteY6" fmla="*/ 4128553 h 7876973"/>
                  <a:gd name="connsiteX7" fmla="*/ 911238 w 10714073"/>
                  <a:gd name="connsiteY7" fmla="*/ 3217410 h 7876973"/>
                  <a:gd name="connsiteX8" fmla="*/ 2027587 w 10714073"/>
                  <a:gd name="connsiteY8" fmla="*/ 4332988 h 7876973"/>
                  <a:gd name="connsiteX9" fmla="*/ 3100170 w 10714073"/>
                  <a:gd name="connsiteY9" fmla="*/ 5405458 h 7876973"/>
                  <a:gd name="connsiteX10" fmla="*/ 3748161 w 10714073"/>
                  <a:gd name="connsiteY10" fmla="*/ 6053382 h 7876973"/>
                  <a:gd name="connsiteX11" fmla="*/ 4396153 w 10714073"/>
                  <a:gd name="connsiteY11" fmla="*/ 5405458 h 7876973"/>
                  <a:gd name="connsiteX12" fmla="*/ 8343546 w 10714073"/>
                  <a:gd name="connsiteY12" fmla="*/ 1457828 h 787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14073" h="7876973">
                    <a:moveTo>
                      <a:pt x="9801527" y="0"/>
                    </a:moveTo>
                    <a:lnTo>
                      <a:pt x="10714073" y="911795"/>
                    </a:lnTo>
                    <a:lnTo>
                      <a:pt x="5730676" y="5894014"/>
                    </a:lnTo>
                    <a:lnTo>
                      <a:pt x="5485719" y="6139598"/>
                    </a:lnTo>
                    <a:lnTo>
                      <a:pt x="4961839" y="6662770"/>
                    </a:lnTo>
                    <a:lnTo>
                      <a:pt x="3748161" y="7876973"/>
                    </a:lnTo>
                    <a:lnTo>
                      <a:pt x="0" y="4128553"/>
                    </a:lnTo>
                    <a:lnTo>
                      <a:pt x="911238" y="3217410"/>
                    </a:lnTo>
                    <a:lnTo>
                      <a:pt x="2027587" y="4332988"/>
                    </a:lnTo>
                    <a:lnTo>
                      <a:pt x="3100170" y="5405458"/>
                    </a:lnTo>
                    <a:lnTo>
                      <a:pt x="3748161" y="6053382"/>
                    </a:lnTo>
                    <a:lnTo>
                      <a:pt x="4396153" y="5405458"/>
                    </a:lnTo>
                    <a:lnTo>
                      <a:pt x="8343546" y="14578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FBA2968-64A1-C64E-A094-6CCAB66484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710" y="5406227"/>
                <a:ext cx="7186654" cy="5071831"/>
              </a:xfrm>
              <a:custGeom>
                <a:avLst/>
                <a:gdLst>
                  <a:gd name="T0" fmla="*/ 10161 w 10162"/>
                  <a:gd name="T1" fmla="*/ 516 h 7169"/>
                  <a:gd name="T2" fmla="*/ 10161 w 10162"/>
                  <a:gd name="T3" fmla="*/ 2301 h 7169"/>
                  <a:gd name="T4" fmla="*/ 5294 w 10162"/>
                  <a:gd name="T5" fmla="*/ 7168 h 7169"/>
                  <a:gd name="T6" fmla="*/ 517 w 10162"/>
                  <a:gd name="T7" fmla="*/ 7168 h 7169"/>
                  <a:gd name="T8" fmla="*/ 517 w 10162"/>
                  <a:gd name="T9" fmla="*/ 7168 h 7169"/>
                  <a:gd name="T10" fmla="*/ 0 w 10162"/>
                  <a:gd name="T11" fmla="*/ 6651 h 7169"/>
                  <a:gd name="T12" fmla="*/ 0 w 10162"/>
                  <a:gd name="T13" fmla="*/ 516 h 7169"/>
                  <a:gd name="T14" fmla="*/ 0 w 10162"/>
                  <a:gd name="T15" fmla="*/ 516 h 7169"/>
                  <a:gd name="T16" fmla="*/ 517 w 10162"/>
                  <a:gd name="T17" fmla="*/ 0 h 7169"/>
                  <a:gd name="T18" fmla="*/ 9644 w 10162"/>
                  <a:gd name="T19" fmla="*/ 0 h 7169"/>
                  <a:gd name="T20" fmla="*/ 9644 w 10162"/>
                  <a:gd name="T21" fmla="*/ 0 h 7169"/>
                  <a:gd name="T22" fmla="*/ 9669 w 10162"/>
                  <a:gd name="T23" fmla="*/ 0 h 7169"/>
                  <a:gd name="T24" fmla="*/ 9669 w 10162"/>
                  <a:gd name="T25" fmla="*/ 0 h 7169"/>
                  <a:gd name="T26" fmla="*/ 10161 w 10162"/>
                  <a:gd name="T27" fmla="*/ 516 h 7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62" h="7169">
                    <a:moveTo>
                      <a:pt x="10161" y="516"/>
                    </a:moveTo>
                    <a:lnTo>
                      <a:pt x="10161" y="2301"/>
                    </a:lnTo>
                    <a:lnTo>
                      <a:pt x="5294" y="7168"/>
                    </a:lnTo>
                    <a:lnTo>
                      <a:pt x="517" y="7168"/>
                    </a:lnTo>
                    <a:lnTo>
                      <a:pt x="517" y="7168"/>
                    </a:lnTo>
                    <a:cubicBezTo>
                      <a:pt x="231" y="7168"/>
                      <a:pt x="0" y="6936"/>
                      <a:pt x="0" y="6651"/>
                    </a:cubicBezTo>
                    <a:lnTo>
                      <a:pt x="0" y="516"/>
                    </a:lnTo>
                    <a:lnTo>
                      <a:pt x="0" y="516"/>
                    </a:lnTo>
                    <a:cubicBezTo>
                      <a:pt x="0" y="231"/>
                      <a:pt x="231" y="0"/>
                      <a:pt x="517" y="0"/>
                    </a:cubicBezTo>
                    <a:lnTo>
                      <a:pt x="9644" y="0"/>
                    </a:lnTo>
                    <a:lnTo>
                      <a:pt x="9644" y="0"/>
                    </a:lnTo>
                    <a:cubicBezTo>
                      <a:pt x="9653" y="0"/>
                      <a:pt x="9661" y="0"/>
                      <a:pt x="9669" y="0"/>
                    </a:cubicBezTo>
                    <a:lnTo>
                      <a:pt x="9669" y="0"/>
                    </a:lnTo>
                    <a:cubicBezTo>
                      <a:pt x="9944" y="13"/>
                      <a:pt x="10161" y="239"/>
                      <a:pt x="10161" y="51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6DBC0066-BB10-624B-BDE1-AC557FB7C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2"/>
                <a:ext cx="6625196" cy="4816056"/>
              </a:xfrm>
              <a:custGeom>
                <a:avLst/>
                <a:gdLst>
                  <a:gd name="T0" fmla="*/ 9365 w 9366"/>
                  <a:gd name="T1" fmla="*/ 0 h 6808"/>
                  <a:gd name="T2" fmla="*/ 9365 w 9366"/>
                  <a:gd name="T3" fmla="*/ 3462 h 6808"/>
                  <a:gd name="T4" fmla="*/ 6018 w 9366"/>
                  <a:gd name="T5" fmla="*/ 6807 h 6808"/>
                  <a:gd name="T6" fmla="*/ 0 w 9366"/>
                  <a:gd name="T7" fmla="*/ 6807 h 6808"/>
                  <a:gd name="T8" fmla="*/ 0 w 9366"/>
                  <a:gd name="T9" fmla="*/ 0 h 6808"/>
                  <a:gd name="T10" fmla="*/ 9365 w 9366"/>
                  <a:gd name="T11" fmla="*/ 0 h 6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66" h="6808">
                    <a:moveTo>
                      <a:pt x="9365" y="0"/>
                    </a:moveTo>
                    <a:lnTo>
                      <a:pt x="9365" y="3462"/>
                    </a:lnTo>
                    <a:lnTo>
                      <a:pt x="6018" y="6807"/>
                    </a:lnTo>
                    <a:lnTo>
                      <a:pt x="0" y="6807"/>
                    </a:lnTo>
                    <a:lnTo>
                      <a:pt x="0" y="0"/>
                    </a:lnTo>
                    <a:lnTo>
                      <a:pt x="9365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5841FC9-FBB1-034A-8D86-5B751E152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1440" y="4866604"/>
                <a:ext cx="6625196" cy="583292"/>
              </a:xfrm>
              <a:custGeom>
                <a:avLst/>
                <a:gdLst>
                  <a:gd name="T0" fmla="*/ 0 w 9366"/>
                  <a:gd name="T1" fmla="*/ 822 h 823"/>
                  <a:gd name="T2" fmla="*/ 9365 w 9366"/>
                  <a:gd name="T3" fmla="*/ 822 h 823"/>
                  <a:gd name="T4" fmla="*/ 9365 w 9366"/>
                  <a:gd name="T5" fmla="*/ 0 h 823"/>
                  <a:gd name="T6" fmla="*/ 0 w 9366"/>
                  <a:gd name="T7" fmla="*/ 0 h 823"/>
                  <a:gd name="T8" fmla="*/ 0 w 9366"/>
                  <a:gd name="T9" fmla="*/ 822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6" h="823">
                    <a:moveTo>
                      <a:pt x="0" y="822"/>
                    </a:moveTo>
                    <a:lnTo>
                      <a:pt x="9365" y="822"/>
                    </a:lnTo>
                    <a:lnTo>
                      <a:pt x="9365" y="0"/>
                    </a:lnTo>
                    <a:lnTo>
                      <a:pt x="0" y="0"/>
                    </a:lnTo>
                    <a:lnTo>
                      <a:pt x="0" y="82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B7D04913-B3F6-EB4B-9822-A1DDA4439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048" y="5047518"/>
                <a:ext cx="945121" cy="221464"/>
              </a:xfrm>
              <a:custGeom>
                <a:avLst/>
                <a:gdLst>
                  <a:gd name="T0" fmla="*/ 1195 w 1337"/>
                  <a:gd name="T1" fmla="*/ 311 h 312"/>
                  <a:gd name="T2" fmla="*/ 140 w 1337"/>
                  <a:gd name="T3" fmla="*/ 311 h 312"/>
                  <a:gd name="T4" fmla="*/ 140 w 1337"/>
                  <a:gd name="T5" fmla="*/ 311 h 312"/>
                  <a:gd name="T6" fmla="*/ 0 w 1337"/>
                  <a:gd name="T7" fmla="*/ 170 h 312"/>
                  <a:gd name="T8" fmla="*/ 0 w 1337"/>
                  <a:gd name="T9" fmla="*/ 140 h 312"/>
                  <a:gd name="T10" fmla="*/ 0 w 1337"/>
                  <a:gd name="T11" fmla="*/ 140 h 312"/>
                  <a:gd name="T12" fmla="*/ 140 w 1337"/>
                  <a:gd name="T13" fmla="*/ 0 h 312"/>
                  <a:gd name="T14" fmla="*/ 1195 w 1337"/>
                  <a:gd name="T15" fmla="*/ 0 h 312"/>
                  <a:gd name="T16" fmla="*/ 1195 w 1337"/>
                  <a:gd name="T17" fmla="*/ 0 h 312"/>
                  <a:gd name="T18" fmla="*/ 1336 w 1337"/>
                  <a:gd name="T19" fmla="*/ 140 h 312"/>
                  <a:gd name="T20" fmla="*/ 1336 w 1337"/>
                  <a:gd name="T21" fmla="*/ 170 h 312"/>
                  <a:gd name="T22" fmla="*/ 1336 w 1337"/>
                  <a:gd name="T23" fmla="*/ 170 h 312"/>
                  <a:gd name="T24" fmla="*/ 1195 w 1337"/>
                  <a:gd name="T25" fmla="*/ 311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7" h="312">
                    <a:moveTo>
                      <a:pt x="1195" y="311"/>
                    </a:moveTo>
                    <a:lnTo>
                      <a:pt x="140" y="311"/>
                    </a:lnTo>
                    <a:lnTo>
                      <a:pt x="140" y="311"/>
                    </a:lnTo>
                    <a:cubicBezTo>
                      <a:pt x="63" y="311"/>
                      <a:pt x="0" y="248"/>
                      <a:pt x="0" y="170"/>
                    </a:cubicBezTo>
                    <a:lnTo>
                      <a:pt x="0" y="140"/>
                    </a:lnTo>
                    <a:lnTo>
                      <a:pt x="0" y="140"/>
                    </a:lnTo>
                    <a:cubicBezTo>
                      <a:pt x="0" y="63"/>
                      <a:pt x="63" y="0"/>
                      <a:pt x="140" y="0"/>
                    </a:cubicBezTo>
                    <a:lnTo>
                      <a:pt x="1195" y="0"/>
                    </a:lnTo>
                    <a:lnTo>
                      <a:pt x="1195" y="0"/>
                    </a:lnTo>
                    <a:cubicBezTo>
                      <a:pt x="1273" y="0"/>
                      <a:pt x="1336" y="63"/>
                      <a:pt x="1336" y="140"/>
                    </a:cubicBezTo>
                    <a:lnTo>
                      <a:pt x="1336" y="170"/>
                    </a:lnTo>
                    <a:lnTo>
                      <a:pt x="1336" y="170"/>
                    </a:lnTo>
                    <a:cubicBezTo>
                      <a:pt x="1336" y="248"/>
                      <a:pt x="1273" y="311"/>
                      <a:pt x="1195" y="31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AD598907-C5FE-8448-B9C2-53DC392C5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3604" y="10019533"/>
                <a:ext cx="3118" cy="3120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0 h 2"/>
                  <a:gd name="T4" fmla="*/ 2 w 3"/>
                  <a:gd name="T5" fmla="*/ 0 h 2"/>
                  <a:gd name="T6" fmla="*/ 2 w 3"/>
                  <a:gd name="T7" fmla="*/ 0 h 2"/>
                  <a:gd name="T8" fmla="*/ 1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0"/>
                    </a:lnTo>
                    <a:cubicBezTo>
                      <a:pt x="2" y="0"/>
                      <a:pt x="2" y="0"/>
                      <a:pt x="2" y="0"/>
                    </a:cubicBezTo>
                    <a:lnTo>
                      <a:pt x="2" y="0"/>
                    </a:ln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F8C47AF4-2A8A-384E-AA26-9C19A425D01A}"/>
                  </a:ext>
                </a:extLst>
              </p:cNvPr>
              <p:cNvGrpSpPr/>
              <p:nvPr/>
            </p:nvGrpSpPr>
            <p:grpSpPr>
              <a:xfrm>
                <a:off x="9884204" y="8423199"/>
                <a:ext cx="1786124" cy="1044712"/>
                <a:chOff x="11022943" y="7663677"/>
                <a:chExt cx="610625" cy="357157"/>
              </a:xfrm>
            </p:grpSpPr>
            <p:sp>
              <p:nvSpPr>
                <p:cNvPr id="159" name="Freeform 158">
                  <a:extLst>
                    <a:ext uri="{FF2B5EF4-FFF2-40B4-BE49-F238E27FC236}">
                      <a16:creationId xmlns:a16="http://schemas.microsoft.com/office/drawing/2014/main" id="{88EB50D1-B8CD-E343-9E65-6BB43D5020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663677"/>
                  <a:ext cx="610624" cy="357157"/>
                </a:xfrm>
                <a:custGeom>
                  <a:avLst/>
                  <a:gdLst>
                    <a:gd name="T0" fmla="*/ 0 w 936"/>
                    <a:gd name="T1" fmla="*/ 544 h 545"/>
                    <a:gd name="T2" fmla="*/ 935 w 936"/>
                    <a:gd name="T3" fmla="*/ 21 h 545"/>
                    <a:gd name="T4" fmla="*/ 613 w 936"/>
                    <a:gd name="T5" fmla="*/ 0 h 545"/>
                    <a:gd name="T6" fmla="*/ 0 w 936"/>
                    <a:gd name="T7" fmla="*/ 544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6" h="545">
                      <a:moveTo>
                        <a:pt x="0" y="544"/>
                      </a:moveTo>
                      <a:lnTo>
                        <a:pt x="935" y="21"/>
                      </a:lnTo>
                      <a:lnTo>
                        <a:pt x="613" y="0"/>
                      </a:lnTo>
                      <a:lnTo>
                        <a:pt x="0" y="544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0" name="Freeform 159">
                  <a:extLst>
                    <a:ext uri="{FF2B5EF4-FFF2-40B4-BE49-F238E27FC236}">
                      <a16:creationId xmlns:a16="http://schemas.microsoft.com/office/drawing/2014/main" id="{1DEF0C8B-4792-6F43-BDD3-3C45DED934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4" y="7712643"/>
                  <a:ext cx="345636" cy="308191"/>
                </a:xfrm>
                <a:custGeom>
                  <a:avLst/>
                  <a:gdLst>
                    <a:gd name="T0" fmla="*/ 0 w 530"/>
                    <a:gd name="T1" fmla="*/ 469 h 470"/>
                    <a:gd name="T2" fmla="*/ 287 w 530"/>
                    <a:gd name="T3" fmla="*/ 6 h 470"/>
                    <a:gd name="T4" fmla="*/ 529 w 530"/>
                    <a:gd name="T5" fmla="*/ 0 h 470"/>
                    <a:gd name="T6" fmla="*/ 0 w 530"/>
                    <a:gd name="T7" fmla="*/ 469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0" h="470">
                      <a:moveTo>
                        <a:pt x="0" y="469"/>
                      </a:moveTo>
                      <a:lnTo>
                        <a:pt x="287" y="6"/>
                      </a:lnTo>
                      <a:lnTo>
                        <a:pt x="529" y="0"/>
                      </a:lnTo>
                      <a:lnTo>
                        <a:pt x="0" y="469"/>
                      </a:ln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161" name="Freeform 160">
                  <a:extLst>
                    <a:ext uri="{FF2B5EF4-FFF2-40B4-BE49-F238E27FC236}">
                      <a16:creationId xmlns:a16="http://schemas.microsoft.com/office/drawing/2014/main" id="{4E7D32BF-C7F2-F64A-9E31-2BF85E8F2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2943" y="7755848"/>
                  <a:ext cx="483891" cy="262108"/>
                </a:xfrm>
                <a:custGeom>
                  <a:avLst/>
                  <a:gdLst>
                    <a:gd name="T0" fmla="*/ 720 w 740"/>
                    <a:gd name="T1" fmla="*/ 0 h 403"/>
                    <a:gd name="T2" fmla="*/ 739 w 740"/>
                    <a:gd name="T3" fmla="*/ 117 h 403"/>
                    <a:gd name="T4" fmla="*/ 0 w 740"/>
                    <a:gd name="T5" fmla="*/ 402 h 403"/>
                    <a:gd name="T6" fmla="*/ 720 w 740"/>
                    <a:gd name="T7" fmla="*/ 0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0" h="403">
                      <a:moveTo>
                        <a:pt x="720" y="0"/>
                      </a:moveTo>
                      <a:lnTo>
                        <a:pt x="739" y="117"/>
                      </a:lnTo>
                      <a:lnTo>
                        <a:pt x="0" y="402"/>
                      </a:lnTo>
                      <a:lnTo>
                        <a:pt x="720" y="0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6875720-98CD-1140-8E57-A744406C9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2" y="5259623"/>
                <a:ext cx="1232086" cy="1197775"/>
              </a:xfrm>
              <a:custGeom>
                <a:avLst/>
                <a:gdLst>
                  <a:gd name="T0" fmla="*/ 1370 w 1740"/>
                  <a:gd name="T1" fmla="*/ 1127 h 1693"/>
                  <a:gd name="T2" fmla="*/ 1370 w 1740"/>
                  <a:gd name="T3" fmla="*/ 1127 h 1693"/>
                  <a:gd name="T4" fmla="*/ 782 w 1740"/>
                  <a:gd name="T5" fmla="*/ 1467 h 1693"/>
                  <a:gd name="T6" fmla="*/ 782 w 1740"/>
                  <a:gd name="T7" fmla="*/ 1467 h 1693"/>
                  <a:gd name="T8" fmla="*/ 612 w 1740"/>
                  <a:gd name="T9" fmla="*/ 1427 h 1693"/>
                  <a:gd name="T10" fmla="*/ 612 w 1740"/>
                  <a:gd name="T11" fmla="*/ 1427 h 1693"/>
                  <a:gd name="T12" fmla="*/ 575 w 1740"/>
                  <a:gd name="T13" fmla="*/ 1411 h 1693"/>
                  <a:gd name="T14" fmla="*/ 575 w 1740"/>
                  <a:gd name="T15" fmla="*/ 1411 h 1693"/>
                  <a:gd name="T16" fmla="*/ 301 w 1740"/>
                  <a:gd name="T17" fmla="*/ 1149 h 1693"/>
                  <a:gd name="T18" fmla="*/ 301 w 1740"/>
                  <a:gd name="T19" fmla="*/ 1149 h 1693"/>
                  <a:gd name="T20" fmla="*/ 291 w 1740"/>
                  <a:gd name="T21" fmla="*/ 616 h 1693"/>
                  <a:gd name="T22" fmla="*/ 291 w 1740"/>
                  <a:gd name="T23" fmla="*/ 616 h 1693"/>
                  <a:gd name="T24" fmla="*/ 396 w 1740"/>
                  <a:gd name="T25" fmla="*/ 462 h 1693"/>
                  <a:gd name="T26" fmla="*/ 396 w 1740"/>
                  <a:gd name="T27" fmla="*/ 462 h 1693"/>
                  <a:gd name="T28" fmla="*/ 1086 w 1740"/>
                  <a:gd name="T29" fmla="*/ 331 h 1693"/>
                  <a:gd name="T30" fmla="*/ 1086 w 1740"/>
                  <a:gd name="T31" fmla="*/ 331 h 1693"/>
                  <a:gd name="T32" fmla="*/ 1370 w 1740"/>
                  <a:gd name="T33" fmla="*/ 1127 h 1693"/>
                  <a:gd name="T34" fmla="*/ 1171 w 1740"/>
                  <a:gd name="T35" fmla="*/ 152 h 1693"/>
                  <a:gd name="T36" fmla="*/ 1171 w 1740"/>
                  <a:gd name="T37" fmla="*/ 152 h 1693"/>
                  <a:gd name="T38" fmla="*/ 250 w 1740"/>
                  <a:gd name="T39" fmla="*/ 325 h 1693"/>
                  <a:gd name="T40" fmla="*/ 250 w 1740"/>
                  <a:gd name="T41" fmla="*/ 325 h 1693"/>
                  <a:gd name="T42" fmla="*/ 111 w 1740"/>
                  <a:gd name="T43" fmla="*/ 531 h 1693"/>
                  <a:gd name="T44" fmla="*/ 111 w 1740"/>
                  <a:gd name="T45" fmla="*/ 531 h 1693"/>
                  <a:gd name="T46" fmla="*/ 125 w 1740"/>
                  <a:gd name="T47" fmla="*/ 1241 h 1693"/>
                  <a:gd name="T48" fmla="*/ 125 w 1740"/>
                  <a:gd name="T49" fmla="*/ 1241 h 1693"/>
                  <a:gd name="T50" fmla="*/ 490 w 1740"/>
                  <a:gd name="T51" fmla="*/ 1592 h 1693"/>
                  <a:gd name="T52" fmla="*/ 490 w 1740"/>
                  <a:gd name="T53" fmla="*/ 1592 h 1693"/>
                  <a:gd name="T54" fmla="*/ 539 w 1740"/>
                  <a:gd name="T55" fmla="*/ 1613 h 1693"/>
                  <a:gd name="T56" fmla="*/ 539 w 1740"/>
                  <a:gd name="T57" fmla="*/ 1613 h 1693"/>
                  <a:gd name="T58" fmla="*/ 767 w 1740"/>
                  <a:gd name="T59" fmla="*/ 1666 h 1693"/>
                  <a:gd name="T60" fmla="*/ 767 w 1740"/>
                  <a:gd name="T61" fmla="*/ 1666 h 1693"/>
                  <a:gd name="T62" fmla="*/ 1551 w 1740"/>
                  <a:gd name="T63" fmla="*/ 1212 h 1693"/>
                  <a:gd name="T64" fmla="*/ 1551 w 1740"/>
                  <a:gd name="T65" fmla="*/ 1212 h 1693"/>
                  <a:gd name="T66" fmla="*/ 1171 w 1740"/>
                  <a:gd name="T67" fmla="*/ 152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40" h="1693">
                    <a:moveTo>
                      <a:pt x="1370" y="1127"/>
                    </a:moveTo>
                    <a:lnTo>
                      <a:pt x="1370" y="1127"/>
                    </a:lnTo>
                    <a:cubicBezTo>
                      <a:pt x="1261" y="1358"/>
                      <a:pt x="1023" y="1487"/>
                      <a:pt x="782" y="1467"/>
                    </a:cubicBezTo>
                    <a:lnTo>
                      <a:pt x="782" y="1467"/>
                    </a:lnTo>
                    <a:cubicBezTo>
                      <a:pt x="725" y="1463"/>
                      <a:pt x="668" y="1450"/>
                      <a:pt x="612" y="1427"/>
                    </a:cubicBezTo>
                    <a:lnTo>
                      <a:pt x="612" y="1427"/>
                    </a:lnTo>
                    <a:cubicBezTo>
                      <a:pt x="600" y="1423"/>
                      <a:pt x="587" y="1417"/>
                      <a:pt x="575" y="1411"/>
                    </a:cubicBezTo>
                    <a:lnTo>
                      <a:pt x="575" y="1411"/>
                    </a:lnTo>
                    <a:cubicBezTo>
                      <a:pt x="453" y="1354"/>
                      <a:pt x="359" y="1260"/>
                      <a:pt x="301" y="1149"/>
                    </a:cubicBezTo>
                    <a:lnTo>
                      <a:pt x="301" y="1149"/>
                    </a:lnTo>
                    <a:cubicBezTo>
                      <a:pt x="217" y="989"/>
                      <a:pt x="207" y="792"/>
                      <a:pt x="291" y="616"/>
                    </a:cubicBezTo>
                    <a:lnTo>
                      <a:pt x="291" y="616"/>
                    </a:lnTo>
                    <a:cubicBezTo>
                      <a:pt x="318" y="558"/>
                      <a:pt x="354" y="506"/>
                      <a:pt x="396" y="462"/>
                    </a:cubicBezTo>
                    <a:lnTo>
                      <a:pt x="396" y="462"/>
                    </a:lnTo>
                    <a:cubicBezTo>
                      <a:pt x="569" y="279"/>
                      <a:pt x="846" y="218"/>
                      <a:pt x="1086" y="331"/>
                    </a:cubicBezTo>
                    <a:lnTo>
                      <a:pt x="1086" y="331"/>
                    </a:lnTo>
                    <a:cubicBezTo>
                      <a:pt x="1384" y="473"/>
                      <a:pt x="1512" y="829"/>
                      <a:pt x="1370" y="1127"/>
                    </a:cubicBezTo>
                    <a:close/>
                    <a:moveTo>
                      <a:pt x="1171" y="152"/>
                    </a:moveTo>
                    <a:lnTo>
                      <a:pt x="1171" y="152"/>
                    </a:lnTo>
                    <a:cubicBezTo>
                      <a:pt x="851" y="0"/>
                      <a:pt x="481" y="81"/>
                      <a:pt x="250" y="325"/>
                    </a:cubicBezTo>
                    <a:lnTo>
                      <a:pt x="250" y="325"/>
                    </a:lnTo>
                    <a:cubicBezTo>
                      <a:pt x="194" y="384"/>
                      <a:pt x="147" y="453"/>
                      <a:pt x="111" y="531"/>
                    </a:cubicBezTo>
                    <a:lnTo>
                      <a:pt x="111" y="531"/>
                    </a:lnTo>
                    <a:cubicBezTo>
                      <a:pt x="0" y="765"/>
                      <a:pt x="13" y="1027"/>
                      <a:pt x="125" y="1241"/>
                    </a:cubicBezTo>
                    <a:lnTo>
                      <a:pt x="125" y="1241"/>
                    </a:lnTo>
                    <a:cubicBezTo>
                      <a:pt x="203" y="1390"/>
                      <a:pt x="327" y="1515"/>
                      <a:pt x="490" y="1592"/>
                    </a:cubicBezTo>
                    <a:lnTo>
                      <a:pt x="490" y="1592"/>
                    </a:lnTo>
                    <a:cubicBezTo>
                      <a:pt x="506" y="1599"/>
                      <a:pt x="522" y="1607"/>
                      <a:pt x="539" y="1613"/>
                    </a:cubicBezTo>
                    <a:lnTo>
                      <a:pt x="539" y="1613"/>
                    </a:lnTo>
                    <a:cubicBezTo>
                      <a:pt x="613" y="1642"/>
                      <a:pt x="690" y="1660"/>
                      <a:pt x="767" y="1666"/>
                    </a:cubicBezTo>
                    <a:lnTo>
                      <a:pt x="767" y="1666"/>
                    </a:lnTo>
                    <a:cubicBezTo>
                      <a:pt x="1087" y="1692"/>
                      <a:pt x="1405" y="1520"/>
                      <a:pt x="1551" y="1212"/>
                    </a:cubicBezTo>
                    <a:lnTo>
                      <a:pt x="1551" y="1212"/>
                    </a:lnTo>
                    <a:cubicBezTo>
                      <a:pt x="1739" y="815"/>
                      <a:pt x="1569" y="340"/>
                      <a:pt x="1171" y="15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6570E528-F42A-234E-A357-10669A060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3843" y="5490444"/>
                <a:ext cx="280728" cy="648795"/>
              </a:xfrm>
              <a:custGeom>
                <a:avLst/>
                <a:gdLst>
                  <a:gd name="T0" fmla="*/ 301 w 397"/>
                  <a:gd name="T1" fmla="*/ 824 h 917"/>
                  <a:gd name="T2" fmla="*/ 125 w 397"/>
                  <a:gd name="T3" fmla="*/ 916 h 917"/>
                  <a:gd name="T4" fmla="*/ 125 w 397"/>
                  <a:gd name="T5" fmla="*/ 916 h 917"/>
                  <a:gd name="T6" fmla="*/ 111 w 397"/>
                  <a:gd name="T7" fmla="*/ 206 h 917"/>
                  <a:gd name="T8" fmla="*/ 111 w 397"/>
                  <a:gd name="T9" fmla="*/ 206 h 917"/>
                  <a:gd name="T10" fmla="*/ 250 w 397"/>
                  <a:gd name="T11" fmla="*/ 0 h 917"/>
                  <a:gd name="T12" fmla="*/ 396 w 397"/>
                  <a:gd name="T13" fmla="*/ 137 h 917"/>
                  <a:gd name="T14" fmla="*/ 396 w 397"/>
                  <a:gd name="T15" fmla="*/ 137 h 917"/>
                  <a:gd name="T16" fmla="*/ 291 w 397"/>
                  <a:gd name="T17" fmla="*/ 291 h 917"/>
                  <a:gd name="T18" fmla="*/ 291 w 397"/>
                  <a:gd name="T19" fmla="*/ 291 h 917"/>
                  <a:gd name="T20" fmla="*/ 301 w 397"/>
                  <a:gd name="T21" fmla="*/ 824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7" h="917">
                    <a:moveTo>
                      <a:pt x="301" y="824"/>
                    </a:moveTo>
                    <a:lnTo>
                      <a:pt x="125" y="916"/>
                    </a:lnTo>
                    <a:lnTo>
                      <a:pt x="125" y="916"/>
                    </a:lnTo>
                    <a:cubicBezTo>
                      <a:pt x="13" y="702"/>
                      <a:pt x="0" y="440"/>
                      <a:pt x="111" y="206"/>
                    </a:cubicBezTo>
                    <a:lnTo>
                      <a:pt x="111" y="206"/>
                    </a:lnTo>
                    <a:cubicBezTo>
                      <a:pt x="147" y="128"/>
                      <a:pt x="194" y="59"/>
                      <a:pt x="250" y="0"/>
                    </a:cubicBezTo>
                    <a:lnTo>
                      <a:pt x="396" y="137"/>
                    </a:lnTo>
                    <a:lnTo>
                      <a:pt x="396" y="137"/>
                    </a:lnTo>
                    <a:cubicBezTo>
                      <a:pt x="354" y="181"/>
                      <a:pt x="318" y="233"/>
                      <a:pt x="291" y="291"/>
                    </a:cubicBezTo>
                    <a:lnTo>
                      <a:pt x="291" y="291"/>
                    </a:lnTo>
                    <a:cubicBezTo>
                      <a:pt x="207" y="467"/>
                      <a:pt x="217" y="664"/>
                      <a:pt x="301" y="82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C61CFC80-18DF-0447-89DF-A2A000E44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1178" y="6073737"/>
                <a:ext cx="464059" cy="364245"/>
              </a:xfrm>
              <a:custGeom>
                <a:avLst/>
                <a:gdLst>
                  <a:gd name="connsiteX0" fmla="*/ 115308 w 428516"/>
                  <a:gd name="connsiteY0" fmla="*/ 0 h 336347"/>
                  <a:gd name="connsiteX1" fmla="*/ 294818 w 428516"/>
                  <a:gd name="connsiteY1" fmla="*/ 170402 h 336347"/>
                  <a:gd name="connsiteX2" fmla="*/ 319058 w 428516"/>
                  <a:gd name="connsiteY2" fmla="*/ 180808 h 336347"/>
                  <a:gd name="connsiteX3" fmla="*/ 318726 w 428516"/>
                  <a:gd name="connsiteY3" fmla="*/ 181646 h 336347"/>
                  <a:gd name="connsiteX4" fmla="*/ 373086 w 428516"/>
                  <a:gd name="connsiteY4" fmla="*/ 199038 h 336347"/>
                  <a:gd name="connsiteX5" fmla="*/ 428516 w 428516"/>
                  <a:gd name="connsiteY5" fmla="*/ 207382 h 336347"/>
                  <a:gd name="connsiteX6" fmla="*/ 418778 w 428516"/>
                  <a:gd name="connsiteY6" fmla="*/ 336347 h 336347"/>
                  <a:gd name="connsiteX7" fmla="*/ 270750 w 428516"/>
                  <a:gd name="connsiteY7" fmla="*/ 302000 h 336347"/>
                  <a:gd name="connsiteX8" fmla="*/ 270892 w 428516"/>
                  <a:gd name="connsiteY8" fmla="*/ 301636 h 336347"/>
                  <a:gd name="connsiteX9" fmla="*/ 239130 w 428516"/>
                  <a:gd name="connsiteY9" fmla="*/ 288123 h 336347"/>
                  <a:gd name="connsiteX10" fmla="*/ 0 w 428516"/>
                  <a:gd name="connsiteY10" fmla="*/ 59836 h 33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8516" h="336347">
                    <a:moveTo>
                      <a:pt x="115308" y="0"/>
                    </a:moveTo>
                    <a:cubicBezTo>
                      <a:pt x="153306" y="72193"/>
                      <a:pt x="214890" y="133330"/>
                      <a:pt x="294818" y="170402"/>
                    </a:cubicBezTo>
                    <a:cubicBezTo>
                      <a:pt x="302680" y="174304"/>
                      <a:pt x="311198" y="178206"/>
                      <a:pt x="319058" y="180808"/>
                    </a:cubicBezTo>
                    <a:lnTo>
                      <a:pt x="318726" y="181646"/>
                    </a:lnTo>
                    <a:lnTo>
                      <a:pt x="373086" y="199038"/>
                    </a:lnTo>
                    <a:cubicBezTo>
                      <a:pt x="391510" y="203331"/>
                      <a:pt x="410012" y="206086"/>
                      <a:pt x="428516" y="207382"/>
                    </a:cubicBezTo>
                    <a:lnTo>
                      <a:pt x="418778" y="336347"/>
                    </a:lnTo>
                    <a:cubicBezTo>
                      <a:pt x="368786" y="332459"/>
                      <a:pt x="318794" y="320794"/>
                      <a:pt x="270750" y="302000"/>
                    </a:cubicBezTo>
                    <a:lnTo>
                      <a:pt x="270892" y="301636"/>
                    </a:lnTo>
                    <a:lnTo>
                      <a:pt x="239130" y="288123"/>
                    </a:lnTo>
                    <a:cubicBezTo>
                      <a:pt x="132342" y="238043"/>
                      <a:pt x="51102" y="156744"/>
                      <a:pt x="0" y="598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1" name="Freeform 16">
                <a:extLst>
                  <a:ext uri="{FF2B5EF4-FFF2-40B4-BE49-F238E27FC236}">
                    <a16:creationId xmlns:a16="http://schemas.microsoft.com/office/drawing/2014/main" id="{23E20839-40AE-A44E-8C42-54A607185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341990"/>
                <a:ext cx="1054292" cy="467881"/>
              </a:xfrm>
              <a:custGeom>
                <a:avLst/>
                <a:gdLst>
                  <a:gd name="T0" fmla="*/ 1488 w 1489"/>
                  <a:gd name="T1" fmla="*/ 660 h 661"/>
                  <a:gd name="T2" fmla="*/ 0 w 1489"/>
                  <a:gd name="T3" fmla="*/ 660 h 661"/>
                  <a:gd name="T4" fmla="*/ 0 w 1489"/>
                  <a:gd name="T5" fmla="*/ 630 h 661"/>
                  <a:gd name="T6" fmla="*/ 1458 w 1489"/>
                  <a:gd name="T7" fmla="*/ 630 h 661"/>
                  <a:gd name="T8" fmla="*/ 1458 w 1489"/>
                  <a:gd name="T9" fmla="*/ 0 h 661"/>
                  <a:gd name="T10" fmla="*/ 1488 w 1489"/>
                  <a:gd name="T11" fmla="*/ 0 h 661"/>
                  <a:gd name="T12" fmla="*/ 1488 w 1489"/>
                  <a:gd name="T13" fmla="*/ 66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9" h="661">
                    <a:moveTo>
                      <a:pt x="1488" y="660"/>
                    </a:moveTo>
                    <a:lnTo>
                      <a:pt x="0" y="660"/>
                    </a:lnTo>
                    <a:lnTo>
                      <a:pt x="0" y="630"/>
                    </a:lnTo>
                    <a:lnTo>
                      <a:pt x="1458" y="630"/>
                    </a:lnTo>
                    <a:lnTo>
                      <a:pt x="1458" y="0"/>
                    </a:lnTo>
                    <a:lnTo>
                      <a:pt x="1488" y="0"/>
                    </a:lnTo>
                    <a:lnTo>
                      <a:pt x="1488" y="66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2" name="Freeform 17">
                <a:extLst>
                  <a:ext uri="{FF2B5EF4-FFF2-40B4-BE49-F238E27FC236}">
                    <a16:creationId xmlns:a16="http://schemas.microsoft.com/office/drawing/2014/main" id="{A60A455B-68D5-2D42-B44E-1CD424267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405" y="6572810"/>
                <a:ext cx="555219" cy="124768"/>
              </a:xfrm>
              <a:custGeom>
                <a:avLst/>
                <a:gdLst>
                  <a:gd name="T0" fmla="*/ 783 w 784"/>
                  <a:gd name="T1" fmla="*/ 177 h 178"/>
                  <a:gd name="T2" fmla="*/ 0 w 784"/>
                  <a:gd name="T3" fmla="*/ 177 h 178"/>
                  <a:gd name="T4" fmla="*/ 0 w 784"/>
                  <a:gd name="T5" fmla="*/ 0 h 178"/>
                  <a:gd name="T6" fmla="*/ 783 w 784"/>
                  <a:gd name="T7" fmla="*/ 0 h 178"/>
                  <a:gd name="T8" fmla="*/ 783 w 784"/>
                  <a:gd name="T9" fmla="*/ 177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4" h="178">
                    <a:moveTo>
                      <a:pt x="783" y="177"/>
                    </a:moveTo>
                    <a:lnTo>
                      <a:pt x="0" y="177"/>
                    </a:lnTo>
                    <a:lnTo>
                      <a:pt x="0" y="0"/>
                    </a:lnTo>
                    <a:lnTo>
                      <a:pt x="783" y="0"/>
                    </a:lnTo>
                    <a:lnTo>
                      <a:pt x="783" y="17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3" name="Freeform 18">
                <a:extLst>
                  <a:ext uri="{FF2B5EF4-FFF2-40B4-BE49-F238E27FC236}">
                    <a16:creationId xmlns:a16="http://schemas.microsoft.com/office/drawing/2014/main" id="{84E78F5B-9BED-8143-92D5-928A3EF97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4741835"/>
                <a:ext cx="112292" cy="729895"/>
              </a:xfrm>
              <a:custGeom>
                <a:avLst/>
                <a:gdLst>
                  <a:gd name="T0" fmla="*/ 156 w 157"/>
                  <a:gd name="T1" fmla="*/ 0 h 1032"/>
                  <a:gd name="T2" fmla="*/ 0 w 157"/>
                  <a:gd name="T3" fmla="*/ 0 h 1032"/>
                  <a:gd name="T4" fmla="*/ 0 w 157"/>
                  <a:gd name="T5" fmla="*/ 1031 h 1032"/>
                  <a:gd name="T6" fmla="*/ 156 w 157"/>
                  <a:gd name="T7" fmla="*/ 1031 h 1032"/>
                  <a:gd name="T8" fmla="*/ 156 w 157"/>
                  <a:gd name="T9" fmla="*/ 0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032">
                    <a:moveTo>
                      <a:pt x="156" y="0"/>
                    </a:moveTo>
                    <a:lnTo>
                      <a:pt x="0" y="0"/>
                    </a:lnTo>
                    <a:lnTo>
                      <a:pt x="0" y="1031"/>
                    </a:lnTo>
                    <a:lnTo>
                      <a:pt x="156" y="1031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id="{30C31D0E-6A0E-7146-BD58-FF52CD352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4888437"/>
                <a:ext cx="109173" cy="583291"/>
              </a:xfrm>
              <a:custGeom>
                <a:avLst/>
                <a:gdLst>
                  <a:gd name="T0" fmla="*/ 155 w 156"/>
                  <a:gd name="T1" fmla="*/ 0 h 823"/>
                  <a:gd name="T2" fmla="*/ 0 w 156"/>
                  <a:gd name="T3" fmla="*/ 0 h 823"/>
                  <a:gd name="T4" fmla="*/ 0 w 156"/>
                  <a:gd name="T5" fmla="*/ 822 h 823"/>
                  <a:gd name="T6" fmla="*/ 155 w 156"/>
                  <a:gd name="T7" fmla="*/ 822 h 823"/>
                  <a:gd name="T8" fmla="*/ 155 w 156"/>
                  <a:gd name="T9" fmla="*/ 0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23">
                    <a:moveTo>
                      <a:pt x="155" y="0"/>
                    </a:moveTo>
                    <a:lnTo>
                      <a:pt x="0" y="0"/>
                    </a:lnTo>
                    <a:lnTo>
                      <a:pt x="0" y="822"/>
                    </a:lnTo>
                    <a:lnTo>
                      <a:pt x="155" y="82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id="{64389CCC-2908-2A42-A1A7-FFB0486C2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4779265"/>
                <a:ext cx="109172" cy="689346"/>
              </a:xfrm>
              <a:custGeom>
                <a:avLst/>
                <a:gdLst>
                  <a:gd name="T0" fmla="*/ 155 w 156"/>
                  <a:gd name="T1" fmla="*/ 0 h 976"/>
                  <a:gd name="T2" fmla="*/ 0 w 156"/>
                  <a:gd name="T3" fmla="*/ 0 h 976"/>
                  <a:gd name="T4" fmla="*/ 0 w 156"/>
                  <a:gd name="T5" fmla="*/ 975 h 976"/>
                  <a:gd name="T6" fmla="*/ 155 w 156"/>
                  <a:gd name="T7" fmla="*/ 975 h 976"/>
                  <a:gd name="T8" fmla="*/ 155 w 156"/>
                  <a:gd name="T9" fmla="*/ 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76">
                    <a:moveTo>
                      <a:pt x="155" y="0"/>
                    </a:moveTo>
                    <a:lnTo>
                      <a:pt x="0" y="0"/>
                    </a:lnTo>
                    <a:lnTo>
                      <a:pt x="0" y="975"/>
                    </a:lnTo>
                    <a:lnTo>
                      <a:pt x="155" y="97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6" name="Freeform 21">
                <a:extLst>
                  <a:ext uri="{FF2B5EF4-FFF2-40B4-BE49-F238E27FC236}">
                    <a16:creationId xmlns:a16="http://schemas.microsoft.com/office/drawing/2014/main" id="{4CE3F372-2A6F-7747-8E3C-96CE61CC9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4994491"/>
                <a:ext cx="109172" cy="474120"/>
              </a:xfrm>
              <a:custGeom>
                <a:avLst/>
                <a:gdLst>
                  <a:gd name="T0" fmla="*/ 155 w 156"/>
                  <a:gd name="T1" fmla="*/ 0 h 672"/>
                  <a:gd name="T2" fmla="*/ 0 w 156"/>
                  <a:gd name="T3" fmla="*/ 0 h 672"/>
                  <a:gd name="T4" fmla="*/ 0 w 156"/>
                  <a:gd name="T5" fmla="*/ 671 h 672"/>
                  <a:gd name="T6" fmla="*/ 155 w 156"/>
                  <a:gd name="T7" fmla="*/ 671 h 672"/>
                  <a:gd name="T8" fmla="*/ 155 w 156"/>
                  <a:gd name="T9" fmla="*/ 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72">
                    <a:moveTo>
                      <a:pt x="155" y="0"/>
                    </a:moveTo>
                    <a:lnTo>
                      <a:pt x="0" y="0"/>
                    </a:lnTo>
                    <a:lnTo>
                      <a:pt x="0" y="671"/>
                    </a:lnTo>
                    <a:lnTo>
                      <a:pt x="155" y="67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7" name="Freeform 22">
                <a:extLst>
                  <a:ext uri="{FF2B5EF4-FFF2-40B4-BE49-F238E27FC236}">
                    <a16:creationId xmlns:a16="http://schemas.microsoft.com/office/drawing/2014/main" id="{A07E225B-94E0-8444-AE30-744AE8E49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4801101"/>
                <a:ext cx="109173" cy="667511"/>
              </a:xfrm>
              <a:custGeom>
                <a:avLst/>
                <a:gdLst>
                  <a:gd name="T0" fmla="*/ 155 w 156"/>
                  <a:gd name="T1" fmla="*/ 0 h 945"/>
                  <a:gd name="T2" fmla="*/ 0 w 156"/>
                  <a:gd name="T3" fmla="*/ 0 h 945"/>
                  <a:gd name="T4" fmla="*/ 0 w 156"/>
                  <a:gd name="T5" fmla="*/ 944 h 945"/>
                  <a:gd name="T6" fmla="*/ 155 w 156"/>
                  <a:gd name="T7" fmla="*/ 944 h 945"/>
                  <a:gd name="T8" fmla="*/ 155 w 156"/>
                  <a:gd name="T9" fmla="*/ 0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945">
                    <a:moveTo>
                      <a:pt x="155" y="0"/>
                    </a:moveTo>
                    <a:lnTo>
                      <a:pt x="0" y="0"/>
                    </a:lnTo>
                    <a:lnTo>
                      <a:pt x="0" y="944"/>
                    </a:lnTo>
                    <a:lnTo>
                      <a:pt x="155" y="944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8" name="Freeform 23">
                <a:extLst>
                  <a:ext uri="{FF2B5EF4-FFF2-40B4-BE49-F238E27FC236}">
                    <a16:creationId xmlns:a16="http://schemas.microsoft.com/office/drawing/2014/main" id="{6942B134-B06B-AD4B-9E79-92D7EAA4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701285"/>
                <a:ext cx="109173" cy="770443"/>
              </a:xfrm>
              <a:custGeom>
                <a:avLst/>
                <a:gdLst>
                  <a:gd name="T0" fmla="*/ 155 w 156"/>
                  <a:gd name="T1" fmla="*/ 0 h 1087"/>
                  <a:gd name="T2" fmla="*/ 0 w 156"/>
                  <a:gd name="T3" fmla="*/ 0 h 1087"/>
                  <a:gd name="T4" fmla="*/ 0 w 156"/>
                  <a:gd name="T5" fmla="*/ 1086 h 1087"/>
                  <a:gd name="T6" fmla="*/ 155 w 156"/>
                  <a:gd name="T7" fmla="*/ 1086 h 1087"/>
                  <a:gd name="T8" fmla="*/ 155 w 156"/>
                  <a:gd name="T9" fmla="*/ 0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87">
                    <a:moveTo>
                      <a:pt x="155" y="0"/>
                    </a:moveTo>
                    <a:lnTo>
                      <a:pt x="0" y="0"/>
                    </a:lnTo>
                    <a:lnTo>
                      <a:pt x="0" y="1086"/>
                    </a:lnTo>
                    <a:lnTo>
                      <a:pt x="155" y="108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99" name="Freeform 24">
                <a:extLst>
                  <a:ext uri="{FF2B5EF4-FFF2-40B4-BE49-F238E27FC236}">
                    <a16:creationId xmlns:a16="http://schemas.microsoft.com/office/drawing/2014/main" id="{C87A7BFB-07AC-CF4F-AD34-7E4A95274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660734"/>
                <a:ext cx="109172" cy="810994"/>
              </a:xfrm>
              <a:custGeom>
                <a:avLst/>
                <a:gdLst>
                  <a:gd name="T0" fmla="*/ 155 w 156"/>
                  <a:gd name="T1" fmla="*/ 0 h 1146"/>
                  <a:gd name="T2" fmla="*/ 0 w 156"/>
                  <a:gd name="T3" fmla="*/ 0 h 1146"/>
                  <a:gd name="T4" fmla="*/ 0 w 156"/>
                  <a:gd name="T5" fmla="*/ 1145 h 1146"/>
                  <a:gd name="T6" fmla="*/ 155 w 156"/>
                  <a:gd name="T7" fmla="*/ 1145 h 1146"/>
                  <a:gd name="T8" fmla="*/ 155 w 156"/>
                  <a:gd name="T9" fmla="*/ 0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46">
                    <a:moveTo>
                      <a:pt x="155" y="0"/>
                    </a:moveTo>
                    <a:lnTo>
                      <a:pt x="0" y="0"/>
                    </a:lnTo>
                    <a:lnTo>
                      <a:pt x="0" y="1145"/>
                    </a:lnTo>
                    <a:lnTo>
                      <a:pt x="155" y="1145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0" name="Freeform 25">
                <a:extLst>
                  <a:ext uri="{FF2B5EF4-FFF2-40B4-BE49-F238E27FC236}">
                    <a16:creationId xmlns:a16="http://schemas.microsoft.com/office/drawing/2014/main" id="{8E4E8867-375C-2E49-B48E-563AFD192C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249" y="5013206"/>
                <a:ext cx="112292" cy="458523"/>
              </a:xfrm>
              <a:custGeom>
                <a:avLst/>
                <a:gdLst>
                  <a:gd name="T0" fmla="*/ 156 w 157"/>
                  <a:gd name="T1" fmla="*/ 0 h 648"/>
                  <a:gd name="T2" fmla="*/ 0 w 157"/>
                  <a:gd name="T3" fmla="*/ 0 h 648"/>
                  <a:gd name="T4" fmla="*/ 0 w 157"/>
                  <a:gd name="T5" fmla="*/ 647 h 648"/>
                  <a:gd name="T6" fmla="*/ 156 w 157"/>
                  <a:gd name="T7" fmla="*/ 647 h 648"/>
                  <a:gd name="T8" fmla="*/ 156 w 157"/>
                  <a:gd name="T9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648">
                    <a:moveTo>
                      <a:pt x="156" y="0"/>
                    </a:moveTo>
                    <a:lnTo>
                      <a:pt x="0" y="0"/>
                    </a:lnTo>
                    <a:lnTo>
                      <a:pt x="0" y="647"/>
                    </a:lnTo>
                    <a:lnTo>
                      <a:pt x="156" y="647"/>
                    </a:lnTo>
                    <a:lnTo>
                      <a:pt x="15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1" name="Freeform 26">
                <a:extLst>
                  <a:ext uri="{FF2B5EF4-FFF2-40B4-BE49-F238E27FC236}">
                    <a16:creationId xmlns:a16="http://schemas.microsoft.com/office/drawing/2014/main" id="{6BF192CA-654F-3C46-823C-F5C69DEF4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0741" y="5103663"/>
                <a:ext cx="109173" cy="364948"/>
              </a:xfrm>
              <a:custGeom>
                <a:avLst/>
                <a:gdLst>
                  <a:gd name="T0" fmla="*/ 155 w 156"/>
                  <a:gd name="T1" fmla="*/ 0 h 517"/>
                  <a:gd name="T2" fmla="*/ 0 w 156"/>
                  <a:gd name="T3" fmla="*/ 0 h 517"/>
                  <a:gd name="T4" fmla="*/ 0 w 156"/>
                  <a:gd name="T5" fmla="*/ 516 h 517"/>
                  <a:gd name="T6" fmla="*/ 155 w 156"/>
                  <a:gd name="T7" fmla="*/ 516 h 517"/>
                  <a:gd name="T8" fmla="*/ 155 w 156"/>
                  <a:gd name="T9" fmla="*/ 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17">
                    <a:moveTo>
                      <a:pt x="155" y="0"/>
                    </a:moveTo>
                    <a:lnTo>
                      <a:pt x="0" y="0"/>
                    </a:lnTo>
                    <a:lnTo>
                      <a:pt x="0" y="516"/>
                    </a:lnTo>
                    <a:lnTo>
                      <a:pt x="155" y="516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27">
                <a:extLst>
                  <a:ext uri="{FF2B5EF4-FFF2-40B4-BE49-F238E27FC236}">
                    <a16:creationId xmlns:a16="http://schemas.microsoft.com/office/drawing/2014/main" id="{FF5B0F40-D1F9-5A46-9B7E-53294542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12" y="5038160"/>
                <a:ext cx="109172" cy="433569"/>
              </a:xfrm>
              <a:custGeom>
                <a:avLst/>
                <a:gdLst>
                  <a:gd name="T0" fmla="*/ 155 w 156"/>
                  <a:gd name="T1" fmla="*/ 0 h 613"/>
                  <a:gd name="T2" fmla="*/ 0 w 156"/>
                  <a:gd name="T3" fmla="*/ 0 h 613"/>
                  <a:gd name="T4" fmla="*/ 0 w 156"/>
                  <a:gd name="T5" fmla="*/ 612 h 613"/>
                  <a:gd name="T6" fmla="*/ 155 w 156"/>
                  <a:gd name="T7" fmla="*/ 612 h 613"/>
                  <a:gd name="T8" fmla="*/ 155 w 156"/>
                  <a:gd name="T9" fmla="*/ 0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13">
                    <a:moveTo>
                      <a:pt x="155" y="0"/>
                    </a:moveTo>
                    <a:lnTo>
                      <a:pt x="0" y="0"/>
                    </a:lnTo>
                    <a:lnTo>
                      <a:pt x="0" y="612"/>
                    </a:lnTo>
                    <a:lnTo>
                      <a:pt x="155" y="61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28">
                <a:extLst>
                  <a:ext uri="{FF2B5EF4-FFF2-40B4-BE49-F238E27FC236}">
                    <a16:creationId xmlns:a16="http://schemas.microsoft.com/office/drawing/2014/main" id="{85CFED12-31FD-E943-87E8-4761AA356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6601" y="5172285"/>
                <a:ext cx="109172" cy="299444"/>
              </a:xfrm>
              <a:custGeom>
                <a:avLst/>
                <a:gdLst>
                  <a:gd name="T0" fmla="*/ 155 w 156"/>
                  <a:gd name="T1" fmla="*/ 0 h 422"/>
                  <a:gd name="T2" fmla="*/ 0 w 156"/>
                  <a:gd name="T3" fmla="*/ 0 h 422"/>
                  <a:gd name="T4" fmla="*/ 0 w 156"/>
                  <a:gd name="T5" fmla="*/ 421 h 422"/>
                  <a:gd name="T6" fmla="*/ 155 w 156"/>
                  <a:gd name="T7" fmla="*/ 421 h 422"/>
                  <a:gd name="T8" fmla="*/ 155 w 156"/>
                  <a:gd name="T9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422">
                    <a:moveTo>
                      <a:pt x="155" y="0"/>
                    </a:moveTo>
                    <a:lnTo>
                      <a:pt x="0" y="0"/>
                    </a:lnTo>
                    <a:lnTo>
                      <a:pt x="0" y="421"/>
                    </a:lnTo>
                    <a:lnTo>
                      <a:pt x="155" y="42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4" name="Freeform 29">
                <a:extLst>
                  <a:ext uri="{FF2B5EF4-FFF2-40B4-BE49-F238E27FC236}">
                    <a16:creationId xmlns:a16="http://schemas.microsoft.com/office/drawing/2014/main" id="{0E4E4582-BA16-1244-AF65-06C02CB41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973" y="5050638"/>
                <a:ext cx="109173" cy="417974"/>
              </a:xfrm>
              <a:custGeom>
                <a:avLst/>
                <a:gdLst>
                  <a:gd name="T0" fmla="*/ 155 w 156"/>
                  <a:gd name="T1" fmla="*/ 0 h 593"/>
                  <a:gd name="T2" fmla="*/ 0 w 156"/>
                  <a:gd name="T3" fmla="*/ 0 h 593"/>
                  <a:gd name="T4" fmla="*/ 0 w 156"/>
                  <a:gd name="T5" fmla="*/ 592 h 593"/>
                  <a:gd name="T6" fmla="*/ 155 w 156"/>
                  <a:gd name="T7" fmla="*/ 592 h 593"/>
                  <a:gd name="T8" fmla="*/ 155 w 156"/>
                  <a:gd name="T9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93">
                    <a:moveTo>
                      <a:pt x="155" y="0"/>
                    </a:moveTo>
                    <a:lnTo>
                      <a:pt x="0" y="0"/>
                    </a:lnTo>
                    <a:lnTo>
                      <a:pt x="0" y="592"/>
                    </a:lnTo>
                    <a:lnTo>
                      <a:pt x="155" y="592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5" name="Freeform 30">
                <a:extLst>
                  <a:ext uri="{FF2B5EF4-FFF2-40B4-BE49-F238E27FC236}">
                    <a16:creationId xmlns:a16="http://schemas.microsoft.com/office/drawing/2014/main" id="{1A8EBD57-E3D6-8A46-B432-7E2DE7E56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2464" y="4988252"/>
                <a:ext cx="109173" cy="483476"/>
              </a:xfrm>
              <a:custGeom>
                <a:avLst/>
                <a:gdLst>
                  <a:gd name="T0" fmla="*/ 155 w 156"/>
                  <a:gd name="T1" fmla="*/ 0 h 682"/>
                  <a:gd name="T2" fmla="*/ 0 w 156"/>
                  <a:gd name="T3" fmla="*/ 0 h 682"/>
                  <a:gd name="T4" fmla="*/ 0 w 156"/>
                  <a:gd name="T5" fmla="*/ 681 h 682"/>
                  <a:gd name="T6" fmla="*/ 155 w 156"/>
                  <a:gd name="T7" fmla="*/ 681 h 682"/>
                  <a:gd name="T8" fmla="*/ 155 w 156"/>
                  <a:gd name="T9" fmla="*/ 0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682">
                    <a:moveTo>
                      <a:pt x="155" y="0"/>
                    </a:moveTo>
                    <a:lnTo>
                      <a:pt x="0" y="0"/>
                    </a:lnTo>
                    <a:lnTo>
                      <a:pt x="0" y="681"/>
                    </a:lnTo>
                    <a:lnTo>
                      <a:pt x="155" y="681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6" name="Freeform 31">
                <a:extLst>
                  <a:ext uri="{FF2B5EF4-FFF2-40B4-BE49-F238E27FC236}">
                    <a16:creationId xmlns:a16="http://schemas.microsoft.com/office/drawing/2014/main" id="{147B12F6-EB46-294C-A5E0-C6C160800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3835" y="4960180"/>
                <a:ext cx="109172" cy="508432"/>
              </a:xfrm>
              <a:custGeom>
                <a:avLst/>
                <a:gdLst>
                  <a:gd name="T0" fmla="*/ 155 w 156"/>
                  <a:gd name="T1" fmla="*/ 0 h 720"/>
                  <a:gd name="T2" fmla="*/ 0 w 156"/>
                  <a:gd name="T3" fmla="*/ 0 h 720"/>
                  <a:gd name="T4" fmla="*/ 0 w 156"/>
                  <a:gd name="T5" fmla="*/ 719 h 720"/>
                  <a:gd name="T6" fmla="*/ 155 w 156"/>
                  <a:gd name="T7" fmla="*/ 719 h 720"/>
                  <a:gd name="T8" fmla="*/ 155 w 156"/>
                  <a:gd name="T9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720">
                    <a:moveTo>
                      <a:pt x="155" y="0"/>
                    </a:moveTo>
                    <a:lnTo>
                      <a:pt x="0" y="0"/>
                    </a:lnTo>
                    <a:lnTo>
                      <a:pt x="0" y="719"/>
                    </a:lnTo>
                    <a:lnTo>
                      <a:pt x="155" y="719"/>
                    </a:lnTo>
                    <a:lnTo>
                      <a:pt x="155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93569EF1-8DEC-1F4B-89FA-F8BEC202A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656" y="3603325"/>
                <a:ext cx="900745" cy="261299"/>
              </a:xfrm>
              <a:custGeom>
                <a:avLst/>
                <a:gdLst>
                  <a:gd name="connsiteX0" fmla="*/ 1 w 831756"/>
                  <a:gd name="connsiteY0" fmla="*/ 155536 h 241286"/>
                  <a:gd name="connsiteX1" fmla="*/ 831756 w 831756"/>
                  <a:gd name="connsiteY1" fmla="*/ 155536 h 241286"/>
                  <a:gd name="connsiteX2" fmla="*/ 831756 w 831756"/>
                  <a:gd name="connsiteY2" fmla="*/ 241286 h 241286"/>
                  <a:gd name="connsiteX3" fmla="*/ 1 w 831756"/>
                  <a:gd name="connsiteY3" fmla="*/ 241286 h 241286"/>
                  <a:gd name="connsiteX4" fmla="*/ 0 w 831756"/>
                  <a:gd name="connsiteY4" fmla="*/ 0 h 241286"/>
                  <a:gd name="connsiteX5" fmla="*/ 586928 w 831756"/>
                  <a:gd name="connsiteY5" fmla="*/ 0 h 241286"/>
                  <a:gd name="connsiteX6" fmla="*/ 586928 w 831756"/>
                  <a:gd name="connsiteY6" fmla="*/ 85749 h 241286"/>
                  <a:gd name="connsiteX7" fmla="*/ 0 w 831756"/>
                  <a:gd name="connsiteY7" fmla="*/ 85749 h 24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1756" h="241286">
                    <a:moveTo>
                      <a:pt x="1" y="155536"/>
                    </a:moveTo>
                    <a:lnTo>
                      <a:pt x="831756" y="155536"/>
                    </a:lnTo>
                    <a:lnTo>
                      <a:pt x="831756" y="241286"/>
                    </a:lnTo>
                    <a:lnTo>
                      <a:pt x="1" y="241286"/>
                    </a:lnTo>
                    <a:close/>
                    <a:moveTo>
                      <a:pt x="0" y="0"/>
                    </a:moveTo>
                    <a:lnTo>
                      <a:pt x="586928" y="0"/>
                    </a:lnTo>
                    <a:lnTo>
                      <a:pt x="586928" y="85749"/>
                    </a:lnTo>
                    <a:lnTo>
                      <a:pt x="0" y="857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0D15059-9DDE-D24A-9201-92367F7AA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8" y="4514133"/>
                <a:ext cx="917047" cy="898332"/>
              </a:xfrm>
              <a:custGeom>
                <a:avLst/>
                <a:gdLst>
                  <a:gd name="T0" fmla="*/ 767 w 1296"/>
                  <a:gd name="T1" fmla="*/ 1038 h 1268"/>
                  <a:gd name="T2" fmla="*/ 767 w 1296"/>
                  <a:gd name="T3" fmla="*/ 1038 h 1268"/>
                  <a:gd name="T4" fmla="*/ 270 w 1296"/>
                  <a:gd name="T5" fmla="*/ 905 h 1268"/>
                  <a:gd name="T6" fmla="*/ 270 w 1296"/>
                  <a:gd name="T7" fmla="*/ 905 h 1268"/>
                  <a:gd name="T8" fmla="*/ 199 w 1296"/>
                  <a:gd name="T9" fmla="*/ 792 h 1268"/>
                  <a:gd name="T10" fmla="*/ 199 w 1296"/>
                  <a:gd name="T11" fmla="*/ 792 h 1268"/>
                  <a:gd name="T12" fmla="*/ 188 w 1296"/>
                  <a:gd name="T13" fmla="*/ 764 h 1268"/>
                  <a:gd name="T14" fmla="*/ 188 w 1296"/>
                  <a:gd name="T15" fmla="*/ 764 h 1268"/>
                  <a:gd name="T16" fmla="*/ 182 w 1296"/>
                  <a:gd name="T17" fmla="*/ 476 h 1268"/>
                  <a:gd name="T18" fmla="*/ 182 w 1296"/>
                  <a:gd name="T19" fmla="*/ 476 h 1268"/>
                  <a:gd name="T20" fmla="*/ 462 w 1296"/>
                  <a:gd name="T21" fmla="*/ 185 h 1268"/>
                  <a:gd name="T22" fmla="*/ 462 w 1296"/>
                  <a:gd name="T23" fmla="*/ 185 h 1268"/>
                  <a:gd name="T24" fmla="*/ 601 w 1296"/>
                  <a:gd name="T25" fmla="*/ 159 h 1268"/>
                  <a:gd name="T26" fmla="*/ 601 w 1296"/>
                  <a:gd name="T27" fmla="*/ 159 h 1268"/>
                  <a:gd name="T28" fmla="*/ 1041 w 1296"/>
                  <a:gd name="T29" fmla="*/ 459 h 1268"/>
                  <a:gd name="T30" fmla="*/ 1041 w 1296"/>
                  <a:gd name="T31" fmla="*/ 459 h 1268"/>
                  <a:gd name="T32" fmla="*/ 767 w 1296"/>
                  <a:gd name="T33" fmla="*/ 1038 h 1268"/>
                  <a:gd name="T34" fmla="*/ 1183 w 1296"/>
                  <a:gd name="T35" fmla="*/ 408 h 1268"/>
                  <a:gd name="T36" fmla="*/ 1183 w 1296"/>
                  <a:gd name="T37" fmla="*/ 408 h 1268"/>
                  <a:gd name="T38" fmla="*/ 596 w 1296"/>
                  <a:gd name="T39" fmla="*/ 8 h 1268"/>
                  <a:gd name="T40" fmla="*/ 596 w 1296"/>
                  <a:gd name="T41" fmla="*/ 8 h 1268"/>
                  <a:gd name="T42" fmla="*/ 411 w 1296"/>
                  <a:gd name="T43" fmla="*/ 43 h 1268"/>
                  <a:gd name="T44" fmla="*/ 411 w 1296"/>
                  <a:gd name="T45" fmla="*/ 43 h 1268"/>
                  <a:gd name="T46" fmla="*/ 38 w 1296"/>
                  <a:gd name="T47" fmla="*/ 432 h 1268"/>
                  <a:gd name="T48" fmla="*/ 38 w 1296"/>
                  <a:gd name="T49" fmla="*/ 432 h 1268"/>
                  <a:gd name="T50" fmla="*/ 46 w 1296"/>
                  <a:gd name="T51" fmla="*/ 815 h 1268"/>
                  <a:gd name="T52" fmla="*/ 46 w 1296"/>
                  <a:gd name="T53" fmla="*/ 815 h 1268"/>
                  <a:gd name="T54" fmla="*/ 61 w 1296"/>
                  <a:gd name="T55" fmla="*/ 852 h 1268"/>
                  <a:gd name="T56" fmla="*/ 61 w 1296"/>
                  <a:gd name="T57" fmla="*/ 852 h 1268"/>
                  <a:gd name="T58" fmla="*/ 155 w 1296"/>
                  <a:gd name="T59" fmla="*/ 1003 h 1268"/>
                  <a:gd name="T60" fmla="*/ 155 w 1296"/>
                  <a:gd name="T61" fmla="*/ 1003 h 1268"/>
                  <a:gd name="T62" fmla="*/ 818 w 1296"/>
                  <a:gd name="T63" fmla="*/ 1180 h 1268"/>
                  <a:gd name="T64" fmla="*/ 818 w 1296"/>
                  <a:gd name="T65" fmla="*/ 1180 h 1268"/>
                  <a:gd name="T66" fmla="*/ 1183 w 1296"/>
                  <a:gd name="T67" fmla="*/ 408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6" h="1268">
                    <a:moveTo>
                      <a:pt x="767" y="1038"/>
                    </a:moveTo>
                    <a:lnTo>
                      <a:pt x="767" y="1038"/>
                    </a:lnTo>
                    <a:cubicBezTo>
                      <a:pt x="585" y="1103"/>
                      <a:pt x="388" y="1044"/>
                      <a:pt x="270" y="905"/>
                    </a:cubicBezTo>
                    <a:lnTo>
                      <a:pt x="270" y="905"/>
                    </a:lnTo>
                    <a:cubicBezTo>
                      <a:pt x="242" y="871"/>
                      <a:pt x="218" y="834"/>
                      <a:pt x="199" y="792"/>
                    </a:cubicBezTo>
                    <a:lnTo>
                      <a:pt x="199" y="792"/>
                    </a:lnTo>
                    <a:cubicBezTo>
                      <a:pt x="195" y="783"/>
                      <a:pt x="192" y="774"/>
                      <a:pt x="188" y="764"/>
                    </a:cubicBezTo>
                    <a:lnTo>
                      <a:pt x="188" y="764"/>
                    </a:lnTo>
                    <a:cubicBezTo>
                      <a:pt x="154" y="668"/>
                      <a:pt x="154" y="567"/>
                      <a:pt x="182" y="476"/>
                    </a:cubicBezTo>
                    <a:lnTo>
                      <a:pt x="182" y="476"/>
                    </a:lnTo>
                    <a:cubicBezTo>
                      <a:pt x="224" y="346"/>
                      <a:pt x="323" y="235"/>
                      <a:pt x="462" y="185"/>
                    </a:cubicBezTo>
                    <a:lnTo>
                      <a:pt x="462" y="185"/>
                    </a:lnTo>
                    <a:cubicBezTo>
                      <a:pt x="508" y="169"/>
                      <a:pt x="555" y="160"/>
                      <a:pt x="601" y="159"/>
                    </a:cubicBezTo>
                    <a:lnTo>
                      <a:pt x="601" y="159"/>
                    </a:lnTo>
                    <a:cubicBezTo>
                      <a:pt x="792" y="153"/>
                      <a:pt x="973" y="270"/>
                      <a:pt x="1041" y="459"/>
                    </a:cubicBezTo>
                    <a:lnTo>
                      <a:pt x="1041" y="459"/>
                    </a:lnTo>
                    <a:cubicBezTo>
                      <a:pt x="1125" y="694"/>
                      <a:pt x="1003" y="954"/>
                      <a:pt x="767" y="1038"/>
                    </a:cubicBezTo>
                    <a:close/>
                    <a:moveTo>
                      <a:pt x="1183" y="408"/>
                    </a:moveTo>
                    <a:lnTo>
                      <a:pt x="1183" y="408"/>
                    </a:lnTo>
                    <a:cubicBezTo>
                      <a:pt x="1093" y="156"/>
                      <a:pt x="851" y="0"/>
                      <a:pt x="596" y="8"/>
                    </a:cubicBezTo>
                    <a:lnTo>
                      <a:pt x="596" y="8"/>
                    </a:lnTo>
                    <a:cubicBezTo>
                      <a:pt x="535" y="9"/>
                      <a:pt x="472" y="21"/>
                      <a:pt x="411" y="43"/>
                    </a:cubicBezTo>
                    <a:lnTo>
                      <a:pt x="411" y="43"/>
                    </a:lnTo>
                    <a:cubicBezTo>
                      <a:pt x="226" y="109"/>
                      <a:pt x="93" y="257"/>
                      <a:pt x="38" y="432"/>
                    </a:cubicBezTo>
                    <a:lnTo>
                      <a:pt x="38" y="432"/>
                    </a:lnTo>
                    <a:cubicBezTo>
                      <a:pt x="0" y="553"/>
                      <a:pt x="0" y="687"/>
                      <a:pt x="46" y="815"/>
                    </a:cubicBezTo>
                    <a:lnTo>
                      <a:pt x="46" y="815"/>
                    </a:lnTo>
                    <a:cubicBezTo>
                      <a:pt x="51" y="828"/>
                      <a:pt x="56" y="840"/>
                      <a:pt x="61" y="852"/>
                    </a:cubicBezTo>
                    <a:lnTo>
                      <a:pt x="61" y="852"/>
                    </a:lnTo>
                    <a:cubicBezTo>
                      <a:pt x="85" y="908"/>
                      <a:pt x="117" y="959"/>
                      <a:pt x="155" y="1003"/>
                    </a:cubicBezTo>
                    <a:lnTo>
                      <a:pt x="155" y="1003"/>
                    </a:lnTo>
                    <a:cubicBezTo>
                      <a:pt x="313" y="1189"/>
                      <a:pt x="575" y="1267"/>
                      <a:pt x="818" y="1180"/>
                    </a:cubicBezTo>
                    <a:lnTo>
                      <a:pt x="818" y="1180"/>
                    </a:lnTo>
                    <a:cubicBezTo>
                      <a:pt x="1132" y="1068"/>
                      <a:pt x="1295" y="722"/>
                      <a:pt x="1183" y="40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B80286C6-0529-3645-BAB1-8DEF10392F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12081" y="4520373"/>
                <a:ext cx="399259" cy="330636"/>
              </a:xfrm>
              <a:custGeom>
                <a:avLst/>
                <a:gdLst>
                  <a:gd name="T0" fmla="*/ 144 w 564"/>
                  <a:gd name="T1" fmla="*/ 468 h 469"/>
                  <a:gd name="T2" fmla="*/ 0 w 564"/>
                  <a:gd name="T3" fmla="*/ 424 h 469"/>
                  <a:gd name="T4" fmla="*/ 0 w 564"/>
                  <a:gd name="T5" fmla="*/ 424 h 469"/>
                  <a:gd name="T6" fmla="*/ 373 w 564"/>
                  <a:gd name="T7" fmla="*/ 35 h 469"/>
                  <a:gd name="T8" fmla="*/ 373 w 564"/>
                  <a:gd name="T9" fmla="*/ 35 h 469"/>
                  <a:gd name="T10" fmla="*/ 558 w 564"/>
                  <a:gd name="T11" fmla="*/ 0 h 469"/>
                  <a:gd name="T12" fmla="*/ 563 w 564"/>
                  <a:gd name="T13" fmla="*/ 151 h 469"/>
                  <a:gd name="T14" fmla="*/ 563 w 564"/>
                  <a:gd name="T15" fmla="*/ 151 h 469"/>
                  <a:gd name="T16" fmla="*/ 424 w 564"/>
                  <a:gd name="T17" fmla="*/ 177 h 469"/>
                  <a:gd name="T18" fmla="*/ 424 w 564"/>
                  <a:gd name="T19" fmla="*/ 177 h 469"/>
                  <a:gd name="T20" fmla="*/ 144 w 564"/>
                  <a:gd name="T21" fmla="*/ 4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4" h="469">
                    <a:moveTo>
                      <a:pt x="144" y="468"/>
                    </a:moveTo>
                    <a:lnTo>
                      <a:pt x="0" y="424"/>
                    </a:lnTo>
                    <a:lnTo>
                      <a:pt x="0" y="424"/>
                    </a:lnTo>
                    <a:cubicBezTo>
                      <a:pt x="55" y="249"/>
                      <a:pt x="188" y="101"/>
                      <a:pt x="373" y="35"/>
                    </a:cubicBezTo>
                    <a:lnTo>
                      <a:pt x="373" y="35"/>
                    </a:lnTo>
                    <a:cubicBezTo>
                      <a:pt x="434" y="13"/>
                      <a:pt x="497" y="1"/>
                      <a:pt x="558" y="0"/>
                    </a:cubicBezTo>
                    <a:lnTo>
                      <a:pt x="563" y="151"/>
                    </a:lnTo>
                    <a:lnTo>
                      <a:pt x="563" y="151"/>
                    </a:lnTo>
                    <a:cubicBezTo>
                      <a:pt x="517" y="152"/>
                      <a:pt x="470" y="161"/>
                      <a:pt x="424" y="177"/>
                    </a:cubicBezTo>
                    <a:lnTo>
                      <a:pt x="424" y="177"/>
                    </a:lnTo>
                    <a:cubicBezTo>
                      <a:pt x="285" y="227"/>
                      <a:pt x="186" y="338"/>
                      <a:pt x="144" y="4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3D7A7B28-266B-2B40-83CA-41D75759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4007" y="4819816"/>
                <a:ext cx="140366" cy="299444"/>
              </a:xfrm>
              <a:custGeom>
                <a:avLst/>
                <a:gdLst>
                  <a:gd name="T0" fmla="*/ 199 w 200"/>
                  <a:gd name="T1" fmla="*/ 360 h 422"/>
                  <a:gd name="T2" fmla="*/ 61 w 200"/>
                  <a:gd name="T3" fmla="*/ 421 h 422"/>
                  <a:gd name="T4" fmla="*/ 61 w 200"/>
                  <a:gd name="T5" fmla="*/ 421 h 422"/>
                  <a:gd name="T6" fmla="*/ 46 w 200"/>
                  <a:gd name="T7" fmla="*/ 383 h 422"/>
                  <a:gd name="T8" fmla="*/ 46 w 200"/>
                  <a:gd name="T9" fmla="*/ 383 h 422"/>
                  <a:gd name="T10" fmla="*/ 38 w 200"/>
                  <a:gd name="T11" fmla="*/ 0 h 422"/>
                  <a:gd name="T12" fmla="*/ 182 w 200"/>
                  <a:gd name="T13" fmla="*/ 44 h 422"/>
                  <a:gd name="T14" fmla="*/ 182 w 200"/>
                  <a:gd name="T15" fmla="*/ 44 h 422"/>
                  <a:gd name="T16" fmla="*/ 188 w 200"/>
                  <a:gd name="T17" fmla="*/ 332 h 422"/>
                  <a:gd name="T18" fmla="*/ 188 w 200"/>
                  <a:gd name="T19" fmla="*/ 332 h 422"/>
                  <a:gd name="T20" fmla="*/ 199 w 200"/>
                  <a:gd name="T21" fmla="*/ 36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422">
                    <a:moveTo>
                      <a:pt x="199" y="360"/>
                    </a:moveTo>
                    <a:lnTo>
                      <a:pt x="61" y="421"/>
                    </a:lnTo>
                    <a:lnTo>
                      <a:pt x="61" y="421"/>
                    </a:lnTo>
                    <a:cubicBezTo>
                      <a:pt x="56" y="408"/>
                      <a:pt x="51" y="396"/>
                      <a:pt x="46" y="383"/>
                    </a:cubicBezTo>
                    <a:lnTo>
                      <a:pt x="46" y="383"/>
                    </a:lnTo>
                    <a:cubicBezTo>
                      <a:pt x="0" y="255"/>
                      <a:pt x="0" y="121"/>
                      <a:pt x="38" y="0"/>
                    </a:cubicBezTo>
                    <a:lnTo>
                      <a:pt x="182" y="44"/>
                    </a:lnTo>
                    <a:lnTo>
                      <a:pt x="182" y="44"/>
                    </a:lnTo>
                    <a:cubicBezTo>
                      <a:pt x="154" y="135"/>
                      <a:pt x="154" y="236"/>
                      <a:pt x="188" y="332"/>
                    </a:cubicBezTo>
                    <a:lnTo>
                      <a:pt x="188" y="332"/>
                    </a:lnTo>
                    <a:cubicBezTo>
                      <a:pt x="192" y="342"/>
                      <a:pt x="195" y="351"/>
                      <a:pt x="199" y="36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C5D1E135-5440-724B-9248-B10AFD1DC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7676" y="5075590"/>
                <a:ext cx="149722" cy="149722"/>
              </a:xfrm>
              <a:custGeom>
                <a:avLst/>
                <a:gdLst>
                  <a:gd name="T0" fmla="*/ 94 w 210"/>
                  <a:gd name="T1" fmla="*/ 211 h 212"/>
                  <a:gd name="T2" fmla="*/ 94 w 210"/>
                  <a:gd name="T3" fmla="*/ 211 h 212"/>
                  <a:gd name="T4" fmla="*/ 0 w 210"/>
                  <a:gd name="T5" fmla="*/ 60 h 212"/>
                  <a:gd name="T6" fmla="*/ 138 w 210"/>
                  <a:gd name="T7" fmla="*/ 0 h 212"/>
                  <a:gd name="T8" fmla="*/ 138 w 210"/>
                  <a:gd name="T9" fmla="*/ 0 h 212"/>
                  <a:gd name="T10" fmla="*/ 209 w 210"/>
                  <a:gd name="T11" fmla="*/ 113 h 212"/>
                  <a:gd name="T12" fmla="*/ 94 w 210"/>
                  <a:gd name="T13" fmla="*/ 211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212">
                    <a:moveTo>
                      <a:pt x="94" y="211"/>
                    </a:moveTo>
                    <a:lnTo>
                      <a:pt x="94" y="211"/>
                    </a:lnTo>
                    <a:cubicBezTo>
                      <a:pt x="56" y="167"/>
                      <a:pt x="24" y="116"/>
                      <a:pt x="0" y="60"/>
                    </a:cubicBezTo>
                    <a:lnTo>
                      <a:pt x="138" y="0"/>
                    </a:lnTo>
                    <a:lnTo>
                      <a:pt x="138" y="0"/>
                    </a:lnTo>
                    <a:cubicBezTo>
                      <a:pt x="157" y="42"/>
                      <a:pt x="181" y="79"/>
                      <a:pt x="209" y="113"/>
                    </a:cubicBezTo>
                    <a:lnTo>
                      <a:pt x="94" y="211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B5C7C77C-96F5-CE4E-A4D1-992779A01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526" y="6232815"/>
                <a:ext cx="3339964" cy="2787872"/>
              </a:xfrm>
              <a:custGeom>
                <a:avLst/>
                <a:gdLst>
                  <a:gd name="connsiteX0" fmla="*/ 0 w 3084151"/>
                  <a:gd name="connsiteY0" fmla="*/ 2468421 h 2574345"/>
                  <a:gd name="connsiteX1" fmla="*/ 3084151 w 3084151"/>
                  <a:gd name="connsiteY1" fmla="*/ 2468421 h 2574345"/>
                  <a:gd name="connsiteX2" fmla="*/ 3084151 w 3084151"/>
                  <a:gd name="connsiteY2" fmla="*/ 2574345 h 2574345"/>
                  <a:gd name="connsiteX3" fmla="*/ 0 w 3084151"/>
                  <a:gd name="connsiteY3" fmla="*/ 2574345 h 2574345"/>
                  <a:gd name="connsiteX4" fmla="*/ 0 w 3084151"/>
                  <a:gd name="connsiteY4" fmla="*/ 2117024 h 2574345"/>
                  <a:gd name="connsiteX5" fmla="*/ 3084151 w 3084151"/>
                  <a:gd name="connsiteY5" fmla="*/ 2117024 h 2574345"/>
                  <a:gd name="connsiteX6" fmla="*/ 3084151 w 3084151"/>
                  <a:gd name="connsiteY6" fmla="*/ 2222948 h 2574345"/>
                  <a:gd name="connsiteX7" fmla="*/ 0 w 3084151"/>
                  <a:gd name="connsiteY7" fmla="*/ 2222948 h 2574345"/>
                  <a:gd name="connsiteX8" fmla="*/ 0 w 3084151"/>
                  <a:gd name="connsiteY8" fmla="*/ 1780027 h 2574345"/>
                  <a:gd name="connsiteX9" fmla="*/ 3084151 w 3084151"/>
                  <a:gd name="connsiteY9" fmla="*/ 1780027 h 2574345"/>
                  <a:gd name="connsiteX10" fmla="*/ 3084151 w 3084151"/>
                  <a:gd name="connsiteY10" fmla="*/ 1885953 h 2574345"/>
                  <a:gd name="connsiteX11" fmla="*/ 0 w 3084151"/>
                  <a:gd name="connsiteY11" fmla="*/ 1885953 h 2574345"/>
                  <a:gd name="connsiteX12" fmla="*/ 0 w 3084151"/>
                  <a:gd name="connsiteY12" fmla="*/ 1431512 h 2574345"/>
                  <a:gd name="connsiteX13" fmla="*/ 3084151 w 3084151"/>
                  <a:gd name="connsiteY13" fmla="*/ 1431512 h 2574345"/>
                  <a:gd name="connsiteX14" fmla="*/ 3084151 w 3084151"/>
                  <a:gd name="connsiteY14" fmla="*/ 1540304 h 2574345"/>
                  <a:gd name="connsiteX15" fmla="*/ 0 w 3084151"/>
                  <a:gd name="connsiteY15" fmla="*/ 1540304 h 2574345"/>
                  <a:gd name="connsiteX16" fmla="*/ 0 w 3084151"/>
                  <a:gd name="connsiteY16" fmla="*/ 1036910 h 2574345"/>
                  <a:gd name="connsiteX17" fmla="*/ 3084151 w 3084151"/>
                  <a:gd name="connsiteY17" fmla="*/ 1036910 h 2574345"/>
                  <a:gd name="connsiteX18" fmla="*/ 3084151 w 3084151"/>
                  <a:gd name="connsiteY18" fmla="*/ 1145702 h 2574345"/>
                  <a:gd name="connsiteX19" fmla="*/ 0 w 3084151"/>
                  <a:gd name="connsiteY19" fmla="*/ 1145702 h 2574345"/>
                  <a:gd name="connsiteX20" fmla="*/ 0 w 3084151"/>
                  <a:gd name="connsiteY20" fmla="*/ 688394 h 2574345"/>
                  <a:gd name="connsiteX21" fmla="*/ 3084151 w 3084151"/>
                  <a:gd name="connsiteY21" fmla="*/ 688394 h 2574345"/>
                  <a:gd name="connsiteX22" fmla="*/ 3084151 w 3084151"/>
                  <a:gd name="connsiteY22" fmla="*/ 794318 h 2574345"/>
                  <a:gd name="connsiteX23" fmla="*/ 0 w 3084151"/>
                  <a:gd name="connsiteY23" fmla="*/ 794318 h 2574345"/>
                  <a:gd name="connsiteX24" fmla="*/ 0 w 3084151"/>
                  <a:gd name="connsiteY24" fmla="*/ 351398 h 2574345"/>
                  <a:gd name="connsiteX25" fmla="*/ 3084151 w 3084151"/>
                  <a:gd name="connsiteY25" fmla="*/ 351398 h 2574345"/>
                  <a:gd name="connsiteX26" fmla="*/ 3084151 w 3084151"/>
                  <a:gd name="connsiteY26" fmla="*/ 460190 h 2574345"/>
                  <a:gd name="connsiteX27" fmla="*/ 0 w 3084151"/>
                  <a:gd name="connsiteY27" fmla="*/ 460190 h 2574345"/>
                  <a:gd name="connsiteX28" fmla="*/ 0 w 3084151"/>
                  <a:gd name="connsiteY28" fmla="*/ 0 h 2574345"/>
                  <a:gd name="connsiteX29" fmla="*/ 3084151 w 3084151"/>
                  <a:gd name="connsiteY29" fmla="*/ 0 h 2574345"/>
                  <a:gd name="connsiteX30" fmla="*/ 3084151 w 3084151"/>
                  <a:gd name="connsiteY30" fmla="*/ 105926 h 2574345"/>
                  <a:gd name="connsiteX31" fmla="*/ 0 w 3084151"/>
                  <a:gd name="connsiteY31" fmla="*/ 105926 h 2574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084151" h="2574345">
                    <a:moveTo>
                      <a:pt x="0" y="2468421"/>
                    </a:moveTo>
                    <a:lnTo>
                      <a:pt x="3084151" y="2468421"/>
                    </a:lnTo>
                    <a:lnTo>
                      <a:pt x="3084151" y="2574345"/>
                    </a:lnTo>
                    <a:lnTo>
                      <a:pt x="0" y="2574345"/>
                    </a:lnTo>
                    <a:close/>
                    <a:moveTo>
                      <a:pt x="0" y="2117024"/>
                    </a:moveTo>
                    <a:lnTo>
                      <a:pt x="3084151" y="2117024"/>
                    </a:lnTo>
                    <a:lnTo>
                      <a:pt x="3084151" y="2222948"/>
                    </a:lnTo>
                    <a:lnTo>
                      <a:pt x="0" y="2222948"/>
                    </a:lnTo>
                    <a:close/>
                    <a:moveTo>
                      <a:pt x="0" y="1780027"/>
                    </a:moveTo>
                    <a:lnTo>
                      <a:pt x="3084151" y="1780027"/>
                    </a:lnTo>
                    <a:lnTo>
                      <a:pt x="3084151" y="1885953"/>
                    </a:lnTo>
                    <a:lnTo>
                      <a:pt x="0" y="1885953"/>
                    </a:lnTo>
                    <a:close/>
                    <a:moveTo>
                      <a:pt x="0" y="1431512"/>
                    </a:moveTo>
                    <a:lnTo>
                      <a:pt x="3084151" y="1431512"/>
                    </a:lnTo>
                    <a:lnTo>
                      <a:pt x="3084151" y="1540304"/>
                    </a:lnTo>
                    <a:lnTo>
                      <a:pt x="0" y="1540304"/>
                    </a:lnTo>
                    <a:close/>
                    <a:moveTo>
                      <a:pt x="0" y="1036910"/>
                    </a:moveTo>
                    <a:lnTo>
                      <a:pt x="3084151" y="1036910"/>
                    </a:lnTo>
                    <a:lnTo>
                      <a:pt x="3084151" y="1145702"/>
                    </a:lnTo>
                    <a:lnTo>
                      <a:pt x="0" y="1145702"/>
                    </a:lnTo>
                    <a:close/>
                    <a:moveTo>
                      <a:pt x="0" y="688394"/>
                    </a:moveTo>
                    <a:lnTo>
                      <a:pt x="3084151" y="688394"/>
                    </a:lnTo>
                    <a:lnTo>
                      <a:pt x="3084151" y="794318"/>
                    </a:lnTo>
                    <a:lnTo>
                      <a:pt x="0" y="794318"/>
                    </a:lnTo>
                    <a:close/>
                    <a:moveTo>
                      <a:pt x="0" y="351398"/>
                    </a:moveTo>
                    <a:lnTo>
                      <a:pt x="3084151" y="351398"/>
                    </a:lnTo>
                    <a:lnTo>
                      <a:pt x="3084151" y="460190"/>
                    </a:lnTo>
                    <a:lnTo>
                      <a:pt x="0" y="460190"/>
                    </a:lnTo>
                    <a:close/>
                    <a:moveTo>
                      <a:pt x="0" y="0"/>
                    </a:moveTo>
                    <a:lnTo>
                      <a:pt x="3084151" y="0"/>
                    </a:lnTo>
                    <a:lnTo>
                      <a:pt x="3084151" y="105926"/>
                    </a:lnTo>
                    <a:lnTo>
                      <a:pt x="0" y="1059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A3FA6AAE-4520-3045-B80F-589F6AFBB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157165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6 h 671"/>
                  <a:gd name="T10" fmla="*/ 670 w 671"/>
                  <a:gd name="T11" fmla="*/ 166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6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6"/>
                    </a:lnTo>
                    <a:lnTo>
                      <a:pt x="670" y="166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5BD95A45-1A70-864C-9F23-20A8D04F8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7697069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2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2 h 670"/>
                  <a:gd name="T22" fmla="*/ 0 w 671"/>
                  <a:gd name="T23" fmla="*/ 502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4"/>
                      <a:pt x="670" y="502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2"/>
                    </a:lnTo>
                    <a:lnTo>
                      <a:pt x="0" y="502"/>
                    </a:lnTo>
                    <a:cubicBezTo>
                      <a:pt x="0" y="594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5" name="Freeform 49">
                <a:extLst>
                  <a:ext uri="{FF2B5EF4-FFF2-40B4-BE49-F238E27FC236}">
                    <a16:creationId xmlns:a16="http://schemas.microsoft.com/office/drawing/2014/main" id="{0F66D265-A140-8A40-A5E2-18F1A1155B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6927117"/>
                <a:ext cx="605124" cy="605124"/>
              </a:xfrm>
              <a:custGeom>
                <a:avLst/>
                <a:gdLst>
                  <a:gd name="T0" fmla="*/ 167 w 671"/>
                  <a:gd name="T1" fmla="*/ 669 h 670"/>
                  <a:gd name="T2" fmla="*/ 503 w 671"/>
                  <a:gd name="T3" fmla="*/ 669 h 670"/>
                  <a:gd name="T4" fmla="*/ 503 w 671"/>
                  <a:gd name="T5" fmla="*/ 669 h 670"/>
                  <a:gd name="T6" fmla="*/ 670 w 671"/>
                  <a:gd name="T7" fmla="*/ 503 h 670"/>
                  <a:gd name="T8" fmla="*/ 670 w 671"/>
                  <a:gd name="T9" fmla="*/ 167 h 670"/>
                  <a:gd name="T10" fmla="*/ 670 w 671"/>
                  <a:gd name="T11" fmla="*/ 167 h 670"/>
                  <a:gd name="T12" fmla="*/ 503 w 671"/>
                  <a:gd name="T13" fmla="*/ 0 h 670"/>
                  <a:gd name="T14" fmla="*/ 167 w 671"/>
                  <a:gd name="T15" fmla="*/ 0 h 670"/>
                  <a:gd name="T16" fmla="*/ 167 w 671"/>
                  <a:gd name="T17" fmla="*/ 0 h 670"/>
                  <a:gd name="T18" fmla="*/ 0 w 671"/>
                  <a:gd name="T19" fmla="*/ 167 h 670"/>
                  <a:gd name="T20" fmla="*/ 0 w 671"/>
                  <a:gd name="T21" fmla="*/ 503 h 670"/>
                  <a:gd name="T22" fmla="*/ 0 w 671"/>
                  <a:gd name="T23" fmla="*/ 503 h 670"/>
                  <a:gd name="T24" fmla="*/ 167 w 671"/>
                  <a:gd name="T25" fmla="*/ 669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0">
                    <a:moveTo>
                      <a:pt x="167" y="669"/>
                    </a:moveTo>
                    <a:lnTo>
                      <a:pt x="503" y="669"/>
                    </a:lnTo>
                    <a:lnTo>
                      <a:pt x="503" y="669"/>
                    </a:lnTo>
                    <a:cubicBezTo>
                      <a:pt x="595" y="669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4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4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69"/>
                      <a:pt x="167" y="6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6" name="Freeform 51">
                <a:extLst>
                  <a:ext uri="{FF2B5EF4-FFF2-40B4-BE49-F238E27FC236}">
                    <a16:creationId xmlns:a16="http://schemas.microsoft.com/office/drawing/2014/main" id="{7435D1C2-40BD-A143-B135-D241C2B9A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0698" y="8467020"/>
                <a:ext cx="605124" cy="605124"/>
              </a:xfrm>
              <a:custGeom>
                <a:avLst/>
                <a:gdLst>
                  <a:gd name="T0" fmla="*/ 167 w 671"/>
                  <a:gd name="T1" fmla="*/ 670 h 671"/>
                  <a:gd name="T2" fmla="*/ 503 w 671"/>
                  <a:gd name="T3" fmla="*/ 670 h 671"/>
                  <a:gd name="T4" fmla="*/ 503 w 671"/>
                  <a:gd name="T5" fmla="*/ 670 h 671"/>
                  <a:gd name="T6" fmla="*/ 670 w 671"/>
                  <a:gd name="T7" fmla="*/ 503 h 671"/>
                  <a:gd name="T8" fmla="*/ 670 w 671"/>
                  <a:gd name="T9" fmla="*/ 167 h 671"/>
                  <a:gd name="T10" fmla="*/ 670 w 671"/>
                  <a:gd name="T11" fmla="*/ 167 h 671"/>
                  <a:gd name="T12" fmla="*/ 503 w 671"/>
                  <a:gd name="T13" fmla="*/ 0 h 671"/>
                  <a:gd name="T14" fmla="*/ 167 w 671"/>
                  <a:gd name="T15" fmla="*/ 0 h 671"/>
                  <a:gd name="T16" fmla="*/ 167 w 671"/>
                  <a:gd name="T17" fmla="*/ 0 h 671"/>
                  <a:gd name="T18" fmla="*/ 0 w 671"/>
                  <a:gd name="T19" fmla="*/ 167 h 671"/>
                  <a:gd name="T20" fmla="*/ 0 w 671"/>
                  <a:gd name="T21" fmla="*/ 503 h 671"/>
                  <a:gd name="T22" fmla="*/ 0 w 671"/>
                  <a:gd name="T23" fmla="*/ 503 h 671"/>
                  <a:gd name="T24" fmla="*/ 167 w 671"/>
                  <a:gd name="T25" fmla="*/ 670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1" h="671">
                    <a:moveTo>
                      <a:pt x="167" y="670"/>
                    </a:moveTo>
                    <a:lnTo>
                      <a:pt x="503" y="670"/>
                    </a:lnTo>
                    <a:lnTo>
                      <a:pt x="503" y="670"/>
                    </a:lnTo>
                    <a:cubicBezTo>
                      <a:pt x="595" y="670"/>
                      <a:pt x="670" y="595"/>
                      <a:pt x="670" y="503"/>
                    </a:cubicBezTo>
                    <a:lnTo>
                      <a:pt x="670" y="167"/>
                    </a:lnTo>
                    <a:lnTo>
                      <a:pt x="670" y="167"/>
                    </a:lnTo>
                    <a:cubicBezTo>
                      <a:pt x="670" y="75"/>
                      <a:pt x="595" y="0"/>
                      <a:pt x="503" y="0"/>
                    </a:cubicBezTo>
                    <a:lnTo>
                      <a:pt x="167" y="0"/>
                    </a:ln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503"/>
                    </a:lnTo>
                    <a:lnTo>
                      <a:pt x="0" y="503"/>
                    </a:lnTo>
                    <a:cubicBezTo>
                      <a:pt x="0" y="595"/>
                      <a:pt x="75" y="670"/>
                      <a:pt x="167" y="670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7" name="Freeform 54">
                <a:extLst>
                  <a:ext uri="{FF2B5EF4-FFF2-40B4-BE49-F238E27FC236}">
                    <a16:creationId xmlns:a16="http://schemas.microsoft.com/office/drawing/2014/main" id="{F322CC36-91F1-9145-AB43-C20A39A88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4434" y="6036306"/>
                <a:ext cx="430451" cy="324397"/>
              </a:xfrm>
              <a:custGeom>
                <a:avLst/>
                <a:gdLst>
                  <a:gd name="T0" fmla="*/ 333 w 607"/>
                  <a:gd name="T1" fmla="*/ 3 h 460"/>
                  <a:gd name="T2" fmla="*/ 333 w 607"/>
                  <a:gd name="T3" fmla="*/ 3 h 460"/>
                  <a:gd name="T4" fmla="*/ 216 w 607"/>
                  <a:gd name="T5" fmla="*/ 140 h 460"/>
                  <a:gd name="T6" fmla="*/ 216 w 607"/>
                  <a:gd name="T7" fmla="*/ 140 h 460"/>
                  <a:gd name="T8" fmla="*/ 7 w 607"/>
                  <a:gd name="T9" fmla="*/ 342 h 460"/>
                  <a:gd name="T10" fmla="*/ 7 w 607"/>
                  <a:gd name="T11" fmla="*/ 342 h 460"/>
                  <a:gd name="T12" fmla="*/ 315 w 607"/>
                  <a:gd name="T13" fmla="*/ 422 h 460"/>
                  <a:gd name="T14" fmla="*/ 315 w 607"/>
                  <a:gd name="T15" fmla="*/ 422 h 460"/>
                  <a:gd name="T16" fmla="*/ 506 w 607"/>
                  <a:gd name="T17" fmla="*/ 246 h 460"/>
                  <a:gd name="T18" fmla="*/ 506 w 607"/>
                  <a:gd name="T19" fmla="*/ 246 h 460"/>
                  <a:gd name="T20" fmla="*/ 600 w 607"/>
                  <a:gd name="T21" fmla="*/ 142 h 460"/>
                  <a:gd name="T22" fmla="*/ 600 w 607"/>
                  <a:gd name="T23" fmla="*/ 142 h 460"/>
                  <a:gd name="T24" fmla="*/ 559 w 607"/>
                  <a:gd name="T25" fmla="*/ 0 h 460"/>
                  <a:gd name="T26" fmla="*/ 559 w 607"/>
                  <a:gd name="T27" fmla="*/ 0 h 460"/>
                  <a:gd name="T28" fmla="*/ 495 w 607"/>
                  <a:gd name="T29" fmla="*/ 16 h 460"/>
                  <a:gd name="T30" fmla="*/ 495 w 607"/>
                  <a:gd name="T31" fmla="*/ 16 h 460"/>
                  <a:gd name="T32" fmla="*/ 333 w 607"/>
                  <a:gd name="T33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7" h="460">
                    <a:moveTo>
                      <a:pt x="333" y="3"/>
                    </a:moveTo>
                    <a:lnTo>
                      <a:pt x="333" y="3"/>
                    </a:lnTo>
                    <a:cubicBezTo>
                      <a:pt x="333" y="3"/>
                      <a:pt x="272" y="57"/>
                      <a:pt x="216" y="140"/>
                    </a:cubicBezTo>
                    <a:lnTo>
                      <a:pt x="216" y="140"/>
                    </a:lnTo>
                    <a:cubicBezTo>
                      <a:pt x="161" y="224"/>
                      <a:pt x="13" y="228"/>
                      <a:pt x="7" y="342"/>
                    </a:cubicBezTo>
                    <a:lnTo>
                      <a:pt x="7" y="342"/>
                    </a:lnTo>
                    <a:cubicBezTo>
                      <a:pt x="0" y="455"/>
                      <a:pt x="207" y="459"/>
                      <a:pt x="315" y="422"/>
                    </a:cubicBezTo>
                    <a:lnTo>
                      <a:pt x="315" y="422"/>
                    </a:lnTo>
                    <a:cubicBezTo>
                      <a:pt x="424" y="385"/>
                      <a:pt x="441" y="274"/>
                      <a:pt x="506" y="246"/>
                    </a:cubicBezTo>
                    <a:lnTo>
                      <a:pt x="506" y="246"/>
                    </a:lnTo>
                    <a:cubicBezTo>
                      <a:pt x="572" y="219"/>
                      <a:pt x="606" y="196"/>
                      <a:pt x="600" y="142"/>
                    </a:cubicBezTo>
                    <a:lnTo>
                      <a:pt x="600" y="142"/>
                    </a:lnTo>
                    <a:cubicBezTo>
                      <a:pt x="596" y="88"/>
                      <a:pt x="559" y="0"/>
                      <a:pt x="559" y="0"/>
                    </a:cubicBezTo>
                    <a:lnTo>
                      <a:pt x="559" y="0"/>
                    </a:lnTo>
                    <a:cubicBezTo>
                      <a:pt x="559" y="0"/>
                      <a:pt x="519" y="13"/>
                      <a:pt x="495" y="16"/>
                    </a:cubicBezTo>
                    <a:lnTo>
                      <a:pt x="495" y="16"/>
                    </a:lnTo>
                    <a:cubicBezTo>
                      <a:pt x="471" y="18"/>
                      <a:pt x="390" y="19"/>
                      <a:pt x="333" y="3"/>
                    </a:cubicBez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E6367B8E-648D-2240-81D3-084B5FD5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7" y="4277073"/>
                <a:ext cx="336875" cy="386781"/>
              </a:xfrm>
              <a:custGeom>
                <a:avLst/>
                <a:gdLst>
                  <a:gd name="T0" fmla="*/ 476 w 477"/>
                  <a:gd name="T1" fmla="*/ 159 h 549"/>
                  <a:gd name="T2" fmla="*/ 476 w 477"/>
                  <a:gd name="T3" fmla="*/ 159 h 549"/>
                  <a:gd name="T4" fmla="*/ 86 w 477"/>
                  <a:gd name="T5" fmla="*/ 548 h 549"/>
                  <a:gd name="T6" fmla="*/ 0 w 477"/>
                  <a:gd name="T7" fmla="*/ 385 h 549"/>
                  <a:gd name="T8" fmla="*/ 0 w 477"/>
                  <a:gd name="T9" fmla="*/ 385 h 549"/>
                  <a:gd name="T10" fmla="*/ 330 w 477"/>
                  <a:gd name="T11" fmla="*/ 0 h 549"/>
                  <a:gd name="T12" fmla="*/ 330 w 477"/>
                  <a:gd name="T13" fmla="*/ 0 h 549"/>
                  <a:gd name="T14" fmla="*/ 476 w 477"/>
                  <a:gd name="T15" fmla="*/ 15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7" h="549">
                    <a:moveTo>
                      <a:pt x="476" y="159"/>
                    </a:moveTo>
                    <a:lnTo>
                      <a:pt x="476" y="159"/>
                    </a:lnTo>
                    <a:cubicBezTo>
                      <a:pt x="307" y="331"/>
                      <a:pt x="86" y="548"/>
                      <a:pt x="86" y="548"/>
                    </a:cubicBezTo>
                    <a:lnTo>
                      <a:pt x="0" y="385"/>
                    </a:lnTo>
                    <a:lnTo>
                      <a:pt x="0" y="385"/>
                    </a:lnTo>
                    <a:cubicBezTo>
                      <a:pt x="0" y="385"/>
                      <a:pt x="196" y="154"/>
                      <a:pt x="330" y="0"/>
                    </a:cubicBezTo>
                    <a:lnTo>
                      <a:pt x="330" y="0"/>
                    </a:lnTo>
                    <a:cubicBezTo>
                      <a:pt x="370" y="20"/>
                      <a:pt x="446" y="67"/>
                      <a:pt x="476" y="159"/>
                    </a:cubicBezTo>
                  </a:path>
                </a:pathLst>
              </a:custGeom>
              <a:solidFill>
                <a:srgbClr val="EEA88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4A663AF0-2E56-9649-A532-435A341BD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588" y="5986400"/>
                <a:ext cx="364946" cy="318159"/>
              </a:xfrm>
              <a:custGeom>
                <a:avLst/>
                <a:gdLst>
                  <a:gd name="T0" fmla="*/ 262 w 518"/>
                  <a:gd name="T1" fmla="*/ 5 h 450"/>
                  <a:gd name="T2" fmla="*/ 262 w 518"/>
                  <a:gd name="T3" fmla="*/ 5 h 450"/>
                  <a:gd name="T4" fmla="*/ 353 w 518"/>
                  <a:gd name="T5" fmla="*/ 107 h 450"/>
                  <a:gd name="T6" fmla="*/ 353 w 518"/>
                  <a:gd name="T7" fmla="*/ 107 h 450"/>
                  <a:gd name="T8" fmla="*/ 517 w 518"/>
                  <a:gd name="T9" fmla="*/ 326 h 450"/>
                  <a:gd name="T10" fmla="*/ 517 w 518"/>
                  <a:gd name="T11" fmla="*/ 326 h 450"/>
                  <a:gd name="T12" fmla="*/ 336 w 518"/>
                  <a:gd name="T13" fmla="*/ 434 h 450"/>
                  <a:gd name="T14" fmla="*/ 336 w 518"/>
                  <a:gd name="T15" fmla="*/ 434 h 450"/>
                  <a:gd name="T16" fmla="*/ 145 w 518"/>
                  <a:gd name="T17" fmla="*/ 301 h 450"/>
                  <a:gd name="T18" fmla="*/ 145 w 518"/>
                  <a:gd name="T19" fmla="*/ 301 h 450"/>
                  <a:gd name="T20" fmla="*/ 7 w 518"/>
                  <a:gd name="T21" fmla="*/ 157 h 450"/>
                  <a:gd name="T22" fmla="*/ 7 w 518"/>
                  <a:gd name="T23" fmla="*/ 157 h 450"/>
                  <a:gd name="T24" fmla="*/ 51 w 518"/>
                  <a:gd name="T25" fmla="*/ 0 h 450"/>
                  <a:gd name="T26" fmla="*/ 262 w 518"/>
                  <a:gd name="T27" fmla="*/ 5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450">
                    <a:moveTo>
                      <a:pt x="262" y="5"/>
                    </a:moveTo>
                    <a:lnTo>
                      <a:pt x="262" y="5"/>
                    </a:lnTo>
                    <a:cubicBezTo>
                      <a:pt x="262" y="5"/>
                      <a:pt x="319" y="68"/>
                      <a:pt x="353" y="107"/>
                    </a:cubicBezTo>
                    <a:lnTo>
                      <a:pt x="353" y="107"/>
                    </a:lnTo>
                    <a:cubicBezTo>
                      <a:pt x="387" y="145"/>
                      <a:pt x="515" y="213"/>
                      <a:pt x="517" y="326"/>
                    </a:cubicBezTo>
                    <a:lnTo>
                      <a:pt x="517" y="326"/>
                    </a:lnTo>
                    <a:cubicBezTo>
                      <a:pt x="517" y="449"/>
                      <a:pt x="421" y="439"/>
                      <a:pt x="336" y="434"/>
                    </a:cubicBezTo>
                    <a:lnTo>
                      <a:pt x="336" y="434"/>
                    </a:lnTo>
                    <a:cubicBezTo>
                      <a:pt x="251" y="429"/>
                      <a:pt x="181" y="370"/>
                      <a:pt x="145" y="301"/>
                    </a:cubicBezTo>
                    <a:lnTo>
                      <a:pt x="145" y="301"/>
                    </a:lnTo>
                    <a:cubicBezTo>
                      <a:pt x="110" y="231"/>
                      <a:pt x="14" y="213"/>
                      <a:pt x="7" y="157"/>
                    </a:cubicBezTo>
                    <a:lnTo>
                      <a:pt x="7" y="157"/>
                    </a:lnTo>
                    <a:cubicBezTo>
                      <a:pt x="0" y="101"/>
                      <a:pt x="51" y="0"/>
                      <a:pt x="51" y="0"/>
                    </a:cubicBezTo>
                    <a:lnTo>
                      <a:pt x="262" y="5"/>
                    </a:lnTo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DC7AA6A9-4A8A-6F43-BD2D-7434638975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48373" y="5911539"/>
                <a:ext cx="1081660" cy="136644"/>
              </a:xfrm>
              <a:custGeom>
                <a:avLst/>
                <a:gdLst>
                  <a:gd name="connsiteX0" fmla="*/ 6512 w 998814"/>
                  <a:gd name="connsiteY0" fmla="*/ 66246 h 126178"/>
                  <a:gd name="connsiteX1" fmla="*/ 149125 w 998814"/>
                  <a:gd name="connsiteY1" fmla="*/ 69502 h 126178"/>
                  <a:gd name="connsiteX2" fmla="*/ 147171 w 998814"/>
                  <a:gd name="connsiteY2" fmla="*/ 113784 h 126178"/>
                  <a:gd name="connsiteX3" fmla="*/ 0 w 998814"/>
                  <a:gd name="connsiteY3" fmla="*/ 115737 h 126178"/>
                  <a:gd name="connsiteX4" fmla="*/ 868385 w 998814"/>
                  <a:gd name="connsiteY4" fmla="*/ 0 h 126178"/>
                  <a:gd name="connsiteX5" fmla="*/ 994249 w 998814"/>
                  <a:gd name="connsiteY5" fmla="*/ 10970 h 126178"/>
                  <a:gd name="connsiteX6" fmla="*/ 998814 w 998814"/>
                  <a:gd name="connsiteY6" fmla="*/ 70984 h 126178"/>
                  <a:gd name="connsiteX7" fmla="*/ 861211 w 998814"/>
                  <a:gd name="connsiteY7" fmla="*/ 67757 h 12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8814" h="126178">
                    <a:moveTo>
                      <a:pt x="6512" y="66246"/>
                    </a:moveTo>
                    <a:lnTo>
                      <a:pt x="149125" y="69502"/>
                    </a:lnTo>
                    <a:lnTo>
                      <a:pt x="147171" y="113784"/>
                    </a:lnTo>
                    <a:cubicBezTo>
                      <a:pt x="70330" y="140483"/>
                      <a:pt x="0" y="115737"/>
                      <a:pt x="0" y="115737"/>
                    </a:cubicBezTo>
                    <a:close/>
                    <a:moveTo>
                      <a:pt x="868385" y="0"/>
                    </a:moveTo>
                    <a:lnTo>
                      <a:pt x="994249" y="10970"/>
                    </a:lnTo>
                    <a:lnTo>
                      <a:pt x="998814" y="70984"/>
                    </a:lnTo>
                    <a:cubicBezTo>
                      <a:pt x="977293" y="117446"/>
                      <a:pt x="861211" y="67757"/>
                      <a:pt x="861211" y="677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B4D44B28-320D-5345-9A84-4E5734D4D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2778" y="3525344"/>
                <a:ext cx="1285354" cy="1140922"/>
              </a:xfrm>
              <a:custGeom>
                <a:avLst/>
                <a:gdLst>
                  <a:gd name="connsiteX0" fmla="*/ 992993 w 1186907"/>
                  <a:gd name="connsiteY0" fmla="*/ 514464 h 1053537"/>
                  <a:gd name="connsiteX1" fmla="*/ 992551 w 1186907"/>
                  <a:gd name="connsiteY1" fmla="*/ 525061 h 1053537"/>
                  <a:gd name="connsiteX2" fmla="*/ 989937 w 1186907"/>
                  <a:gd name="connsiteY2" fmla="*/ 626286 h 1053537"/>
                  <a:gd name="connsiteX3" fmla="*/ 988536 w 1186907"/>
                  <a:gd name="connsiteY3" fmla="*/ 701279 h 1053537"/>
                  <a:gd name="connsiteX4" fmla="*/ 997420 w 1186907"/>
                  <a:gd name="connsiteY4" fmla="*/ 695066 h 1053537"/>
                  <a:gd name="connsiteX5" fmla="*/ 1007857 w 1186907"/>
                  <a:gd name="connsiteY5" fmla="*/ 591885 h 1053537"/>
                  <a:gd name="connsiteX6" fmla="*/ 994200 w 1186907"/>
                  <a:gd name="connsiteY6" fmla="*/ 521908 h 1053537"/>
                  <a:gd name="connsiteX7" fmla="*/ 649429 w 1186907"/>
                  <a:gd name="connsiteY7" fmla="*/ 0 h 1053537"/>
                  <a:gd name="connsiteX8" fmla="*/ 876870 w 1186907"/>
                  <a:gd name="connsiteY8" fmla="*/ 8490 h 1053537"/>
                  <a:gd name="connsiteX9" fmla="*/ 941573 w 1186907"/>
                  <a:gd name="connsiteY9" fmla="*/ 28735 h 1053537"/>
                  <a:gd name="connsiteX10" fmla="*/ 1146793 w 1186907"/>
                  <a:gd name="connsiteY10" fmla="*/ 173061 h 1053537"/>
                  <a:gd name="connsiteX11" fmla="*/ 1146794 w 1186907"/>
                  <a:gd name="connsiteY11" fmla="*/ 173135 h 1053537"/>
                  <a:gd name="connsiteX12" fmla="*/ 1147899 w 1186907"/>
                  <a:gd name="connsiteY12" fmla="*/ 174520 h 1053537"/>
                  <a:gd name="connsiteX13" fmla="*/ 1176792 w 1186907"/>
                  <a:gd name="connsiteY13" fmla="*/ 352219 h 1053537"/>
                  <a:gd name="connsiteX14" fmla="*/ 1173531 w 1186907"/>
                  <a:gd name="connsiteY14" fmla="*/ 807389 h 1053537"/>
                  <a:gd name="connsiteX15" fmla="*/ 1032184 w 1186907"/>
                  <a:gd name="connsiteY15" fmla="*/ 869285 h 1053537"/>
                  <a:gd name="connsiteX16" fmla="*/ 995508 w 1186907"/>
                  <a:gd name="connsiteY16" fmla="*/ 883595 h 1053537"/>
                  <a:gd name="connsiteX17" fmla="*/ 1001538 w 1186907"/>
                  <a:gd name="connsiteY17" fmla="*/ 934612 h 1053537"/>
                  <a:gd name="connsiteX18" fmla="*/ 1018040 w 1186907"/>
                  <a:gd name="connsiteY18" fmla="*/ 1031184 h 1053537"/>
                  <a:gd name="connsiteX19" fmla="*/ 273628 w 1186907"/>
                  <a:gd name="connsiteY19" fmla="*/ 1031184 h 1053537"/>
                  <a:gd name="connsiteX20" fmla="*/ 494533 w 1186907"/>
                  <a:gd name="connsiteY20" fmla="*/ 839837 h 1053537"/>
                  <a:gd name="connsiteX21" fmla="*/ 471822 w 1186907"/>
                  <a:gd name="connsiteY21" fmla="*/ 673796 h 1053537"/>
                  <a:gd name="connsiteX22" fmla="*/ 451337 w 1186907"/>
                  <a:gd name="connsiteY22" fmla="*/ 579171 h 1053537"/>
                  <a:gd name="connsiteX23" fmla="*/ 439098 w 1186907"/>
                  <a:gd name="connsiteY23" fmla="*/ 634247 h 1053537"/>
                  <a:gd name="connsiteX24" fmla="*/ 430043 w 1186907"/>
                  <a:gd name="connsiteY24" fmla="*/ 666374 h 1053537"/>
                  <a:gd name="connsiteX25" fmla="*/ 310623 w 1186907"/>
                  <a:gd name="connsiteY25" fmla="*/ 799135 h 1053537"/>
                  <a:gd name="connsiteX26" fmla="*/ 56121 w 1186907"/>
                  <a:gd name="connsiteY26" fmla="*/ 1053537 h 1053537"/>
                  <a:gd name="connsiteX27" fmla="*/ 0 w 1186907"/>
                  <a:gd name="connsiteY27" fmla="*/ 946937 h 1053537"/>
                  <a:gd name="connsiteX28" fmla="*/ 215348 w 1186907"/>
                  <a:gd name="connsiteY28" fmla="*/ 695150 h 1053537"/>
                  <a:gd name="connsiteX29" fmla="*/ 292351 w 1186907"/>
                  <a:gd name="connsiteY29" fmla="*/ 607515 h 1053537"/>
                  <a:gd name="connsiteX30" fmla="*/ 361523 w 1186907"/>
                  <a:gd name="connsiteY30" fmla="*/ 298177 h 1053537"/>
                  <a:gd name="connsiteX31" fmla="*/ 441086 w 1186907"/>
                  <a:gd name="connsiteY31" fmla="*/ 105689 h 1053537"/>
                  <a:gd name="connsiteX32" fmla="*/ 448287 w 1186907"/>
                  <a:gd name="connsiteY32" fmla="*/ 95794 h 1053537"/>
                  <a:gd name="connsiteX33" fmla="*/ 450091 w 1186907"/>
                  <a:gd name="connsiteY33" fmla="*/ 92082 h 1053537"/>
                  <a:gd name="connsiteX34" fmla="*/ 649429 w 1186907"/>
                  <a:gd name="connsiteY34" fmla="*/ 0 h 105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6907" h="1053537">
                    <a:moveTo>
                      <a:pt x="992993" y="514464"/>
                    </a:moveTo>
                    <a:lnTo>
                      <a:pt x="992551" y="525061"/>
                    </a:lnTo>
                    <a:cubicBezTo>
                      <a:pt x="991898" y="549225"/>
                      <a:pt x="991244" y="586449"/>
                      <a:pt x="989937" y="626286"/>
                    </a:cubicBezTo>
                    <a:lnTo>
                      <a:pt x="988536" y="701279"/>
                    </a:lnTo>
                    <a:lnTo>
                      <a:pt x="997420" y="695066"/>
                    </a:lnTo>
                    <a:cubicBezTo>
                      <a:pt x="1017641" y="676127"/>
                      <a:pt x="1022859" y="645434"/>
                      <a:pt x="1007857" y="591885"/>
                    </a:cubicBezTo>
                    <a:cubicBezTo>
                      <a:pt x="1004270" y="578498"/>
                      <a:pt x="999459" y="553029"/>
                      <a:pt x="994200" y="521908"/>
                    </a:cubicBezTo>
                    <a:close/>
                    <a:moveTo>
                      <a:pt x="649429" y="0"/>
                    </a:moveTo>
                    <a:lnTo>
                      <a:pt x="876870" y="8490"/>
                    </a:lnTo>
                    <a:cubicBezTo>
                      <a:pt x="876870" y="8490"/>
                      <a:pt x="914777" y="16327"/>
                      <a:pt x="941573" y="28735"/>
                    </a:cubicBezTo>
                    <a:cubicBezTo>
                      <a:pt x="968369" y="41143"/>
                      <a:pt x="1121957" y="96000"/>
                      <a:pt x="1146793" y="173061"/>
                    </a:cubicBezTo>
                    <a:lnTo>
                      <a:pt x="1146794" y="173135"/>
                    </a:lnTo>
                    <a:lnTo>
                      <a:pt x="1147899" y="174520"/>
                    </a:lnTo>
                    <a:cubicBezTo>
                      <a:pt x="1153677" y="184714"/>
                      <a:pt x="1166518" y="221447"/>
                      <a:pt x="1176792" y="352219"/>
                    </a:cubicBezTo>
                    <a:cubicBezTo>
                      <a:pt x="1189837" y="526581"/>
                      <a:pt x="1191794" y="786491"/>
                      <a:pt x="1173531" y="807389"/>
                    </a:cubicBezTo>
                    <a:cubicBezTo>
                      <a:pt x="1168150" y="814246"/>
                      <a:pt x="1109568" y="838735"/>
                      <a:pt x="1032184" y="869285"/>
                    </a:cubicBezTo>
                    <a:lnTo>
                      <a:pt x="995508" y="883595"/>
                    </a:lnTo>
                    <a:lnTo>
                      <a:pt x="1001538" y="934612"/>
                    </a:lnTo>
                    <a:cubicBezTo>
                      <a:pt x="1008563" y="984327"/>
                      <a:pt x="1016079" y="1023674"/>
                      <a:pt x="1018040" y="1031184"/>
                    </a:cubicBezTo>
                    <a:cubicBezTo>
                      <a:pt x="1022615" y="1044898"/>
                      <a:pt x="273628" y="1031184"/>
                      <a:pt x="273628" y="1031184"/>
                    </a:cubicBezTo>
                    <a:cubicBezTo>
                      <a:pt x="273628" y="1031184"/>
                      <a:pt x="480809" y="880327"/>
                      <a:pt x="494533" y="839837"/>
                    </a:cubicBezTo>
                    <a:cubicBezTo>
                      <a:pt x="501069" y="819592"/>
                      <a:pt x="487835" y="749061"/>
                      <a:pt x="471822" y="673796"/>
                    </a:cubicBezTo>
                    <a:lnTo>
                      <a:pt x="451337" y="579171"/>
                    </a:lnTo>
                    <a:lnTo>
                      <a:pt x="439098" y="634247"/>
                    </a:lnTo>
                    <a:cubicBezTo>
                      <a:pt x="435427" y="649534"/>
                      <a:pt x="432327" y="660816"/>
                      <a:pt x="430043" y="666374"/>
                    </a:cubicBezTo>
                    <a:cubicBezTo>
                      <a:pt x="423517" y="679454"/>
                      <a:pt x="372617" y="734389"/>
                      <a:pt x="310623" y="799135"/>
                    </a:cubicBezTo>
                    <a:cubicBezTo>
                      <a:pt x="200339" y="911621"/>
                      <a:pt x="56121" y="1053537"/>
                      <a:pt x="56121" y="1053537"/>
                    </a:cubicBezTo>
                    <a:lnTo>
                      <a:pt x="0" y="946937"/>
                    </a:lnTo>
                    <a:cubicBezTo>
                      <a:pt x="0" y="946937"/>
                      <a:pt x="127904" y="795865"/>
                      <a:pt x="215348" y="695150"/>
                    </a:cubicBezTo>
                    <a:cubicBezTo>
                      <a:pt x="255154" y="648717"/>
                      <a:pt x="287130" y="612747"/>
                      <a:pt x="292351" y="607515"/>
                    </a:cubicBezTo>
                    <a:cubicBezTo>
                      <a:pt x="310623" y="591165"/>
                      <a:pt x="331505" y="430284"/>
                      <a:pt x="361523" y="298177"/>
                    </a:cubicBezTo>
                    <a:cubicBezTo>
                      <a:pt x="383548" y="198607"/>
                      <a:pt x="422824" y="132513"/>
                      <a:pt x="441086" y="105689"/>
                    </a:cubicBezTo>
                    <a:lnTo>
                      <a:pt x="448287" y="95794"/>
                    </a:lnTo>
                    <a:lnTo>
                      <a:pt x="450091" y="92082"/>
                    </a:lnTo>
                    <a:cubicBezTo>
                      <a:pt x="493226" y="47674"/>
                      <a:pt x="649429" y="0"/>
                      <a:pt x="6494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2" name="Freeform 61">
                <a:extLst>
                  <a:ext uri="{FF2B5EF4-FFF2-40B4-BE49-F238E27FC236}">
                    <a16:creationId xmlns:a16="http://schemas.microsoft.com/office/drawing/2014/main" id="{E9F28000-C293-914E-B58A-739B4A7E7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8929" y="4598351"/>
                <a:ext cx="1500339" cy="1425479"/>
              </a:xfrm>
              <a:custGeom>
                <a:avLst/>
                <a:gdLst>
                  <a:gd name="T0" fmla="*/ 1961 w 2123"/>
                  <a:gd name="T1" fmla="*/ 60 h 2016"/>
                  <a:gd name="T2" fmla="*/ 1961 w 2123"/>
                  <a:gd name="T3" fmla="*/ 60 h 2016"/>
                  <a:gd name="T4" fmla="*/ 2120 w 2123"/>
                  <a:gd name="T5" fmla="*/ 444 h 2016"/>
                  <a:gd name="T6" fmla="*/ 2120 w 2123"/>
                  <a:gd name="T7" fmla="*/ 444 h 2016"/>
                  <a:gd name="T8" fmla="*/ 2057 w 2123"/>
                  <a:gd name="T9" fmla="*/ 1120 h 2016"/>
                  <a:gd name="T10" fmla="*/ 2057 w 2123"/>
                  <a:gd name="T11" fmla="*/ 1120 h 2016"/>
                  <a:gd name="T12" fmla="*/ 1972 w 2123"/>
                  <a:gd name="T13" fmla="*/ 1921 h 2016"/>
                  <a:gd name="T14" fmla="*/ 1972 w 2123"/>
                  <a:gd name="T15" fmla="*/ 1921 h 2016"/>
                  <a:gd name="T16" fmla="*/ 1723 w 2123"/>
                  <a:gd name="T17" fmla="*/ 1907 h 2016"/>
                  <a:gd name="T18" fmla="*/ 1723 w 2123"/>
                  <a:gd name="T19" fmla="*/ 1907 h 2016"/>
                  <a:gd name="T20" fmla="*/ 1677 w 2123"/>
                  <a:gd name="T21" fmla="*/ 1156 h 2016"/>
                  <a:gd name="T22" fmla="*/ 1677 w 2123"/>
                  <a:gd name="T23" fmla="*/ 1156 h 2016"/>
                  <a:gd name="T24" fmla="*/ 1631 w 2123"/>
                  <a:gd name="T25" fmla="*/ 700 h 2016"/>
                  <a:gd name="T26" fmla="*/ 1631 w 2123"/>
                  <a:gd name="T27" fmla="*/ 700 h 2016"/>
                  <a:gd name="T28" fmla="*/ 1303 w 2123"/>
                  <a:gd name="T29" fmla="*/ 471 h 2016"/>
                  <a:gd name="T30" fmla="*/ 1303 w 2123"/>
                  <a:gd name="T31" fmla="*/ 471 h 2016"/>
                  <a:gd name="T32" fmla="*/ 635 w 2123"/>
                  <a:gd name="T33" fmla="*/ 595 h 2016"/>
                  <a:gd name="T34" fmla="*/ 635 w 2123"/>
                  <a:gd name="T35" fmla="*/ 595 h 2016"/>
                  <a:gd name="T36" fmla="*/ 584 w 2123"/>
                  <a:gd name="T37" fmla="*/ 1029 h 2016"/>
                  <a:gd name="T38" fmla="*/ 584 w 2123"/>
                  <a:gd name="T39" fmla="*/ 1029 h 2016"/>
                  <a:gd name="T40" fmla="*/ 692 w 2123"/>
                  <a:gd name="T41" fmla="*/ 1968 h 2016"/>
                  <a:gd name="T42" fmla="*/ 692 w 2123"/>
                  <a:gd name="T43" fmla="*/ 1968 h 2016"/>
                  <a:gd name="T44" fmla="*/ 395 w 2123"/>
                  <a:gd name="T45" fmla="*/ 1975 h 2016"/>
                  <a:gd name="T46" fmla="*/ 395 w 2123"/>
                  <a:gd name="T47" fmla="*/ 1975 h 2016"/>
                  <a:gd name="T48" fmla="*/ 17 w 2123"/>
                  <a:gd name="T49" fmla="*/ 515 h 2016"/>
                  <a:gd name="T50" fmla="*/ 17 w 2123"/>
                  <a:gd name="T51" fmla="*/ 515 h 2016"/>
                  <a:gd name="T52" fmla="*/ 901 w 2123"/>
                  <a:gd name="T53" fmla="*/ 0 h 2016"/>
                  <a:gd name="T54" fmla="*/ 1961 w 2123"/>
                  <a:gd name="T55" fmla="*/ 6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23" h="2016">
                    <a:moveTo>
                      <a:pt x="1961" y="60"/>
                    </a:moveTo>
                    <a:lnTo>
                      <a:pt x="1961" y="60"/>
                    </a:lnTo>
                    <a:cubicBezTo>
                      <a:pt x="1961" y="60"/>
                      <a:pt x="2117" y="288"/>
                      <a:pt x="2120" y="444"/>
                    </a:cubicBezTo>
                    <a:lnTo>
                      <a:pt x="2120" y="444"/>
                    </a:lnTo>
                    <a:cubicBezTo>
                      <a:pt x="2122" y="601"/>
                      <a:pt x="2062" y="1034"/>
                      <a:pt x="2057" y="1120"/>
                    </a:cubicBezTo>
                    <a:lnTo>
                      <a:pt x="2057" y="1120"/>
                    </a:lnTo>
                    <a:cubicBezTo>
                      <a:pt x="2053" y="1206"/>
                      <a:pt x="1972" y="1921"/>
                      <a:pt x="1972" y="1921"/>
                    </a:cubicBezTo>
                    <a:lnTo>
                      <a:pt x="1972" y="1921"/>
                    </a:lnTo>
                    <a:cubicBezTo>
                      <a:pt x="1972" y="1921"/>
                      <a:pt x="1910" y="1979"/>
                      <a:pt x="1723" y="1907"/>
                    </a:cubicBezTo>
                    <a:lnTo>
                      <a:pt x="1723" y="1907"/>
                    </a:lnTo>
                    <a:cubicBezTo>
                      <a:pt x="1723" y="1907"/>
                      <a:pt x="1681" y="1228"/>
                      <a:pt x="1677" y="1156"/>
                    </a:cubicBezTo>
                    <a:lnTo>
                      <a:pt x="1677" y="1156"/>
                    </a:lnTo>
                    <a:cubicBezTo>
                      <a:pt x="1673" y="1083"/>
                      <a:pt x="1673" y="749"/>
                      <a:pt x="1631" y="700"/>
                    </a:cubicBezTo>
                    <a:lnTo>
                      <a:pt x="1631" y="700"/>
                    </a:lnTo>
                    <a:cubicBezTo>
                      <a:pt x="1589" y="651"/>
                      <a:pt x="1336" y="499"/>
                      <a:pt x="1303" y="471"/>
                    </a:cubicBezTo>
                    <a:lnTo>
                      <a:pt x="1303" y="471"/>
                    </a:lnTo>
                    <a:cubicBezTo>
                      <a:pt x="1270" y="443"/>
                      <a:pt x="694" y="579"/>
                      <a:pt x="635" y="595"/>
                    </a:cubicBezTo>
                    <a:lnTo>
                      <a:pt x="635" y="595"/>
                    </a:lnTo>
                    <a:cubicBezTo>
                      <a:pt x="478" y="636"/>
                      <a:pt x="549" y="907"/>
                      <a:pt x="584" y="1029"/>
                    </a:cubicBezTo>
                    <a:lnTo>
                      <a:pt x="584" y="1029"/>
                    </a:lnTo>
                    <a:cubicBezTo>
                      <a:pt x="641" y="1232"/>
                      <a:pt x="692" y="1968"/>
                      <a:pt x="692" y="1968"/>
                    </a:cubicBezTo>
                    <a:lnTo>
                      <a:pt x="692" y="1968"/>
                    </a:lnTo>
                    <a:cubicBezTo>
                      <a:pt x="692" y="1968"/>
                      <a:pt x="581" y="2015"/>
                      <a:pt x="395" y="1975"/>
                    </a:cubicBezTo>
                    <a:lnTo>
                      <a:pt x="395" y="1975"/>
                    </a:lnTo>
                    <a:cubicBezTo>
                      <a:pt x="395" y="1975"/>
                      <a:pt x="29" y="648"/>
                      <a:pt x="17" y="515"/>
                    </a:cubicBezTo>
                    <a:lnTo>
                      <a:pt x="17" y="515"/>
                    </a:lnTo>
                    <a:cubicBezTo>
                      <a:pt x="5" y="383"/>
                      <a:pt x="0" y="165"/>
                      <a:pt x="901" y="0"/>
                    </a:cubicBezTo>
                    <a:lnTo>
                      <a:pt x="1961" y="6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4CA9EAB9-CE2E-594C-AC7A-BE1E005ECC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600" y="2986924"/>
                <a:ext cx="425688" cy="782452"/>
              </a:xfrm>
              <a:custGeom>
                <a:avLst/>
                <a:gdLst>
                  <a:gd name="connsiteX0" fmla="*/ 129001 w 393084"/>
                  <a:gd name="connsiteY0" fmla="*/ 22 h 722523"/>
                  <a:gd name="connsiteX1" fmla="*/ 159151 w 393084"/>
                  <a:gd name="connsiteY1" fmla="*/ 3080 h 722523"/>
                  <a:gd name="connsiteX2" fmla="*/ 332497 w 393084"/>
                  <a:gd name="connsiteY2" fmla="*/ 135312 h 722523"/>
                  <a:gd name="connsiteX3" fmla="*/ 317753 w 393084"/>
                  <a:gd name="connsiteY3" fmla="*/ 290373 h 722523"/>
                  <a:gd name="connsiteX4" fmla="*/ 315365 w 393084"/>
                  <a:gd name="connsiteY4" fmla="*/ 298150 h 722523"/>
                  <a:gd name="connsiteX5" fmla="*/ 312259 w 393084"/>
                  <a:gd name="connsiteY5" fmla="*/ 356963 h 722523"/>
                  <a:gd name="connsiteX6" fmla="*/ 317970 w 393084"/>
                  <a:gd name="connsiteY6" fmla="*/ 455127 h 722523"/>
                  <a:gd name="connsiteX7" fmla="*/ 322346 w 393084"/>
                  <a:gd name="connsiteY7" fmla="*/ 498274 h 722523"/>
                  <a:gd name="connsiteX8" fmla="*/ 345964 w 393084"/>
                  <a:gd name="connsiteY8" fmla="*/ 504778 h 722523"/>
                  <a:gd name="connsiteX9" fmla="*/ 393084 w 393084"/>
                  <a:gd name="connsiteY9" fmla="*/ 527161 h 722523"/>
                  <a:gd name="connsiteX10" fmla="*/ 119212 w 393084"/>
                  <a:gd name="connsiteY10" fmla="*/ 721875 h 722523"/>
                  <a:gd name="connsiteX11" fmla="*/ 98246 w 393084"/>
                  <a:gd name="connsiteY11" fmla="*/ 497105 h 722523"/>
                  <a:gd name="connsiteX12" fmla="*/ 130863 w 393084"/>
                  <a:gd name="connsiteY12" fmla="*/ 490683 h 722523"/>
                  <a:gd name="connsiteX13" fmla="*/ 137735 w 393084"/>
                  <a:gd name="connsiteY13" fmla="*/ 489788 h 722523"/>
                  <a:gd name="connsiteX14" fmla="*/ 139056 w 393084"/>
                  <a:gd name="connsiteY14" fmla="*/ 484333 h 722523"/>
                  <a:gd name="connsiteX15" fmla="*/ 140856 w 393084"/>
                  <a:gd name="connsiteY15" fmla="*/ 447813 h 722523"/>
                  <a:gd name="connsiteX16" fmla="*/ 110889 w 393084"/>
                  <a:gd name="connsiteY16" fmla="*/ 444568 h 722523"/>
                  <a:gd name="connsiteX17" fmla="*/ 6659 w 393084"/>
                  <a:gd name="connsiteY17" fmla="*/ 207974 h 722523"/>
                  <a:gd name="connsiteX18" fmla="*/ 129001 w 393084"/>
                  <a:gd name="connsiteY18" fmla="*/ 22 h 72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93084" h="722523">
                    <a:moveTo>
                      <a:pt x="129001" y="22"/>
                    </a:moveTo>
                    <a:cubicBezTo>
                      <a:pt x="146810" y="298"/>
                      <a:pt x="159151" y="3080"/>
                      <a:pt x="159151" y="3080"/>
                    </a:cubicBezTo>
                    <a:cubicBezTo>
                      <a:pt x="221712" y="5698"/>
                      <a:pt x="338362" y="57413"/>
                      <a:pt x="332497" y="135312"/>
                    </a:cubicBezTo>
                    <a:cubicBezTo>
                      <a:pt x="329564" y="174589"/>
                      <a:pt x="330705" y="234158"/>
                      <a:pt x="317753" y="290373"/>
                    </a:cubicBezTo>
                    <a:lnTo>
                      <a:pt x="315365" y="298150"/>
                    </a:lnTo>
                    <a:lnTo>
                      <a:pt x="312259" y="356963"/>
                    </a:lnTo>
                    <a:cubicBezTo>
                      <a:pt x="312841" y="389575"/>
                      <a:pt x="315150" y="423881"/>
                      <a:pt x="317970" y="455127"/>
                    </a:cubicBezTo>
                    <a:lnTo>
                      <a:pt x="322346" y="498274"/>
                    </a:lnTo>
                    <a:lnTo>
                      <a:pt x="345964" y="504778"/>
                    </a:lnTo>
                    <a:cubicBezTo>
                      <a:pt x="362095" y="510653"/>
                      <a:pt x="377933" y="518014"/>
                      <a:pt x="393084" y="527161"/>
                    </a:cubicBezTo>
                    <a:cubicBezTo>
                      <a:pt x="393084" y="527161"/>
                      <a:pt x="288908" y="735597"/>
                      <a:pt x="119212" y="721875"/>
                    </a:cubicBezTo>
                    <a:cubicBezTo>
                      <a:pt x="-49828" y="708154"/>
                      <a:pt x="90384" y="499065"/>
                      <a:pt x="98246" y="497105"/>
                    </a:cubicBezTo>
                    <a:cubicBezTo>
                      <a:pt x="100376" y="496615"/>
                      <a:pt x="112292" y="493674"/>
                      <a:pt x="130863" y="490683"/>
                    </a:cubicBezTo>
                    <a:lnTo>
                      <a:pt x="137735" y="489788"/>
                    </a:lnTo>
                    <a:lnTo>
                      <a:pt x="139056" y="484333"/>
                    </a:lnTo>
                    <a:lnTo>
                      <a:pt x="140856" y="447813"/>
                    </a:lnTo>
                    <a:lnTo>
                      <a:pt x="110889" y="444568"/>
                    </a:lnTo>
                    <a:cubicBezTo>
                      <a:pt x="63884" y="429417"/>
                      <a:pt x="34762" y="363445"/>
                      <a:pt x="6659" y="207974"/>
                    </a:cubicBezTo>
                    <a:cubicBezTo>
                      <a:pt x="-27065" y="20918"/>
                      <a:pt x="75574" y="-807"/>
                      <a:pt x="129001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2162F7C0-6505-9B42-A7B5-F0FA65BDD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6712" y="2892146"/>
                <a:ext cx="408615" cy="380543"/>
              </a:xfrm>
              <a:custGeom>
                <a:avLst/>
                <a:gdLst>
                  <a:gd name="T0" fmla="*/ 530 w 578"/>
                  <a:gd name="T1" fmla="*/ 535 h 536"/>
                  <a:gd name="T2" fmla="*/ 530 w 578"/>
                  <a:gd name="T3" fmla="*/ 535 h 536"/>
                  <a:gd name="T4" fmla="*/ 478 w 578"/>
                  <a:gd name="T5" fmla="*/ 411 h 536"/>
                  <a:gd name="T6" fmla="*/ 478 w 578"/>
                  <a:gd name="T7" fmla="*/ 411 h 536"/>
                  <a:gd name="T8" fmla="*/ 428 w 578"/>
                  <a:gd name="T9" fmla="*/ 456 h 536"/>
                  <a:gd name="T10" fmla="*/ 384 w 578"/>
                  <a:gd name="T11" fmla="*/ 464 h 536"/>
                  <a:gd name="T12" fmla="*/ 384 w 578"/>
                  <a:gd name="T13" fmla="*/ 464 h 536"/>
                  <a:gd name="T14" fmla="*/ 354 w 578"/>
                  <a:gd name="T15" fmla="*/ 340 h 536"/>
                  <a:gd name="T16" fmla="*/ 354 w 578"/>
                  <a:gd name="T17" fmla="*/ 340 h 536"/>
                  <a:gd name="T18" fmla="*/ 35 w 578"/>
                  <a:gd name="T19" fmla="*/ 368 h 536"/>
                  <a:gd name="T20" fmla="*/ 35 w 578"/>
                  <a:gd name="T21" fmla="*/ 368 h 536"/>
                  <a:gd name="T22" fmla="*/ 81 w 578"/>
                  <a:gd name="T23" fmla="*/ 94 h 536"/>
                  <a:gd name="T24" fmla="*/ 81 w 578"/>
                  <a:gd name="T25" fmla="*/ 94 h 536"/>
                  <a:gd name="T26" fmla="*/ 448 w 578"/>
                  <a:gd name="T27" fmla="*/ 87 h 536"/>
                  <a:gd name="T28" fmla="*/ 448 w 578"/>
                  <a:gd name="T29" fmla="*/ 87 h 536"/>
                  <a:gd name="T30" fmla="*/ 563 w 578"/>
                  <a:gd name="T31" fmla="*/ 156 h 536"/>
                  <a:gd name="T32" fmla="*/ 563 w 578"/>
                  <a:gd name="T33" fmla="*/ 156 h 536"/>
                  <a:gd name="T34" fmla="*/ 530 w 578"/>
                  <a:gd name="T35" fmla="*/ 5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8" h="536">
                    <a:moveTo>
                      <a:pt x="530" y="535"/>
                    </a:moveTo>
                    <a:lnTo>
                      <a:pt x="530" y="535"/>
                    </a:lnTo>
                    <a:cubicBezTo>
                      <a:pt x="530" y="535"/>
                      <a:pt x="522" y="415"/>
                      <a:pt x="478" y="411"/>
                    </a:cubicBezTo>
                    <a:lnTo>
                      <a:pt x="478" y="411"/>
                    </a:lnTo>
                    <a:cubicBezTo>
                      <a:pt x="435" y="408"/>
                      <a:pt x="428" y="456"/>
                      <a:pt x="428" y="456"/>
                    </a:cubicBezTo>
                    <a:lnTo>
                      <a:pt x="384" y="464"/>
                    </a:lnTo>
                    <a:lnTo>
                      <a:pt x="384" y="464"/>
                    </a:lnTo>
                    <a:cubicBezTo>
                      <a:pt x="384" y="464"/>
                      <a:pt x="398" y="359"/>
                      <a:pt x="354" y="340"/>
                    </a:cubicBezTo>
                    <a:lnTo>
                      <a:pt x="354" y="340"/>
                    </a:lnTo>
                    <a:cubicBezTo>
                      <a:pt x="310" y="322"/>
                      <a:pt x="71" y="398"/>
                      <a:pt x="35" y="368"/>
                    </a:cubicBezTo>
                    <a:lnTo>
                      <a:pt x="35" y="368"/>
                    </a:lnTo>
                    <a:cubicBezTo>
                      <a:pt x="0" y="336"/>
                      <a:pt x="17" y="123"/>
                      <a:pt x="81" y="94"/>
                    </a:cubicBezTo>
                    <a:lnTo>
                      <a:pt x="81" y="94"/>
                    </a:lnTo>
                    <a:cubicBezTo>
                      <a:pt x="144" y="65"/>
                      <a:pt x="319" y="0"/>
                      <a:pt x="448" y="87"/>
                    </a:cubicBezTo>
                    <a:lnTo>
                      <a:pt x="448" y="87"/>
                    </a:lnTo>
                    <a:cubicBezTo>
                      <a:pt x="448" y="87"/>
                      <a:pt x="547" y="75"/>
                      <a:pt x="563" y="156"/>
                    </a:cubicBezTo>
                    <a:lnTo>
                      <a:pt x="563" y="156"/>
                    </a:lnTo>
                    <a:cubicBezTo>
                      <a:pt x="577" y="237"/>
                      <a:pt x="557" y="474"/>
                      <a:pt x="530" y="53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4EC5E73E-7A95-7D45-8AB9-4BAD8971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07" y="3369384"/>
                <a:ext cx="168437" cy="143484"/>
              </a:xfrm>
              <a:custGeom>
                <a:avLst/>
                <a:gdLst>
                  <a:gd name="T0" fmla="*/ 0 w 236"/>
                  <a:gd name="T1" fmla="*/ 201 h 202"/>
                  <a:gd name="T2" fmla="*/ 0 w 236"/>
                  <a:gd name="T3" fmla="*/ 201 h 202"/>
                  <a:gd name="T4" fmla="*/ 235 w 236"/>
                  <a:gd name="T5" fmla="*/ 0 h 202"/>
                  <a:gd name="T6" fmla="*/ 235 w 236"/>
                  <a:gd name="T7" fmla="*/ 0 h 202"/>
                  <a:gd name="T8" fmla="*/ 3 w 236"/>
                  <a:gd name="T9" fmla="*/ 140 h 202"/>
                  <a:gd name="T10" fmla="*/ 3 w 236"/>
                  <a:gd name="T11" fmla="*/ 140 h 202"/>
                  <a:gd name="T12" fmla="*/ 0 w 236"/>
                  <a:gd name="T13" fmla="*/ 20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2">
                    <a:moveTo>
                      <a:pt x="0" y="201"/>
                    </a:moveTo>
                    <a:lnTo>
                      <a:pt x="0" y="201"/>
                    </a:lnTo>
                    <a:cubicBezTo>
                      <a:pt x="217" y="134"/>
                      <a:pt x="234" y="2"/>
                      <a:pt x="235" y="0"/>
                    </a:cubicBezTo>
                    <a:lnTo>
                      <a:pt x="235" y="0"/>
                    </a:lnTo>
                    <a:cubicBezTo>
                      <a:pt x="163" y="124"/>
                      <a:pt x="3" y="140"/>
                      <a:pt x="3" y="140"/>
                    </a:cubicBezTo>
                    <a:lnTo>
                      <a:pt x="3" y="140"/>
                    </a:lnTo>
                    <a:cubicBezTo>
                      <a:pt x="3" y="157"/>
                      <a:pt x="2" y="179"/>
                      <a:pt x="0" y="201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6" name="Freeform 68">
                <a:extLst>
                  <a:ext uri="{FF2B5EF4-FFF2-40B4-BE49-F238E27FC236}">
                    <a16:creationId xmlns:a16="http://schemas.microsoft.com/office/drawing/2014/main" id="{B26A095D-FCFA-784E-BFC9-D83EB08EB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8646" y="4560920"/>
                <a:ext cx="898332" cy="140366"/>
              </a:xfrm>
              <a:custGeom>
                <a:avLst/>
                <a:gdLst>
                  <a:gd name="T0" fmla="*/ 0 w 1271"/>
                  <a:gd name="T1" fmla="*/ 98 h 197"/>
                  <a:gd name="T2" fmla="*/ 0 w 1271"/>
                  <a:gd name="T3" fmla="*/ 98 h 197"/>
                  <a:gd name="T4" fmla="*/ 1270 w 1271"/>
                  <a:gd name="T5" fmla="*/ 115 h 197"/>
                  <a:gd name="T6" fmla="*/ 354 w 1271"/>
                  <a:gd name="T7" fmla="*/ 0 h 197"/>
                  <a:gd name="T8" fmla="*/ 354 w 1271"/>
                  <a:gd name="T9" fmla="*/ 0 h 197"/>
                  <a:gd name="T10" fmla="*/ 0 w 1271"/>
                  <a:gd name="T11" fmla="*/ 98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1" h="197">
                    <a:moveTo>
                      <a:pt x="0" y="98"/>
                    </a:moveTo>
                    <a:lnTo>
                      <a:pt x="0" y="98"/>
                    </a:lnTo>
                    <a:cubicBezTo>
                      <a:pt x="0" y="98"/>
                      <a:pt x="791" y="196"/>
                      <a:pt x="1270" y="115"/>
                    </a:cubicBezTo>
                    <a:lnTo>
                      <a:pt x="354" y="0"/>
                    </a:lnTo>
                    <a:lnTo>
                      <a:pt x="354" y="0"/>
                    </a:lnTo>
                    <a:cubicBezTo>
                      <a:pt x="354" y="0"/>
                      <a:pt x="349" y="23"/>
                      <a:pt x="0" y="9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3C796C3C-755F-BA4D-A624-47CA5F159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6045" y="3865339"/>
                <a:ext cx="622162" cy="379835"/>
              </a:xfrm>
              <a:custGeom>
                <a:avLst/>
                <a:gdLst>
                  <a:gd name="connsiteX0" fmla="*/ 8341 w 574510"/>
                  <a:gd name="connsiteY0" fmla="*/ 86408 h 350743"/>
                  <a:gd name="connsiteX1" fmla="*/ 33006 w 574510"/>
                  <a:gd name="connsiteY1" fmla="*/ 262632 h 350743"/>
                  <a:gd name="connsiteX2" fmla="*/ 11586 w 574510"/>
                  <a:gd name="connsiteY2" fmla="*/ 350743 h 350743"/>
                  <a:gd name="connsiteX3" fmla="*/ 8341 w 574510"/>
                  <a:gd name="connsiteY3" fmla="*/ 86408 h 350743"/>
                  <a:gd name="connsiteX4" fmla="*/ 543650 w 574510"/>
                  <a:gd name="connsiteY4" fmla="*/ 0 h 350743"/>
                  <a:gd name="connsiteX5" fmla="*/ 574510 w 574510"/>
                  <a:gd name="connsiteY5" fmla="*/ 211705 h 350743"/>
                  <a:gd name="connsiteX6" fmla="*/ 571938 w 574510"/>
                  <a:gd name="connsiteY6" fmla="*/ 313297 h 350743"/>
                  <a:gd name="connsiteX7" fmla="*/ 543650 w 574510"/>
                  <a:gd name="connsiteY7" fmla="*/ 0 h 35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4510" h="350743">
                    <a:moveTo>
                      <a:pt x="8341" y="86408"/>
                    </a:moveTo>
                    <a:cubicBezTo>
                      <a:pt x="12235" y="156898"/>
                      <a:pt x="33006" y="262632"/>
                      <a:pt x="33006" y="262632"/>
                    </a:cubicBezTo>
                    <a:cubicBezTo>
                      <a:pt x="23919" y="305709"/>
                      <a:pt x="16130" y="339648"/>
                      <a:pt x="11586" y="350743"/>
                    </a:cubicBezTo>
                    <a:cubicBezTo>
                      <a:pt x="-12430" y="234566"/>
                      <a:pt x="8341" y="86408"/>
                      <a:pt x="8341" y="86408"/>
                    </a:cubicBezTo>
                    <a:close/>
                    <a:moveTo>
                      <a:pt x="543650" y="0"/>
                    </a:moveTo>
                    <a:cubicBezTo>
                      <a:pt x="535935" y="47191"/>
                      <a:pt x="573867" y="209738"/>
                      <a:pt x="574510" y="211705"/>
                    </a:cubicBezTo>
                    <a:cubicBezTo>
                      <a:pt x="573867" y="235956"/>
                      <a:pt x="573224" y="273315"/>
                      <a:pt x="571938" y="313297"/>
                    </a:cubicBezTo>
                    <a:cubicBezTo>
                      <a:pt x="503146" y="140263"/>
                      <a:pt x="543007" y="2622"/>
                      <a:pt x="543650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8" name="Freeform 74">
                <a:extLst>
                  <a:ext uri="{FF2B5EF4-FFF2-40B4-BE49-F238E27FC236}">
                    <a16:creationId xmlns:a16="http://schemas.microsoft.com/office/drawing/2014/main" id="{22A41C0C-2797-F242-B359-76E7F56A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8745" y="4623306"/>
                <a:ext cx="795399" cy="205868"/>
              </a:xfrm>
              <a:custGeom>
                <a:avLst/>
                <a:gdLst>
                  <a:gd name="T0" fmla="*/ 1124 w 1125"/>
                  <a:gd name="T1" fmla="*/ 16 h 289"/>
                  <a:gd name="T2" fmla="*/ 0 w 1125"/>
                  <a:gd name="T3" fmla="*/ 0 h 289"/>
                  <a:gd name="T4" fmla="*/ 567 w 1125"/>
                  <a:gd name="T5" fmla="*/ 288 h 289"/>
                  <a:gd name="T6" fmla="*/ 1124 w 1125"/>
                  <a:gd name="T7" fmla="*/ 1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5" h="289">
                    <a:moveTo>
                      <a:pt x="1124" y="16"/>
                    </a:moveTo>
                    <a:lnTo>
                      <a:pt x="0" y="0"/>
                    </a:lnTo>
                    <a:lnTo>
                      <a:pt x="567" y="288"/>
                    </a:lnTo>
                    <a:lnTo>
                      <a:pt x="1124" y="16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29" name="Freeform 75">
                <a:extLst>
                  <a:ext uri="{FF2B5EF4-FFF2-40B4-BE49-F238E27FC236}">
                    <a16:creationId xmlns:a16="http://schemas.microsoft.com/office/drawing/2014/main" id="{8398F3A2-72FC-B743-B959-58E5AC9431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9931" y="4635782"/>
                <a:ext cx="424212" cy="193391"/>
              </a:xfrm>
              <a:custGeom>
                <a:avLst/>
                <a:gdLst>
                  <a:gd name="T0" fmla="*/ 43 w 601"/>
                  <a:gd name="T1" fmla="*/ 272 h 273"/>
                  <a:gd name="T2" fmla="*/ 600 w 601"/>
                  <a:gd name="T3" fmla="*/ 57 h 273"/>
                  <a:gd name="T4" fmla="*/ 600 w 601"/>
                  <a:gd name="T5" fmla="*/ 0 h 273"/>
                  <a:gd name="T6" fmla="*/ 0 w 601"/>
                  <a:gd name="T7" fmla="*/ 218 h 273"/>
                  <a:gd name="T8" fmla="*/ 43 w 601"/>
                  <a:gd name="T9" fmla="*/ 27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1" h="273">
                    <a:moveTo>
                      <a:pt x="43" y="272"/>
                    </a:moveTo>
                    <a:lnTo>
                      <a:pt x="600" y="57"/>
                    </a:lnTo>
                    <a:lnTo>
                      <a:pt x="600" y="0"/>
                    </a:lnTo>
                    <a:lnTo>
                      <a:pt x="0" y="218"/>
                    </a:lnTo>
                    <a:lnTo>
                      <a:pt x="43" y="27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E3C8A71C-760D-E746-A68A-F24F866BCD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5211" y="4348815"/>
                <a:ext cx="716200" cy="408214"/>
              </a:xfrm>
              <a:custGeom>
                <a:avLst/>
                <a:gdLst>
                  <a:gd name="connsiteX0" fmla="*/ 598068 w 661345"/>
                  <a:gd name="connsiteY0" fmla="*/ 0 h 376948"/>
                  <a:gd name="connsiteX1" fmla="*/ 661345 w 661345"/>
                  <a:gd name="connsiteY1" fmla="*/ 139383 h 376948"/>
                  <a:gd name="connsiteX2" fmla="*/ 330910 w 661345"/>
                  <a:gd name="connsiteY2" fmla="*/ 255912 h 376948"/>
                  <a:gd name="connsiteX3" fmla="*/ 323740 w 661345"/>
                  <a:gd name="connsiteY3" fmla="*/ 258262 h 376948"/>
                  <a:gd name="connsiteX4" fmla="*/ 324338 w 661345"/>
                  <a:gd name="connsiteY4" fmla="*/ 261769 h 376948"/>
                  <a:gd name="connsiteX5" fmla="*/ 279936 w 661345"/>
                  <a:gd name="connsiteY5" fmla="*/ 272970 h 376948"/>
                  <a:gd name="connsiteX6" fmla="*/ 278777 w 661345"/>
                  <a:gd name="connsiteY6" fmla="*/ 271213 h 376948"/>
                  <a:gd name="connsiteX7" fmla="*/ 274534 w 661345"/>
                  <a:gd name="connsiteY7" fmla="*/ 272528 h 376948"/>
                  <a:gd name="connsiteX8" fmla="*/ 158945 w 661345"/>
                  <a:gd name="connsiteY8" fmla="*/ 308732 h 376948"/>
                  <a:gd name="connsiteX9" fmla="*/ 77011 w 661345"/>
                  <a:gd name="connsiteY9" fmla="*/ 372769 h 376948"/>
                  <a:gd name="connsiteX10" fmla="*/ 23918 w 661345"/>
                  <a:gd name="connsiteY10" fmla="*/ 343364 h 376948"/>
                  <a:gd name="connsiteX11" fmla="*/ 2943 w 661345"/>
                  <a:gd name="connsiteY11" fmla="*/ 328335 h 376948"/>
                  <a:gd name="connsiteX12" fmla="*/ 37846 w 661345"/>
                  <a:gd name="connsiteY12" fmla="*/ 265768 h 376948"/>
                  <a:gd name="connsiteX13" fmla="*/ 44759 w 661345"/>
                  <a:gd name="connsiteY13" fmla="*/ 252698 h 376948"/>
                  <a:gd name="connsiteX14" fmla="*/ 39418 w 661345"/>
                  <a:gd name="connsiteY14" fmla="*/ 254460 h 376948"/>
                  <a:gd name="connsiteX15" fmla="*/ 7438 w 661345"/>
                  <a:gd name="connsiteY15" fmla="*/ 246119 h 376948"/>
                  <a:gd name="connsiteX16" fmla="*/ 54239 w 661345"/>
                  <a:gd name="connsiteY16" fmla="*/ 210530 h 376948"/>
                  <a:gd name="connsiteX17" fmla="*/ 75745 w 661345"/>
                  <a:gd name="connsiteY17" fmla="*/ 198090 h 376948"/>
                  <a:gd name="connsiteX18" fmla="*/ 76737 w 661345"/>
                  <a:gd name="connsiteY18" fmla="*/ 197592 h 376948"/>
                  <a:gd name="connsiteX19" fmla="*/ 77666 w 661345"/>
                  <a:gd name="connsiteY19" fmla="*/ 196340 h 376948"/>
                  <a:gd name="connsiteX20" fmla="*/ 154725 w 661345"/>
                  <a:gd name="connsiteY20" fmla="*/ 176675 h 376948"/>
                  <a:gd name="connsiteX21" fmla="*/ 178609 w 661345"/>
                  <a:gd name="connsiteY21" fmla="*/ 178697 h 376948"/>
                  <a:gd name="connsiteX22" fmla="*/ 248940 w 661345"/>
                  <a:gd name="connsiteY22" fmla="*/ 191838 h 376948"/>
                  <a:gd name="connsiteX23" fmla="*/ 250940 w 661345"/>
                  <a:gd name="connsiteY23" fmla="*/ 192160 h 376948"/>
                  <a:gd name="connsiteX24" fmla="*/ 288449 w 661345"/>
                  <a:gd name="connsiteY24" fmla="*/ 172871 h 376948"/>
                  <a:gd name="connsiteX25" fmla="*/ 287558 w 661345"/>
                  <a:gd name="connsiteY25" fmla="*/ 170647 h 376948"/>
                  <a:gd name="connsiteX26" fmla="*/ 598068 w 661345"/>
                  <a:gd name="connsiteY26" fmla="*/ 0 h 37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1345" h="376948">
                    <a:moveTo>
                      <a:pt x="598068" y="0"/>
                    </a:moveTo>
                    <a:cubicBezTo>
                      <a:pt x="598068" y="0"/>
                      <a:pt x="643079" y="22145"/>
                      <a:pt x="661345" y="139383"/>
                    </a:cubicBezTo>
                    <a:cubicBezTo>
                      <a:pt x="524355" y="191815"/>
                      <a:pt x="367887" y="243748"/>
                      <a:pt x="330910" y="255912"/>
                    </a:cubicBezTo>
                    <a:lnTo>
                      <a:pt x="323740" y="258262"/>
                    </a:lnTo>
                    <a:lnTo>
                      <a:pt x="324338" y="261769"/>
                    </a:lnTo>
                    <a:lnTo>
                      <a:pt x="279936" y="272970"/>
                    </a:lnTo>
                    <a:lnTo>
                      <a:pt x="278777" y="271213"/>
                    </a:lnTo>
                    <a:lnTo>
                      <a:pt x="274534" y="272528"/>
                    </a:lnTo>
                    <a:cubicBezTo>
                      <a:pt x="241535" y="282758"/>
                      <a:pt x="173693" y="303832"/>
                      <a:pt x="158945" y="308732"/>
                    </a:cubicBezTo>
                    <a:cubicBezTo>
                      <a:pt x="139281" y="315920"/>
                      <a:pt x="114373" y="355126"/>
                      <a:pt x="77011" y="372769"/>
                    </a:cubicBezTo>
                    <a:cubicBezTo>
                      <a:pt x="39649" y="391066"/>
                      <a:pt x="23918" y="343364"/>
                      <a:pt x="23918" y="343364"/>
                    </a:cubicBezTo>
                    <a:cubicBezTo>
                      <a:pt x="7531" y="350552"/>
                      <a:pt x="-6234" y="335523"/>
                      <a:pt x="2943" y="328335"/>
                    </a:cubicBezTo>
                    <a:cubicBezTo>
                      <a:pt x="7531" y="325068"/>
                      <a:pt x="22279" y="295990"/>
                      <a:pt x="37846" y="265768"/>
                    </a:cubicBezTo>
                    <a:lnTo>
                      <a:pt x="44759" y="252698"/>
                    </a:lnTo>
                    <a:lnTo>
                      <a:pt x="39418" y="254460"/>
                    </a:lnTo>
                    <a:cubicBezTo>
                      <a:pt x="10775" y="260207"/>
                      <a:pt x="1506" y="250568"/>
                      <a:pt x="7438" y="246119"/>
                    </a:cubicBezTo>
                    <a:cubicBezTo>
                      <a:pt x="14689" y="240847"/>
                      <a:pt x="46329" y="217121"/>
                      <a:pt x="54239" y="210530"/>
                    </a:cubicBezTo>
                    <a:cubicBezTo>
                      <a:pt x="57865" y="207564"/>
                      <a:pt x="67258" y="202456"/>
                      <a:pt x="75745" y="198090"/>
                    </a:cubicBezTo>
                    <a:lnTo>
                      <a:pt x="76737" y="197592"/>
                    </a:lnTo>
                    <a:lnTo>
                      <a:pt x="77666" y="196340"/>
                    </a:lnTo>
                    <a:cubicBezTo>
                      <a:pt x="88973" y="184088"/>
                      <a:pt x="126458" y="176982"/>
                      <a:pt x="154725" y="176675"/>
                    </a:cubicBezTo>
                    <a:cubicBezTo>
                      <a:pt x="164148" y="176573"/>
                      <a:pt x="172546" y="177227"/>
                      <a:pt x="178609" y="178697"/>
                    </a:cubicBezTo>
                    <a:cubicBezTo>
                      <a:pt x="202698" y="184088"/>
                      <a:pt x="234529" y="189479"/>
                      <a:pt x="248940" y="191838"/>
                    </a:cubicBezTo>
                    <a:lnTo>
                      <a:pt x="250940" y="192160"/>
                    </a:lnTo>
                    <a:lnTo>
                      <a:pt x="288449" y="172871"/>
                    </a:lnTo>
                    <a:lnTo>
                      <a:pt x="287558" y="170647"/>
                    </a:lnTo>
                    <a:cubicBezTo>
                      <a:pt x="287558" y="170647"/>
                      <a:pt x="472820" y="70343"/>
                      <a:pt x="59806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1" name="Freeform 78">
                <a:extLst>
                  <a:ext uri="{FF2B5EF4-FFF2-40B4-BE49-F238E27FC236}">
                    <a16:creationId xmlns:a16="http://schemas.microsoft.com/office/drawing/2014/main" id="{A9150127-42BD-4B4C-9DFF-809708270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6" y="4183497"/>
                <a:ext cx="1001267" cy="645675"/>
              </a:xfrm>
              <a:custGeom>
                <a:avLst/>
                <a:gdLst>
                  <a:gd name="T0" fmla="*/ 1413 w 1414"/>
                  <a:gd name="T1" fmla="*/ 913 h 914"/>
                  <a:gd name="T2" fmla="*/ 1079 w 1414"/>
                  <a:gd name="T3" fmla="*/ 0 h 914"/>
                  <a:gd name="T4" fmla="*/ 0 w 1414"/>
                  <a:gd name="T5" fmla="*/ 18 h 914"/>
                  <a:gd name="T6" fmla="*/ 319 w 1414"/>
                  <a:gd name="T7" fmla="*/ 859 h 914"/>
                  <a:gd name="T8" fmla="*/ 1413 w 1414"/>
                  <a:gd name="T9" fmla="*/ 913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4" h="914">
                    <a:moveTo>
                      <a:pt x="1413" y="913"/>
                    </a:moveTo>
                    <a:lnTo>
                      <a:pt x="1079" y="0"/>
                    </a:lnTo>
                    <a:lnTo>
                      <a:pt x="0" y="18"/>
                    </a:lnTo>
                    <a:lnTo>
                      <a:pt x="319" y="859"/>
                    </a:lnTo>
                    <a:lnTo>
                      <a:pt x="1413" y="91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D30752C-6248-A246-A55B-1ECDED97E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0400" y="4395605"/>
                <a:ext cx="162199" cy="202748"/>
              </a:xfrm>
              <a:custGeom>
                <a:avLst/>
                <a:gdLst>
                  <a:gd name="T0" fmla="*/ 197 w 231"/>
                  <a:gd name="T1" fmla="*/ 101 h 285"/>
                  <a:gd name="T2" fmla="*/ 197 w 231"/>
                  <a:gd name="T3" fmla="*/ 101 h 285"/>
                  <a:gd name="T4" fmla="*/ 175 w 231"/>
                  <a:gd name="T5" fmla="*/ 261 h 285"/>
                  <a:gd name="T6" fmla="*/ 175 w 231"/>
                  <a:gd name="T7" fmla="*/ 261 h 285"/>
                  <a:gd name="T8" fmla="*/ 33 w 231"/>
                  <a:gd name="T9" fmla="*/ 183 h 285"/>
                  <a:gd name="T10" fmla="*/ 33 w 231"/>
                  <a:gd name="T11" fmla="*/ 183 h 285"/>
                  <a:gd name="T12" fmla="*/ 55 w 231"/>
                  <a:gd name="T13" fmla="*/ 23 h 285"/>
                  <a:gd name="T14" fmla="*/ 55 w 231"/>
                  <a:gd name="T15" fmla="*/ 23 h 285"/>
                  <a:gd name="T16" fmla="*/ 197 w 231"/>
                  <a:gd name="T17" fmla="*/ 10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285">
                    <a:moveTo>
                      <a:pt x="197" y="101"/>
                    </a:moveTo>
                    <a:lnTo>
                      <a:pt x="197" y="101"/>
                    </a:lnTo>
                    <a:cubicBezTo>
                      <a:pt x="230" y="167"/>
                      <a:pt x="220" y="238"/>
                      <a:pt x="175" y="261"/>
                    </a:cubicBezTo>
                    <a:lnTo>
                      <a:pt x="175" y="261"/>
                    </a:lnTo>
                    <a:cubicBezTo>
                      <a:pt x="129" y="284"/>
                      <a:pt x="66" y="248"/>
                      <a:pt x="33" y="183"/>
                    </a:cubicBezTo>
                    <a:lnTo>
                      <a:pt x="33" y="183"/>
                    </a:lnTo>
                    <a:cubicBezTo>
                      <a:pt x="0" y="117"/>
                      <a:pt x="10" y="45"/>
                      <a:pt x="55" y="23"/>
                    </a:cubicBezTo>
                    <a:lnTo>
                      <a:pt x="55" y="23"/>
                    </a:lnTo>
                    <a:cubicBezTo>
                      <a:pt x="101" y="0"/>
                      <a:pt x="164" y="35"/>
                      <a:pt x="197" y="101"/>
                    </a:cubicBez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91BC5C79-9144-5141-BB88-A4D604F3E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9421" y="7265275"/>
                <a:ext cx="588823" cy="1359267"/>
              </a:xfrm>
              <a:custGeom>
                <a:avLst/>
                <a:gdLst>
                  <a:gd name="connsiteX0" fmla="*/ 469858 w 543724"/>
                  <a:gd name="connsiteY0" fmla="*/ 1157882 h 1255159"/>
                  <a:gd name="connsiteX1" fmla="*/ 526075 w 543724"/>
                  <a:gd name="connsiteY1" fmla="*/ 1157882 h 1255159"/>
                  <a:gd name="connsiteX2" fmla="*/ 543724 w 543724"/>
                  <a:gd name="connsiteY2" fmla="*/ 1175510 h 1255159"/>
                  <a:gd name="connsiteX3" fmla="*/ 543724 w 543724"/>
                  <a:gd name="connsiteY3" fmla="*/ 1236879 h 1255159"/>
                  <a:gd name="connsiteX4" fmla="*/ 526075 w 543724"/>
                  <a:gd name="connsiteY4" fmla="*/ 1255159 h 1255159"/>
                  <a:gd name="connsiteX5" fmla="*/ 469858 w 543724"/>
                  <a:gd name="connsiteY5" fmla="*/ 1255159 h 1255159"/>
                  <a:gd name="connsiteX6" fmla="*/ 452208 w 543724"/>
                  <a:gd name="connsiteY6" fmla="*/ 1236879 h 1255159"/>
                  <a:gd name="connsiteX7" fmla="*/ 452208 w 543724"/>
                  <a:gd name="connsiteY7" fmla="*/ 1175510 h 1255159"/>
                  <a:gd name="connsiteX8" fmla="*/ 469858 w 543724"/>
                  <a:gd name="connsiteY8" fmla="*/ 1157882 h 1255159"/>
                  <a:gd name="connsiteX9" fmla="*/ 17703 w 543724"/>
                  <a:gd name="connsiteY9" fmla="*/ 1157882 h 1255159"/>
                  <a:gd name="connsiteX10" fmla="*/ 304235 w 543724"/>
                  <a:gd name="connsiteY10" fmla="*/ 1157882 h 1255159"/>
                  <a:gd name="connsiteX11" fmla="*/ 321938 w 543724"/>
                  <a:gd name="connsiteY11" fmla="*/ 1175510 h 1255159"/>
                  <a:gd name="connsiteX12" fmla="*/ 321938 w 543724"/>
                  <a:gd name="connsiteY12" fmla="*/ 1236879 h 1255159"/>
                  <a:gd name="connsiteX13" fmla="*/ 304235 w 543724"/>
                  <a:gd name="connsiteY13" fmla="*/ 1255159 h 1255159"/>
                  <a:gd name="connsiteX14" fmla="*/ 17703 w 543724"/>
                  <a:gd name="connsiteY14" fmla="*/ 1255159 h 1255159"/>
                  <a:gd name="connsiteX15" fmla="*/ 0 w 543724"/>
                  <a:gd name="connsiteY15" fmla="*/ 1236879 h 1255159"/>
                  <a:gd name="connsiteX16" fmla="*/ 0 w 543724"/>
                  <a:gd name="connsiteY16" fmla="*/ 1175510 h 1255159"/>
                  <a:gd name="connsiteX17" fmla="*/ 17703 w 543724"/>
                  <a:gd name="connsiteY17" fmla="*/ 1157882 h 1255159"/>
                  <a:gd name="connsiteX18" fmla="*/ 469858 w 543724"/>
                  <a:gd name="connsiteY18" fmla="*/ 927457 h 1255159"/>
                  <a:gd name="connsiteX19" fmla="*/ 526075 w 543724"/>
                  <a:gd name="connsiteY19" fmla="*/ 927457 h 1255159"/>
                  <a:gd name="connsiteX20" fmla="*/ 543724 w 543724"/>
                  <a:gd name="connsiteY20" fmla="*/ 945202 h 1255159"/>
                  <a:gd name="connsiteX21" fmla="*/ 543724 w 543724"/>
                  <a:gd name="connsiteY21" fmla="*/ 1007641 h 1255159"/>
                  <a:gd name="connsiteX22" fmla="*/ 526075 w 543724"/>
                  <a:gd name="connsiteY22" fmla="*/ 1024730 h 1255159"/>
                  <a:gd name="connsiteX23" fmla="*/ 469858 w 543724"/>
                  <a:gd name="connsiteY23" fmla="*/ 1024730 h 1255159"/>
                  <a:gd name="connsiteX24" fmla="*/ 452208 w 543724"/>
                  <a:gd name="connsiteY24" fmla="*/ 1007641 h 1255159"/>
                  <a:gd name="connsiteX25" fmla="*/ 452208 w 543724"/>
                  <a:gd name="connsiteY25" fmla="*/ 945202 h 1255159"/>
                  <a:gd name="connsiteX26" fmla="*/ 469858 w 543724"/>
                  <a:gd name="connsiteY26" fmla="*/ 927457 h 1255159"/>
                  <a:gd name="connsiteX27" fmla="*/ 17703 w 543724"/>
                  <a:gd name="connsiteY27" fmla="*/ 927457 h 1255159"/>
                  <a:gd name="connsiteX28" fmla="*/ 304235 w 543724"/>
                  <a:gd name="connsiteY28" fmla="*/ 927457 h 1255159"/>
                  <a:gd name="connsiteX29" fmla="*/ 321938 w 543724"/>
                  <a:gd name="connsiteY29" fmla="*/ 945202 h 1255159"/>
                  <a:gd name="connsiteX30" fmla="*/ 321938 w 543724"/>
                  <a:gd name="connsiteY30" fmla="*/ 1007641 h 1255159"/>
                  <a:gd name="connsiteX31" fmla="*/ 304235 w 543724"/>
                  <a:gd name="connsiteY31" fmla="*/ 1024730 h 1255159"/>
                  <a:gd name="connsiteX32" fmla="*/ 17703 w 543724"/>
                  <a:gd name="connsiteY32" fmla="*/ 1024730 h 1255159"/>
                  <a:gd name="connsiteX33" fmla="*/ 0 w 543724"/>
                  <a:gd name="connsiteY33" fmla="*/ 1007641 h 1255159"/>
                  <a:gd name="connsiteX34" fmla="*/ 0 w 543724"/>
                  <a:gd name="connsiteY34" fmla="*/ 945202 h 1255159"/>
                  <a:gd name="connsiteX35" fmla="*/ 17703 w 543724"/>
                  <a:gd name="connsiteY35" fmla="*/ 927457 h 1255159"/>
                  <a:gd name="connsiteX36" fmla="*/ 469858 w 543724"/>
                  <a:gd name="connsiteY36" fmla="*/ 694152 h 1255159"/>
                  <a:gd name="connsiteX37" fmla="*/ 526075 w 543724"/>
                  <a:gd name="connsiteY37" fmla="*/ 694152 h 1255159"/>
                  <a:gd name="connsiteX38" fmla="*/ 543724 w 543724"/>
                  <a:gd name="connsiteY38" fmla="*/ 711897 h 1255159"/>
                  <a:gd name="connsiteX39" fmla="*/ 543724 w 543724"/>
                  <a:gd name="connsiteY39" fmla="*/ 773679 h 1255159"/>
                  <a:gd name="connsiteX40" fmla="*/ 526075 w 543724"/>
                  <a:gd name="connsiteY40" fmla="*/ 791425 h 1255159"/>
                  <a:gd name="connsiteX41" fmla="*/ 469858 w 543724"/>
                  <a:gd name="connsiteY41" fmla="*/ 791425 h 1255159"/>
                  <a:gd name="connsiteX42" fmla="*/ 452208 w 543724"/>
                  <a:gd name="connsiteY42" fmla="*/ 773679 h 1255159"/>
                  <a:gd name="connsiteX43" fmla="*/ 452208 w 543724"/>
                  <a:gd name="connsiteY43" fmla="*/ 711897 h 1255159"/>
                  <a:gd name="connsiteX44" fmla="*/ 469858 w 543724"/>
                  <a:gd name="connsiteY44" fmla="*/ 694152 h 1255159"/>
                  <a:gd name="connsiteX45" fmla="*/ 17703 w 543724"/>
                  <a:gd name="connsiteY45" fmla="*/ 694152 h 1255159"/>
                  <a:gd name="connsiteX46" fmla="*/ 304235 w 543724"/>
                  <a:gd name="connsiteY46" fmla="*/ 694152 h 1255159"/>
                  <a:gd name="connsiteX47" fmla="*/ 321938 w 543724"/>
                  <a:gd name="connsiteY47" fmla="*/ 711897 h 1255159"/>
                  <a:gd name="connsiteX48" fmla="*/ 321938 w 543724"/>
                  <a:gd name="connsiteY48" fmla="*/ 773679 h 1255159"/>
                  <a:gd name="connsiteX49" fmla="*/ 304235 w 543724"/>
                  <a:gd name="connsiteY49" fmla="*/ 791425 h 1255159"/>
                  <a:gd name="connsiteX50" fmla="*/ 17703 w 543724"/>
                  <a:gd name="connsiteY50" fmla="*/ 791425 h 1255159"/>
                  <a:gd name="connsiteX51" fmla="*/ 0 w 543724"/>
                  <a:gd name="connsiteY51" fmla="*/ 773679 h 1255159"/>
                  <a:gd name="connsiteX52" fmla="*/ 0 w 543724"/>
                  <a:gd name="connsiteY52" fmla="*/ 711897 h 1255159"/>
                  <a:gd name="connsiteX53" fmla="*/ 17703 w 543724"/>
                  <a:gd name="connsiteY53" fmla="*/ 694152 h 1255159"/>
                  <a:gd name="connsiteX54" fmla="*/ 469858 w 543724"/>
                  <a:gd name="connsiteY54" fmla="*/ 463728 h 1255159"/>
                  <a:gd name="connsiteX55" fmla="*/ 526075 w 543724"/>
                  <a:gd name="connsiteY55" fmla="*/ 463728 h 1255159"/>
                  <a:gd name="connsiteX56" fmla="*/ 543724 w 543724"/>
                  <a:gd name="connsiteY56" fmla="*/ 481473 h 1255159"/>
                  <a:gd name="connsiteX57" fmla="*/ 543724 w 543724"/>
                  <a:gd name="connsiteY57" fmla="*/ 543255 h 1255159"/>
                  <a:gd name="connsiteX58" fmla="*/ 526075 w 543724"/>
                  <a:gd name="connsiteY58" fmla="*/ 561001 h 1255159"/>
                  <a:gd name="connsiteX59" fmla="*/ 469858 w 543724"/>
                  <a:gd name="connsiteY59" fmla="*/ 561001 h 1255159"/>
                  <a:gd name="connsiteX60" fmla="*/ 452208 w 543724"/>
                  <a:gd name="connsiteY60" fmla="*/ 543255 h 1255159"/>
                  <a:gd name="connsiteX61" fmla="*/ 452208 w 543724"/>
                  <a:gd name="connsiteY61" fmla="*/ 481473 h 1255159"/>
                  <a:gd name="connsiteX62" fmla="*/ 469858 w 543724"/>
                  <a:gd name="connsiteY62" fmla="*/ 463728 h 1255159"/>
                  <a:gd name="connsiteX63" fmla="*/ 17703 w 543724"/>
                  <a:gd name="connsiteY63" fmla="*/ 463728 h 1255159"/>
                  <a:gd name="connsiteX64" fmla="*/ 304235 w 543724"/>
                  <a:gd name="connsiteY64" fmla="*/ 463728 h 1255159"/>
                  <a:gd name="connsiteX65" fmla="*/ 321938 w 543724"/>
                  <a:gd name="connsiteY65" fmla="*/ 481473 h 1255159"/>
                  <a:gd name="connsiteX66" fmla="*/ 321938 w 543724"/>
                  <a:gd name="connsiteY66" fmla="*/ 543255 h 1255159"/>
                  <a:gd name="connsiteX67" fmla="*/ 304235 w 543724"/>
                  <a:gd name="connsiteY67" fmla="*/ 561001 h 1255159"/>
                  <a:gd name="connsiteX68" fmla="*/ 17703 w 543724"/>
                  <a:gd name="connsiteY68" fmla="*/ 561001 h 1255159"/>
                  <a:gd name="connsiteX69" fmla="*/ 0 w 543724"/>
                  <a:gd name="connsiteY69" fmla="*/ 543255 h 1255159"/>
                  <a:gd name="connsiteX70" fmla="*/ 0 w 543724"/>
                  <a:gd name="connsiteY70" fmla="*/ 481473 h 1255159"/>
                  <a:gd name="connsiteX71" fmla="*/ 17703 w 543724"/>
                  <a:gd name="connsiteY71" fmla="*/ 463728 h 1255159"/>
                  <a:gd name="connsiteX72" fmla="*/ 469858 w 543724"/>
                  <a:gd name="connsiteY72" fmla="*/ 230424 h 1255159"/>
                  <a:gd name="connsiteX73" fmla="*/ 526075 w 543724"/>
                  <a:gd name="connsiteY73" fmla="*/ 230424 h 1255159"/>
                  <a:gd name="connsiteX74" fmla="*/ 543724 w 543724"/>
                  <a:gd name="connsiteY74" fmla="*/ 248169 h 1255159"/>
                  <a:gd name="connsiteX75" fmla="*/ 543724 w 543724"/>
                  <a:gd name="connsiteY75" fmla="*/ 309951 h 1255159"/>
                  <a:gd name="connsiteX76" fmla="*/ 526075 w 543724"/>
                  <a:gd name="connsiteY76" fmla="*/ 327697 h 1255159"/>
                  <a:gd name="connsiteX77" fmla="*/ 469858 w 543724"/>
                  <a:gd name="connsiteY77" fmla="*/ 327697 h 1255159"/>
                  <a:gd name="connsiteX78" fmla="*/ 452208 w 543724"/>
                  <a:gd name="connsiteY78" fmla="*/ 309951 h 1255159"/>
                  <a:gd name="connsiteX79" fmla="*/ 452208 w 543724"/>
                  <a:gd name="connsiteY79" fmla="*/ 248169 h 1255159"/>
                  <a:gd name="connsiteX80" fmla="*/ 469858 w 543724"/>
                  <a:gd name="connsiteY80" fmla="*/ 230424 h 1255159"/>
                  <a:gd name="connsiteX81" fmla="*/ 17703 w 543724"/>
                  <a:gd name="connsiteY81" fmla="*/ 230424 h 1255159"/>
                  <a:gd name="connsiteX82" fmla="*/ 304235 w 543724"/>
                  <a:gd name="connsiteY82" fmla="*/ 230424 h 1255159"/>
                  <a:gd name="connsiteX83" fmla="*/ 321938 w 543724"/>
                  <a:gd name="connsiteY83" fmla="*/ 248169 h 1255159"/>
                  <a:gd name="connsiteX84" fmla="*/ 321938 w 543724"/>
                  <a:gd name="connsiteY84" fmla="*/ 309951 h 1255159"/>
                  <a:gd name="connsiteX85" fmla="*/ 304235 w 543724"/>
                  <a:gd name="connsiteY85" fmla="*/ 327697 h 1255159"/>
                  <a:gd name="connsiteX86" fmla="*/ 17703 w 543724"/>
                  <a:gd name="connsiteY86" fmla="*/ 327697 h 1255159"/>
                  <a:gd name="connsiteX87" fmla="*/ 0 w 543724"/>
                  <a:gd name="connsiteY87" fmla="*/ 309951 h 1255159"/>
                  <a:gd name="connsiteX88" fmla="*/ 0 w 543724"/>
                  <a:gd name="connsiteY88" fmla="*/ 248169 h 1255159"/>
                  <a:gd name="connsiteX89" fmla="*/ 17703 w 543724"/>
                  <a:gd name="connsiteY89" fmla="*/ 230424 h 1255159"/>
                  <a:gd name="connsiteX90" fmla="*/ 469858 w 543724"/>
                  <a:gd name="connsiteY90" fmla="*/ 0 h 1255159"/>
                  <a:gd name="connsiteX91" fmla="*/ 526075 w 543724"/>
                  <a:gd name="connsiteY91" fmla="*/ 0 h 1255159"/>
                  <a:gd name="connsiteX92" fmla="*/ 543724 w 543724"/>
                  <a:gd name="connsiteY92" fmla="*/ 17088 h 1255159"/>
                  <a:gd name="connsiteX93" fmla="*/ 543724 w 543724"/>
                  <a:gd name="connsiteY93" fmla="*/ 79527 h 1255159"/>
                  <a:gd name="connsiteX94" fmla="*/ 526075 w 543724"/>
                  <a:gd name="connsiteY94" fmla="*/ 97273 h 1255159"/>
                  <a:gd name="connsiteX95" fmla="*/ 469858 w 543724"/>
                  <a:gd name="connsiteY95" fmla="*/ 97273 h 1255159"/>
                  <a:gd name="connsiteX96" fmla="*/ 452208 w 543724"/>
                  <a:gd name="connsiteY96" fmla="*/ 79527 h 1255159"/>
                  <a:gd name="connsiteX97" fmla="*/ 452208 w 543724"/>
                  <a:gd name="connsiteY97" fmla="*/ 17088 h 1255159"/>
                  <a:gd name="connsiteX98" fmla="*/ 469858 w 543724"/>
                  <a:gd name="connsiteY98" fmla="*/ 0 h 1255159"/>
                  <a:gd name="connsiteX99" fmla="*/ 17703 w 543724"/>
                  <a:gd name="connsiteY99" fmla="*/ 0 h 1255159"/>
                  <a:gd name="connsiteX100" fmla="*/ 304235 w 543724"/>
                  <a:gd name="connsiteY100" fmla="*/ 0 h 1255159"/>
                  <a:gd name="connsiteX101" fmla="*/ 321938 w 543724"/>
                  <a:gd name="connsiteY101" fmla="*/ 17088 h 1255159"/>
                  <a:gd name="connsiteX102" fmla="*/ 321938 w 543724"/>
                  <a:gd name="connsiteY102" fmla="*/ 79527 h 1255159"/>
                  <a:gd name="connsiteX103" fmla="*/ 304235 w 543724"/>
                  <a:gd name="connsiteY103" fmla="*/ 97273 h 1255159"/>
                  <a:gd name="connsiteX104" fmla="*/ 17703 w 543724"/>
                  <a:gd name="connsiteY104" fmla="*/ 97273 h 1255159"/>
                  <a:gd name="connsiteX105" fmla="*/ 0 w 543724"/>
                  <a:gd name="connsiteY105" fmla="*/ 79527 h 1255159"/>
                  <a:gd name="connsiteX106" fmla="*/ 0 w 543724"/>
                  <a:gd name="connsiteY106" fmla="*/ 17088 h 1255159"/>
                  <a:gd name="connsiteX107" fmla="*/ 17703 w 543724"/>
                  <a:gd name="connsiteY107" fmla="*/ 0 h 125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43724" h="1255159">
                    <a:moveTo>
                      <a:pt x="469858" y="1157882"/>
                    </a:moveTo>
                    <a:lnTo>
                      <a:pt x="526075" y="1157882"/>
                    </a:lnTo>
                    <a:cubicBezTo>
                      <a:pt x="535880" y="1157882"/>
                      <a:pt x="543724" y="1165717"/>
                      <a:pt x="543724" y="1175510"/>
                    </a:cubicBezTo>
                    <a:lnTo>
                      <a:pt x="543724" y="1236879"/>
                    </a:lnTo>
                    <a:cubicBezTo>
                      <a:pt x="543724" y="1246672"/>
                      <a:pt x="535880" y="1255159"/>
                      <a:pt x="526075" y="1255159"/>
                    </a:cubicBezTo>
                    <a:lnTo>
                      <a:pt x="469858" y="1255159"/>
                    </a:lnTo>
                    <a:cubicBezTo>
                      <a:pt x="460052" y="1255159"/>
                      <a:pt x="452208" y="1246672"/>
                      <a:pt x="452208" y="1236879"/>
                    </a:cubicBezTo>
                    <a:lnTo>
                      <a:pt x="452208" y="1175510"/>
                    </a:lnTo>
                    <a:cubicBezTo>
                      <a:pt x="452208" y="1165717"/>
                      <a:pt x="460052" y="1157882"/>
                      <a:pt x="469858" y="1157882"/>
                    </a:cubicBezTo>
                    <a:close/>
                    <a:moveTo>
                      <a:pt x="17703" y="1157882"/>
                    </a:moveTo>
                    <a:lnTo>
                      <a:pt x="304235" y="1157882"/>
                    </a:lnTo>
                    <a:cubicBezTo>
                      <a:pt x="314070" y="1157882"/>
                      <a:pt x="321938" y="1165717"/>
                      <a:pt x="321938" y="1175510"/>
                    </a:cubicBezTo>
                    <a:lnTo>
                      <a:pt x="321938" y="1236879"/>
                    </a:lnTo>
                    <a:cubicBezTo>
                      <a:pt x="321938" y="1246672"/>
                      <a:pt x="314070" y="1255159"/>
                      <a:pt x="304235" y="1255159"/>
                    </a:cubicBezTo>
                    <a:lnTo>
                      <a:pt x="17703" y="1255159"/>
                    </a:lnTo>
                    <a:cubicBezTo>
                      <a:pt x="7868" y="1255159"/>
                      <a:pt x="0" y="1246672"/>
                      <a:pt x="0" y="1236879"/>
                    </a:cubicBezTo>
                    <a:lnTo>
                      <a:pt x="0" y="1175510"/>
                    </a:lnTo>
                    <a:cubicBezTo>
                      <a:pt x="0" y="1165717"/>
                      <a:pt x="7868" y="1157882"/>
                      <a:pt x="17703" y="1157882"/>
                    </a:cubicBezTo>
                    <a:close/>
                    <a:moveTo>
                      <a:pt x="469858" y="927457"/>
                    </a:moveTo>
                    <a:lnTo>
                      <a:pt x="526075" y="927457"/>
                    </a:lnTo>
                    <a:cubicBezTo>
                      <a:pt x="535880" y="927457"/>
                      <a:pt x="543724" y="935344"/>
                      <a:pt x="543724" y="945202"/>
                    </a:cubicBezTo>
                    <a:lnTo>
                      <a:pt x="543724" y="1007641"/>
                    </a:lnTo>
                    <a:cubicBezTo>
                      <a:pt x="543724" y="1016843"/>
                      <a:pt x="535880" y="1024730"/>
                      <a:pt x="526075" y="1024730"/>
                    </a:cubicBezTo>
                    <a:lnTo>
                      <a:pt x="469858" y="1024730"/>
                    </a:lnTo>
                    <a:cubicBezTo>
                      <a:pt x="460052" y="1024730"/>
                      <a:pt x="452208" y="1016843"/>
                      <a:pt x="452208" y="1007641"/>
                    </a:cubicBezTo>
                    <a:lnTo>
                      <a:pt x="452208" y="945202"/>
                    </a:lnTo>
                    <a:cubicBezTo>
                      <a:pt x="452208" y="935344"/>
                      <a:pt x="460052" y="927457"/>
                      <a:pt x="469858" y="927457"/>
                    </a:cubicBezTo>
                    <a:close/>
                    <a:moveTo>
                      <a:pt x="17703" y="927457"/>
                    </a:moveTo>
                    <a:lnTo>
                      <a:pt x="304235" y="927457"/>
                    </a:lnTo>
                    <a:cubicBezTo>
                      <a:pt x="314070" y="927457"/>
                      <a:pt x="321938" y="935344"/>
                      <a:pt x="321938" y="945202"/>
                    </a:cubicBezTo>
                    <a:lnTo>
                      <a:pt x="321938" y="1007641"/>
                    </a:lnTo>
                    <a:cubicBezTo>
                      <a:pt x="321938" y="1016843"/>
                      <a:pt x="314070" y="1024730"/>
                      <a:pt x="304235" y="1024730"/>
                    </a:cubicBezTo>
                    <a:lnTo>
                      <a:pt x="17703" y="1024730"/>
                    </a:lnTo>
                    <a:cubicBezTo>
                      <a:pt x="7868" y="1024730"/>
                      <a:pt x="0" y="1016843"/>
                      <a:pt x="0" y="1007641"/>
                    </a:cubicBezTo>
                    <a:lnTo>
                      <a:pt x="0" y="945202"/>
                    </a:lnTo>
                    <a:cubicBezTo>
                      <a:pt x="0" y="935344"/>
                      <a:pt x="7868" y="927457"/>
                      <a:pt x="17703" y="927457"/>
                    </a:cubicBezTo>
                    <a:close/>
                    <a:moveTo>
                      <a:pt x="469858" y="694152"/>
                    </a:moveTo>
                    <a:lnTo>
                      <a:pt x="526075" y="694152"/>
                    </a:lnTo>
                    <a:cubicBezTo>
                      <a:pt x="535880" y="694152"/>
                      <a:pt x="543724" y="702039"/>
                      <a:pt x="543724" y="711897"/>
                    </a:cubicBezTo>
                    <a:lnTo>
                      <a:pt x="543724" y="773679"/>
                    </a:lnTo>
                    <a:cubicBezTo>
                      <a:pt x="543724" y="783538"/>
                      <a:pt x="535880" y="791425"/>
                      <a:pt x="526075" y="791425"/>
                    </a:cubicBezTo>
                    <a:lnTo>
                      <a:pt x="469858" y="791425"/>
                    </a:lnTo>
                    <a:cubicBezTo>
                      <a:pt x="460052" y="791425"/>
                      <a:pt x="452208" y="783538"/>
                      <a:pt x="452208" y="773679"/>
                    </a:cubicBezTo>
                    <a:lnTo>
                      <a:pt x="452208" y="711897"/>
                    </a:lnTo>
                    <a:cubicBezTo>
                      <a:pt x="452208" y="702039"/>
                      <a:pt x="460052" y="694152"/>
                      <a:pt x="469858" y="694152"/>
                    </a:cubicBezTo>
                    <a:close/>
                    <a:moveTo>
                      <a:pt x="17703" y="694152"/>
                    </a:moveTo>
                    <a:lnTo>
                      <a:pt x="304235" y="694152"/>
                    </a:lnTo>
                    <a:cubicBezTo>
                      <a:pt x="314070" y="694152"/>
                      <a:pt x="321938" y="702039"/>
                      <a:pt x="321938" y="711897"/>
                    </a:cubicBezTo>
                    <a:lnTo>
                      <a:pt x="321938" y="773679"/>
                    </a:lnTo>
                    <a:cubicBezTo>
                      <a:pt x="321938" y="783538"/>
                      <a:pt x="314070" y="791425"/>
                      <a:pt x="304235" y="791425"/>
                    </a:cubicBezTo>
                    <a:lnTo>
                      <a:pt x="17703" y="791425"/>
                    </a:lnTo>
                    <a:cubicBezTo>
                      <a:pt x="7868" y="791425"/>
                      <a:pt x="0" y="783538"/>
                      <a:pt x="0" y="773679"/>
                    </a:cubicBezTo>
                    <a:lnTo>
                      <a:pt x="0" y="711897"/>
                    </a:lnTo>
                    <a:cubicBezTo>
                      <a:pt x="0" y="702039"/>
                      <a:pt x="7868" y="694152"/>
                      <a:pt x="17703" y="694152"/>
                    </a:cubicBezTo>
                    <a:close/>
                    <a:moveTo>
                      <a:pt x="469858" y="463728"/>
                    </a:moveTo>
                    <a:lnTo>
                      <a:pt x="526075" y="463728"/>
                    </a:lnTo>
                    <a:cubicBezTo>
                      <a:pt x="535880" y="463728"/>
                      <a:pt x="543724" y="471615"/>
                      <a:pt x="543724" y="481473"/>
                    </a:cubicBezTo>
                    <a:lnTo>
                      <a:pt x="543724" y="543255"/>
                    </a:lnTo>
                    <a:cubicBezTo>
                      <a:pt x="543724" y="553114"/>
                      <a:pt x="535880" y="561001"/>
                      <a:pt x="526075" y="561001"/>
                    </a:cubicBezTo>
                    <a:lnTo>
                      <a:pt x="469858" y="561001"/>
                    </a:lnTo>
                    <a:cubicBezTo>
                      <a:pt x="460052" y="561001"/>
                      <a:pt x="452208" y="553114"/>
                      <a:pt x="452208" y="543255"/>
                    </a:cubicBezTo>
                    <a:lnTo>
                      <a:pt x="452208" y="481473"/>
                    </a:lnTo>
                    <a:cubicBezTo>
                      <a:pt x="452208" y="471615"/>
                      <a:pt x="460052" y="463728"/>
                      <a:pt x="469858" y="463728"/>
                    </a:cubicBezTo>
                    <a:close/>
                    <a:moveTo>
                      <a:pt x="17703" y="463728"/>
                    </a:moveTo>
                    <a:lnTo>
                      <a:pt x="304235" y="463728"/>
                    </a:lnTo>
                    <a:cubicBezTo>
                      <a:pt x="314070" y="463728"/>
                      <a:pt x="321938" y="471615"/>
                      <a:pt x="321938" y="481473"/>
                    </a:cubicBezTo>
                    <a:lnTo>
                      <a:pt x="321938" y="543255"/>
                    </a:lnTo>
                    <a:cubicBezTo>
                      <a:pt x="321938" y="553114"/>
                      <a:pt x="314070" y="561001"/>
                      <a:pt x="304235" y="561001"/>
                    </a:cubicBezTo>
                    <a:lnTo>
                      <a:pt x="17703" y="561001"/>
                    </a:lnTo>
                    <a:cubicBezTo>
                      <a:pt x="7868" y="561001"/>
                      <a:pt x="0" y="553114"/>
                      <a:pt x="0" y="543255"/>
                    </a:cubicBezTo>
                    <a:lnTo>
                      <a:pt x="0" y="481473"/>
                    </a:lnTo>
                    <a:cubicBezTo>
                      <a:pt x="0" y="471615"/>
                      <a:pt x="7868" y="463728"/>
                      <a:pt x="17703" y="463728"/>
                    </a:cubicBezTo>
                    <a:close/>
                    <a:moveTo>
                      <a:pt x="469858" y="230424"/>
                    </a:moveTo>
                    <a:lnTo>
                      <a:pt x="526075" y="230424"/>
                    </a:lnTo>
                    <a:cubicBezTo>
                      <a:pt x="535880" y="230424"/>
                      <a:pt x="543724" y="238311"/>
                      <a:pt x="543724" y="248169"/>
                    </a:cubicBezTo>
                    <a:lnTo>
                      <a:pt x="543724" y="309951"/>
                    </a:lnTo>
                    <a:cubicBezTo>
                      <a:pt x="543724" y="319810"/>
                      <a:pt x="535880" y="327697"/>
                      <a:pt x="526075" y="327697"/>
                    </a:cubicBezTo>
                    <a:lnTo>
                      <a:pt x="469858" y="327697"/>
                    </a:lnTo>
                    <a:cubicBezTo>
                      <a:pt x="460052" y="327697"/>
                      <a:pt x="452208" y="319810"/>
                      <a:pt x="452208" y="309951"/>
                    </a:cubicBezTo>
                    <a:lnTo>
                      <a:pt x="452208" y="248169"/>
                    </a:lnTo>
                    <a:cubicBezTo>
                      <a:pt x="452208" y="238311"/>
                      <a:pt x="460052" y="230424"/>
                      <a:pt x="469858" y="230424"/>
                    </a:cubicBezTo>
                    <a:close/>
                    <a:moveTo>
                      <a:pt x="17703" y="230424"/>
                    </a:moveTo>
                    <a:lnTo>
                      <a:pt x="304235" y="230424"/>
                    </a:lnTo>
                    <a:cubicBezTo>
                      <a:pt x="314070" y="230424"/>
                      <a:pt x="321938" y="238311"/>
                      <a:pt x="321938" y="248169"/>
                    </a:cubicBezTo>
                    <a:lnTo>
                      <a:pt x="321938" y="309951"/>
                    </a:lnTo>
                    <a:cubicBezTo>
                      <a:pt x="321938" y="319810"/>
                      <a:pt x="314070" y="327697"/>
                      <a:pt x="304235" y="327697"/>
                    </a:cubicBezTo>
                    <a:lnTo>
                      <a:pt x="17703" y="327697"/>
                    </a:lnTo>
                    <a:cubicBezTo>
                      <a:pt x="7868" y="327697"/>
                      <a:pt x="0" y="319810"/>
                      <a:pt x="0" y="309951"/>
                    </a:cubicBezTo>
                    <a:lnTo>
                      <a:pt x="0" y="248169"/>
                    </a:lnTo>
                    <a:cubicBezTo>
                      <a:pt x="0" y="238311"/>
                      <a:pt x="7868" y="230424"/>
                      <a:pt x="17703" y="230424"/>
                    </a:cubicBezTo>
                    <a:close/>
                    <a:moveTo>
                      <a:pt x="469858" y="0"/>
                    </a:moveTo>
                    <a:lnTo>
                      <a:pt x="526075" y="0"/>
                    </a:lnTo>
                    <a:cubicBezTo>
                      <a:pt x="535880" y="0"/>
                      <a:pt x="543724" y="7887"/>
                      <a:pt x="543724" y="17088"/>
                    </a:cubicBezTo>
                    <a:lnTo>
                      <a:pt x="543724" y="79527"/>
                    </a:lnTo>
                    <a:cubicBezTo>
                      <a:pt x="543724" y="89386"/>
                      <a:pt x="535880" y="97273"/>
                      <a:pt x="526075" y="97273"/>
                    </a:cubicBezTo>
                    <a:lnTo>
                      <a:pt x="469858" y="97273"/>
                    </a:lnTo>
                    <a:cubicBezTo>
                      <a:pt x="460052" y="97273"/>
                      <a:pt x="452208" y="89386"/>
                      <a:pt x="452208" y="79527"/>
                    </a:cubicBezTo>
                    <a:lnTo>
                      <a:pt x="452208" y="17088"/>
                    </a:lnTo>
                    <a:cubicBezTo>
                      <a:pt x="452208" y="7887"/>
                      <a:pt x="460052" y="0"/>
                      <a:pt x="469858" y="0"/>
                    </a:cubicBezTo>
                    <a:close/>
                    <a:moveTo>
                      <a:pt x="17703" y="0"/>
                    </a:moveTo>
                    <a:lnTo>
                      <a:pt x="304235" y="0"/>
                    </a:lnTo>
                    <a:cubicBezTo>
                      <a:pt x="314070" y="0"/>
                      <a:pt x="321938" y="7887"/>
                      <a:pt x="321938" y="17088"/>
                    </a:cubicBezTo>
                    <a:lnTo>
                      <a:pt x="321938" y="79527"/>
                    </a:lnTo>
                    <a:cubicBezTo>
                      <a:pt x="321938" y="89386"/>
                      <a:pt x="314070" y="97273"/>
                      <a:pt x="304235" y="97273"/>
                    </a:cubicBezTo>
                    <a:lnTo>
                      <a:pt x="17703" y="97273"/>
                    </a:lnTo>
                    <a:cubicBezTo>
                      <a:pt x="7868" y="97273"/>
                      <a:pt x="0" y="89386"/>
                      <a:pt x="0" y="79527"/>
                    </a:cubicBezTo>
                    <a:lnTo>
                      <a:pt x="0" y="17088"/>
                    </a:lnTo>
                    <a:cubicBezTo>
                      <a:pt x="0" y="7887"/>
                      <a:pt x="7868" y="0"/>
                      <a:pt x="17703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4" name="Freeform 92">
                <a:extLst>
                  <a:ext uri="{FF2B5EF4-FFF2-40B4-BE49-F238E27FC236}">
                    <a16:creationId xmlns:a16="http://schemas.microsoft.com/office/drawing/2014/main" id="{45705AAA-B72D-3A4C-A9C5-93AC06758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0006" y="3519106"/>
                <a:ext cx="954478" cy="658154"/>
              </a:xfrm>
              <a:custGeom>
                <a:avLst/>
                <a:gdLst>
                  <a:gd name="T0" fmla="*/ 1325 w 1350"/>
                  <a:gd name="T1" fmla="*/ 929 h 930"/>
                  <a:gd name="T2" fmla="*/ 442 w 1350"/>
                  <a:gd name="T3" fmla="*/ 47 h 930"/>
                  <a:gd name="T4" fmla="*/ 23 w 1350"/>
                  <a:gd name="T5" fmla="*/ 465 h 930"/>
                  <a:gd name="T6" fmla="*/ 0 w 1350"/>
                  <a:gd name="T7" fmla="*/ 443 h 930"/>
                  <a:gd name="T8" fmla="*/ 442 w 1350"/>
                  <a:gd name="T9" fmla="*/ 0 h 930"/>
                  <a:gd name="T10" fmla="*/ 1349 w 1350"/>
                  <a:gd name="T11" fmla="*/ 906 h 930"/>
                  <a:gd name="T12" fmla="*/ 1325 w 1350"/>
                  <a:gd name="T13" fmla="*/ 929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0" h="930">
                    <a:moveTo>
                      <a:pt x="1325" y="929"/>
                    </a:moveTo>
                    <a:lnTo>
                      <a:pt x="442" y="47"/>
                    </a:lnTo>
                    <a:lnTo>
                      <a:pt x="23" y="465"/>
                    </a:lnTo>
                    <a:lnTo>
                      <a:pt x="0" y="443"/>
                    </a:lnTo>
                    <a:lnTo>
                      <a:pt x="442" y="0"/>
                    </a:lnTo>
                    <a:lnTo>
                      <a:pt x="1349" y="906"/>
                    </a:lnTo>
                    <a:lnTo>
                      <a:pt x="1325" y="929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3AD70331-C483-DA4A-9A7A-F9B0B4446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22274" y="9885408"/>
                <a:ext cx="760379" cy="485963"/>
              </a:xfrm>
              <a:custGeom>
                <a:avLst/>
                <a:gdLst>
                  <a:gd name="connsiteX0" fmla="*/ 702140 w 702140"/>
                  <a:gd name="connsiteY0" fmla="*/ 339876 h 448742"/>
                  <a:gd name="connsiteX1" fmla="*/ 702140 w 702140"/>
                  <a:gd name="connsiteY1" fmla="*/ 426992 h 448742"/>
                  <a:gd name="connsiteX2" fmla="*/ 585508 w 702140"/>
                  <a:gd name="connsiteY2" fmla="*/ 446351 h 448742"/>
                  <a:gd name="connsiteX3" fmla="*/ 564540 w 702140"/>
                  <a:gd name="connsiteY3" fmla="*/ 363752 h 448742"/>
                  <a:gd name="connsiteX4" fmla="*/ 702140 w 702140"/>
                  <a:gd name="connsiteY4" fmla="*/ 339876 h 448742"/>
                  <a:gd name="connsiteX5" fmla="*/ 137603 w 702140"/>
                  <a:gd name="connsiteY5" fmla="*/ 0 h 448742"/>
                  <a:gd name="connsiteX6" fmla="*/ 137603 w 702140"/>
                  <a:gd name="connsiteY6" fmla="*/ 88407 h 448742"/>
                  <a:gd name="connsiteX7" fmla="*/ 21521 w 702140"/>
                  <a:gd name="connsiteY7" fmla="*/ 107121 h 448742"/>
                  <a:gd name="connsiteX8" fmla="*/ 0 w 702140"/>
                  <a:gd name="connsiteY8" fmla="*/ 24522 h 448742"/>
                  <a:gd name="connsiteX9" fmla="*/ 137603 w 702140"/>
                  <a:gd name="connsiteY9" fmla="*/ 0 h 448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140" h="448742">
                    <a:moveTo>
                      <a:pt x="702140" y="339876"/>
                    </a:moveTo>
                    <a:lnTo>
                      <a:pt x="702140" y="426992"/>
                    </a:lnTo>
                    <a:cubicBezTo>
                      <a:pt x="702140" y="426992"/>
                      <a:pt x="587473" y="457322"/>
                      <a:pt x="585508" y="446351"/>
                    </a:cubicBezTo>
                    <a:cubicBezTo>
                      <a:pt x="582887" y="435381"/>
                      <a:pt x="564540" y="363752"/>
                      <a:pt x="564540" y="363752"/>
                    </a:cubicBezTo>
                    <a:cubicBezTo>
                      <a:pt x="577645" y="352137"/>
                      <a:pt x="702140" y="339876"/>
                      <a:pt x="702140" y="339876"/>
                    </a:cubicBezTo>
                    <a:close/>
                    <a:moveTo>
                      <a:pt x="137603" y="0"/>
                    </a:moveTo>
                    <a:lnTo>
                      <a:pt x="137603" y="88407"/>
                    </a:lnTo>
                    <a:cubicBezTo>
                      <a:pt x="137603" y="88407"/>
                      <a:pt x="23477" y="117446"/>
                      <a:pt x="21521" y="107121"/>
                    </a:cubicBezTo>
                    <a:cubicBezTo>
                      <a:pt x="18260" y="96151"/>
                      <a:pt x="0" y="24522"/>
                      <a:pt x="0" y="24522"/>
                    </a:cubicBezTo>
                    <a:cubicBezTo>
                      <a:pt x="13695" y="12906"/>
                      <a:pt x="137603" y="0"/>
                      <a:pt x="13760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009FB8A4-B01B-0A46-9A42-36F15AB5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8158" y="7505451"/>
                <a:ext cx="1487156" cy="5448549"/>
              </a:xfrm>
              <a:custGeom>
                <a:avLst/>
                <a:gdLst>
                  <a:gd name="connsiteX0" fmla="*/ 1270375 w 1373252"/>
                  <a:gd name="connsiteY0" fmla="*/ 4427603 h 5031236"/>
                  <a:gd name="connsiteX1" fmla="*/ 481529 w 1373252"/>
                  <a:gd name="connsiteY1" fmla="*/ 4504600 h 5031236"/>
                  <a:gd name="connsiteX2" fmla="*/ 514488 w 1373252"/>
                  <a:gd name="connsiteY2" fmla="*/ 4843738 h 5031236"/>
                  <a:gd name="connsiteX3" fmla="*/ 1303288 w 1373252"/>
                  <a:gd name="connsiteY3" fmla="*/ 4766685 h 5031236"/>
                  <a:gd name="connsiteX4" fmla="*/ 1232458 w 1373252"/>
                  <a:gd name="connsiteY4" fmla="*/ 4036974 h 5031236"/>
                  <a:gd name="connsiteX5" fmla="*/ 443449 w 1373252"/>
                  <a:gd name="connsiteY5" fmla="*/ 4112775 h 5031236"/>
                  <a:gd name="connsiteX6" fmla="*/ 476425 w 1373252"/>
                  <a:gd name="connsiteY6" fmla="*/ 4452079 h 5031236"/>
                  <a:gd name="connsiteX7" fmla="*/ 1265277 w 1373252"/>
                  <a:gd name="connsiteY7" fmla="*/ 4375080 h 5031236"/>
                  <a:gd name="connsiteX8" fmla="*/ 1194529 w 1373252"/>
                  <a:gd name="connsiteY8" fmla="*/ 3646217 h 5031236"/>
                  <a:gd name="connsiteX9" fmla="*/ 405656 w 1373252"/>
                  <a:gd name="connsiteY9" fmla="*/ 3723892 h 5031236"/>
                  <a:gd name="connsiteX10" fmla="*/ 438485 w 1373252"/>
                  <a:gd name="connsiteY10" fmla="*/ 4061691 h 5031236"/>
                  <a:gd name="connsiteX11" fmla="*/ 1227499 w 1373252"/>
                  <a:gd name="connsiteY11" fmla="*/ 3985890 h 5031236"/>
                  <a:gd name="connsiteX12" fmla="*/ 1156511 w 1373252"/>
                  <a:gd name="connsiteY12" fmla="*/ 3254553 h 5031236"/>
                  <a:gd name="connsiteX13" fmla="*/ 367593 w 1373252"/>
                  <a:gd name="connsiteY13" fmla="*/ 3332232 h 5031236"/>
                  <a:gd name="connsiteX14" fmla="*/ 400548 w 1373252"/>
                  <a:gd name="connsiteY14" fmla="*/ 3671330 h 5031236"/>
                  <a:gd name="connsiteX15" fmla="*/ 1189486 w 1373252"/>
                  <a:gd name="connsiteY15" fmla="*/ 3594265 h 5031236"/>
                  <a:gd name="connsiteX16" fmla="*/ 1118555 w 1373252"/>
                  <a:gd name="connsiteY16" fmla="*/ 2863516 h 5031236"/>
                  <a:gd name="connsiteX17" fmla="*/ 329525 w 1373252"/>
                  <a:gd name="connsiteY17" fmla="*/ 2940530 h 5031236"/>
                  <a:gd name="connsiteX18" fmla="*/ 362484 w 1373252"/>
                  <a:gd name="connsiteY18" fmla="*/ 3279667 h 5031236"/>
                  <a:gd name="connsiteX19" fmla="*/ 1151462 w 1373252"/>
                  <a:gd name="connsiteY19" fmla="*/ 3202538 h 5031236"/>
                  <a:gd name="connsiteX20" fmla="*/ 1080388 w 1373252"/>
                  <a:gd name="connsiteY20" fmla="*/ 2470310 h 5031236"/>
                  <a:gd name="connsiteX21" fmla="*/ 291190 w 1373252"/>
                  <a:gd name="connsiteY21" fmla="*/ 2546070 h 5031236"/>
                  <a:gd name="connsiteX22" fmla="*/ 324421 w 1373252"/>
                  <a:gd name="connsiteY22" fmla="*/ 2888009 h 5031236"/>
                  <a:gd name="connsiteX23" fmla="*/ 1113451 w 1373252"/>
                  <a:gd name="connsiteY23" fmla="*/ 2810935 h 5031236"/>
                  <a:gd name="connsiteX24" fmla="*/ 1042681 w 1373252"/>
                  <a:gd name="connsiteY24" fmla="*/ 2081843 h 5031236"/>
                  <a:gd name="connsiteX25" fmla="*/ 253379 w 1373252"/>
                  <a:gd name="connsiteY25" fmla="*/ 2157008 h 5031236"/>
                  <a:gd name="connsiteX26" fmla="*/ 286231 w 1373252"/>
                  <a:gd name="connsiteY26" fmla="*/ 2495046 h 5031236"/>
                  <a:gd name="connsiteX27" fmla="*/ 1075429 w 1373252"/>
                  <a:gd name="connsiteY27" fmla="*/ 2419228 h 5031236"/>
                  <a:gd name="connsiteX28" fmla="*/ 1004664 w 1373252"/>
                  <a:gd name="connsiteY28" fmla="*/ 1690181 h 5031236"/>
                  <a:gd name="connsiteX29" fmla="*/ 215327 w 1373252"/>
                  <a:gd name="connsiteY29" fmla="*/ 1765465 h 5031236"/>
                  <a:gd name="connsiteX30" fmla="*/ 248418 w 1373252"/>
                  <a:gd name="connsiteY30" fmla="*/ 2105963 h 5031236"/>
                  <a:gd name="connsiteX31" fmla="*/ 1037662 w 1373252"/>
                  <a:gd name="connsiteY31" fmla="*/ 2030139 h 5031236"/>
                  <a:gd name="connsiteX32" fmla="*/ 966585 w 1373252"/>
                  <a:gd name="connsiteY32" fmla="*/ 1297891 h 5031236"/>
                  <a:gd name="connsiteX33" fmla="*/ 177249 w 1373252"/>
                  <a:gd name="connsiteY33" fmla="*/ 1373664 h 5031236"/>
                  <a:gd name="connsiteX34" fmla="*/ 210354 w 1373252"/>
                  <a:gd name="connsiteY34" fmla="*/ 1714302 h 5031236"/>
                  <a:gd name="connsiteX35" fmla="*/ 999645 w 1373252"/>
                  <a:gd name="connsiteY35" fmla="*/ 1638474 h 5031236"/>
                  <a:gd name="connsiteX36" fmla="*/ 928718 w 1373252"/>
                  <a:gd name="connsiteY36" fmla="*/ 907772 h 5031236"/>
                  <a:gd name="connsiteX37" fmla="*/ 139470 w 1373252"/>
                  <a:gd name="connsiteY37" fmla="*/ 984929 h 5031236"/>
                  <a:gd name="connsiteX38" fmla="*/ 172230 w 1373252"/>
                  <a:gd name="connsiteY38" fmla="*/ 1322019 h 5031236"/>
                  <a:gd name="connsiteX39" fmla="*/ 961625 w 1373252"/>
                  <a:gd name="connsiteY39" fmla="*/ 1246788 h 5031236"/>
                  <a:gd name="connsiteX40" fmla="*/ 890827 w 1373252"/>
                  <a:gd name="connsiteY40" fmla="*/ 517413 h 5031236"/>
                  <a:gd name="connsiteX41" fmla="*/ 101400 w 1373252"/>
                  <a:gd name="connsiteY41" fmla="*/ 593196 h 5031236"/>
                  <a:gd name="connsiteX42" fmla="*/ 134415 w 1373252"/>
                  <a:gd name="connsiteY42" fmla="*/ 932914 h 5031236"/>
                  <a:gd name="connsiteX43" fmla="*/ 923616 w 1373252"/>
                  <a:gd name="connsiteY43" fmla="*/ 855206 h 5031236"/>
                  <a:gd name="connsiteX44" fmla="*/ 852870 w 1373252"/>
                  <a:gd name="connsiteY44" fmla="*/ 126368 h 5031236"/>
                  <a:gd name="connsiteX45" fmla="*/ 63344 w 1373252"/>
                  <a:gd name="connsiteY45" fmla="*/ 201612 h 5031236"/>
                  <a:gd name="connsiteX46" fmla="*/ 96441 w 1373252"/>
                  <a:gd name="connsiteY46" fmla="*/ 542172 h 5031236"/>
                  <a:gd name="connsiteX47" fmla="*/ 885869 w 1373252"/>
                  <a:gd name="connsiteY47" fmla="*/ 466330 h 5031236"/>
                  <a:gd name="connsiteX48" fmla="*/ 893161 w 1373252"/>
                  <a:gd name="connsiteY48" fmla="*/ 0 h 5031236"/>
                  <a:gd name="connsiteX49" fmla="*/ 1373252 w 1373252"/>
                  <a:gd name="connsiteY49" fmla="*/ 4945362 h 5031236"/>
                  <a:gd name="connsiteX50" fmla="*/ 1321139 w 1373252"/>
                  <a:gd name="connsiteY50" fmla="*/ 4950588 h 5031236"/>
                  <a:gd name="connsiteX51" fmla="*/ 1308392 w 1373252"/>
                  <a:gd name="connsiteY51" fmla="*/ 4819268 h 5031236"/>
                  <a:gd name="connsiteX52" fmla="*/ 519592 w 1373252"/>
                  <a:gd name="connsiteY52" fmla="*/ 4896261 h 5031236"/>
                  <a:gd name="connsiteX53" fmla="*/ 532202 w 1373252"/>
                  <a:gd name="connsiteY53" fmla="*/ 5026010 h 5031236"/>
                  <a:gd name="connsiteX54" fmla="*/ 479961 w 1373252"/>
                  <a:gd name="connsiteY54" fmla="*/ 5031236 h 5031236"/>
                  <a:gd name="connsiteX55" fmla="*/ 0 w 1373252"/>
                  <a:gd name="connsiteY55" fmla="*/ 85220 h 5031236"/>
                  <a:gd name="connsiteX56" fmla="*/ 51588 w 1373252"/>
                  <a:gd name="connsiteY56" fmla="*/ 80648 h 5031236"/>
                  <a:gd name="connsiteX57" fmla="*/ 58378 w 1373252"/>
                  <a:gd name="connsiteY57" fmla="*/ 150512 h 5031236"/>
                  <a:gd name="connsiteX58" fmla="*/ 847857 w 1373252"/>
                  <a:gd name="connsiteY58" fmla="*/ 74724 h 5031236"/>
                  <a:gd name="connsiteX59" fmla="*/ 841048 w 1373252"/>
                  <a:gd name="connsiteY59" fmla="*/ 4572 h 503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73252" h="5031236">
                    <a:moveTo>
                      <a:pt x="1270375" y="4427603"/>
                    </a:moveTo>
                    <a:lnTo>
                      <a:pt x="481529" y="4504600"/>
                    </a:lnTo>
                    <a:lnTo>
                      <a:pt x="514488" y="4843738"/>
                    </a:lnTo>
                    <a:lnTo>
                      <a:pt x="1303288" y="4766685"/>
                    </a:lnTo>
                    <a:close/>
                    <a:moveTo>
                      <a:pt x="1232458" y="4036974"/>
                    </a:moveTo>
                    <a:lnTo>
                      <a:pt x="443449" y="4112775"/>
                    </a:lnTo>
                    <a:lnTo>
                      <a:pt x="476425" y="4452079"/>
                    </a:lnTo>
                    <a:lnTo>
                      <a:pt x="1265277" y="4375080"/>
                    </a:lnTo>
                    <a:close/>
                    <a:moveTo>
                      <a:pt x="1194529" y="3646217"/>
                    </a:moveTo>
                    <a:lnTo>
                      <a:pt x="405656" y="3723892"/>
                    </a:lnTo>
                    <a:lnTo>
                      <a:pt x="438485" y="4061691"/>
                    </a:lnTo>
                    <a:lnTo>
                      <a:pt x="1227499" y="3985890"/>
                    </a:lnTo>
                    <a:close/>
                    <a:moveTo>
                      <a:pt x="1156511" y="3254553"/>
                    </a:moveTo>
                    <a:lnTo>
                      <a:pt x="367593" y="3332232"/>
                    </a:lnTo>
                    <a:lnTo>
                      <a:pt x="400548" y="3671330"/>
                    </a:lnTo>
                    <a:lnTo>
                      <a:pt x="1189486" y="3594265"/>
                    </a:lnTo>
                    <a:close/>
                    <a:moveTo>
                      <a:pt x="1118555" y="2863516"/>
                    </a:moveTo>
                    <a:lnTo>
                      <a:pt x="329525" y="2940530"/>
                    </a:lnTo>
                    <a:lnTo>
                      <a:pt x="362484" y="3279667"/>
                    </a:lnTo>
                    <a:lnTo>
                      <a:pt x="1151462" y="3202538"/>
                    </a:lnTo>
                    <a:close/>
                    <a:moveTo>
                      <a:pt x="1080388" y="2470310"/>
                    </a:moveTo>
                    <a:lnTo>
                      <a:pt x="291190" y="2546070"/>
                    </a:lnTo>
                    <a:lnTo>
                      <a:pt x="324421" y="2888009"/>
                    </a:lnTo>
                    <a:lnTo>
                      <a:pt x="1113451" y="2810935"/>
                    </a:lnTo>
                    <a:close/>
                    <a:moveTo>
                      <a:pt x="1042681" y="2081843"/>
                    </a:moveTo>
                    <a:lnTo>
                      <a:pt x="253379" y="2157008"/>
                    </a:lnTo>
                    <a:lnTo>
                      <a:pt x="286231" y="2495046"/>
                    </a:lnTo>
                    <a:lnTo>
                      <a:pt x="1075429" y="2419228"/>
                    </a:lnTo>
                    <a:close/>
                    <a:moveTo>
                      <a:pt x="1004664" y="1690181"/>
                    </a:moveTo>
                    <a:lnTo>
                      <a:pt x="215327" y="1765465"/>
                    </a:lnTo>
                    <a:lnTo>
                      <a:pt x="248418" y="2105963"/>
                    </a:lnTo>
                    <a:lnTo>
                      <a:pt x="1037662" y="2030139"/>
                    </a:lnTo>
                    <a:close/>
                    <a:moveTo>
                      <a:pt x="966585" y="1297891"/>
                    </a:moveTo>
                    <a:lnTo>
                      <a:pt x="177249" y="1373664"/>
                    </a:lnTo>
                    <a:lnTo>
                      <a:pt x="210354" y="1714302"/>
                    </a:lnTo>
                    <a:lnTo>
                      <a:pt x="999645" y="1638474"/>
                    </a:lnTo>
                    <a:close/>
                    <a:moveTo>
                      <a:pt x="928718" y="907772"/>
                    </a:moveTo>
                    <a:lnTo>
                      <a:pt x="139470" y="984929"/>
                    </a:lnTo>
                    <a:lnTo>
                      <a:pt x="172230" y="1322019"/>
                    </a:lnTo>
                    <a:lnTo>
                      <a:pt x="961625" y="1246788"/>
                    </a:lnTo>
                    <a:close/>
                    <a:moveTo>
                      <a:pt x="890827" y="517413"/>
                    </a:moveTo>
                    <a:lnTo>
                      <a:pt x="101400" y="593196"/>
                    </a:lnTo>
                    <a:lnTo>
                      <a:pt x="134415" y="932914"/>
                    </a:lnTo>
                    <a:lnTo>
                      <a:pt x="923616" y="855206"/>
                    </a:lnTo>
                    <a:close/>
                    <a:moveTo>
                      <a:pt x="852870" y="126368"/>
                    </a:moveTo>
                    <a:lnTo>
                      <a:pt x="63344" y="201612"/>
                    </a:lnTo>
                    <a:lnTo>
                      <a:pt x="96441" y="542172"/>
                    </a:lnTo>
                    <a:lnTo>
                      <a:pt x="885869" y="466330"/>
                    </a:lnTo>
                    <a:close/>
                    <a:moveTo>
                      <a:pt x="893161" y="0"/>
                    </a:moveTo>
                    <a:lnTo>
                      <a:pt x="1373252" y="4945362"/>
                    </a:lnTo>
                    <a:lnTo>
                      <a:pt x="1321139" y="4950588"/>
                    </a:lnTo>
                    <a:lnTo>
                      <a:pt x="1308392" y="4819268"/>
                    </a:lnTo>
                    <a:lnTo>
                      <a:pt x="519592" y="4896261"/>
                    </a:lnTo>
                    <a:lnTo>
                      <a:pt x="532202" y="5026010"/>
                    </a:lnTo>
                    <a:lnTo>
                      <a:pt x="479961" y="5031236"/>
                    </a:lnTo>
                    <a:lnTo>
                      <a:pt x="0" y="85220"/>
                    </a:lnTo>
                    <a:lnTo>
                      <a:pt x="51588" y="80648"/>
                    </a:lnTo>
                    <a:lnTo>
                      <a:pt x="58378" y="150512"/>
                    </a:lnTo>
                    <a:lnTo>
                      <a:pt x="847857" y="74724"/>
                    </a:lnTo>
                    <a:lnTo>
                      <a:pt x="841048" y="4572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7" name="Freeform 110">
                <a:extLst>
                  <a:ext uri="{FF2B5EF4-FFF2-40B4-BE49-F238E27FC236}">
                    <a16:creationId xmlns:a16="http://schemas.microsoft.com/office/drawing/2014/main" id="{566155C0-AD1A-D94C-9606-56E9CFC4D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8905" y="6697578"/>
                <a:ext cx="258895" cy="233940"/>
              </a:xfrm>
              <a:custGeom>
                <a:avLst/>
                <a:gdLst>
                  <a:gd name="T0" fmla="*/ 10 w 366"/>
                  <a:gd name="T1" fmla="*/ 213 h 332"/>
                  <a:gd name="T2" fmla="*/ 10 w 366"/>
                  <a:gd name="T3" fmla="*/ 213 h 332"/>
                  <a:gd name="T4" fmla="*/ 38 w 366"/>
                  <a:gd name="T5" fmla="*/ 238 h 332"/>
                  <a:gd name="T6" fmla="*/ 38 w 366"/>
                  <a:gd name="T7" fmla="*/ 238 h 332"/>
                  <a:gd name="T8" fmla="*/ 74 w 366"/>
                  <a:gd name="T9" fmla="*/ 253 h 332"/>
                  <a:gd name="T10" fmla="*/ 74 w 366"/>
                  <a:gd name="T11" fmla="*/ 253 h 332"/>
                  <a:gd name="T12" fmla="*/ 86 w 366"/>
                  <a:gd name="T13" fmla="*/ 259 h 332"/>
                  <a:gd name="T14" fmla="*/ 86 w 366"/>
                  <a:gd name="T15" fmla="*/ 259 h 332"/>
                  <a:gd name="T16" fmla="*/ 148 w 366"/>
                  <a:gd name="T17" fmla="*/ 292 h 332"/>
                  <a:gd name="T18" fmla="*/ 148 w 366"/>
                  <a:gd name="T19" fmla="*/ 292 h 332"/>
                  <a:gd name="T20" fmla="*/ 312 w 366"/>
                  <a:gd name="T21" fmla="*/ 331 h 332"/>
                  <a:gd name="T22" fmla="*/ 343 w 366"/>
                  <a:gd name="T23" fmla="*/ 251 h 332"/>
                  <a:gd name="T24" fmla="*/ 365 w 366"/>
                  <a:gd name="T25" fmla="*/ 187 h 332"/>
                  <a:gd name="T26" fmla="*/ 365 w 366"/>
                  <a:gd name="T27" fmla="*/ 187 h 332"/>
                  <a:gd name="T28" fmla="*/ 214 w 366"/>
                  <a:gd name="T29" fmla="*/ 14 h 332"/>
                  <a:gd name="T30" fmla="*/ 214 w 366"/>
                  <a:gd name="T31" fmla="*/ 14 h 332"/>
                  <a:gd name="T32" fmla="*/ 206 w 366"/>
                  <a:gd name="T33" fmla="*/ 11 h 332"/>
                  <a:gd name="T34" fmla="*/ 206 w 366"/>
                  <a:gd name="T35" fmla="*/ 11 h 332"/>
                  <a:gd name="T36" fmla="*/ 149 w 366"/>
                  <a:gd name="T37" fmla="*/ 6 h 332"/>
                  <a:gd name="T38" fmla="*/ 149 w 366"/>
                  <a:gd name="T39" fmla="*/ 6 h 332"/>
                  <a:gd name="T40" fmla="*/ 87 w 366"/>
                  <a:gd name="T41" fmla="*/ 9 h 332"/>
                  <a:gd name="T42" fmla="*/ 87 w 366"/>
                  <a:gd name="T43" fmla="*/ 9 h 332"/>
                  <a:gd name="T44" fmla="*/ 71 w 366"/>
                  <a:gd name="T45" fmla="*/ 52 h 332"/>
                  <a:gd name="T46" fmla="*/ 71 w 366"/>
                  <a:gd name="T47" fmla="*/ 52 h 332"/>
                  <a:gd name="T48" fmla="*/ 42 w 366"/>
                  <a:gd name="T49" fmla="*/ 106 h 332"/>
                  <a:gd name="T50" fmla="*/ 42 w 366"/>
                  <a:gd name="T51" fmla="*/ 106 h 332"/>
                  <a:gd name="T52" fmla="*/ 23 w 366"/>
                  <a:gd name="T53" fmla="*/ 164 h 332"/>
                  <a:gd name="T54" fmla="*/ 23 w 366"/>
                  <a:gd name="T55" fmla="*/ 164 h 332"/>
                  <a:gd name="T56" fmla="*/ 10 w 366"/>
                  <a:gd name="T57" fmla="*/ 2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6" h="332">
                    <a:moveTo>
                      <a:pt x="10" y="213"/>
                    </a:moveTo>
                    <a:lnTo>
                      <a:pt x="10" y="213"/>
                    </a:lnTo>
                    <a:cubicBezTo>
                      <a:pt x="10" y="213"/>
                      <a:pt x="26" y="233"/>
                      <a:pt x="38" y="238"/>
                    </a:cubicBezTo>
                    <a:lnTo>
                      <a:pt x="38" y="238"/>
                    </a:lnTo>
                    <a:cubicBezTo>
                      <a:pt x="38" y="238"/>
                      <a:pt x="59" y="247"/>
                      <a:pt x="74" y="253"/>
                    </a:cubicBezTo>
                    <a:lnTo>
                      <a:pt x="74" y="253"/>
                    </a:lnTo>
                    <a:cubicBezTo>
                      <a:pt x="79" y="255"/>
                      <a:pt x="84" y="258"/>
                      <a:pt x="86" y="259"/>
                    </a:cubicBezTo>
                    <a:lnTo>
                      <a:pt x="86" y="259"/>
                    </a:lnTo>
                    <a:cubicBezTo>
                      <a:pt x="97" y="265"/>
                      <a:pt x="118" y="283"/>
                      <a:pt x="148" y="292"/>
                    </a:cubicBezTo>
                    <a:lnTo>
                      <a:pt x="148" y="292"/>
                    </a:lnTo>
                    <a:cubicBezTo>
                      <a:pt x="177" y="300"/>
                      <a:pt x="312" y="331"/>
                      <a:pt x="312" y="331"/>
                    </a:cubicBezTo>
                    <a:lnTo>
                      <a:pt x="343" y="251"/>
                    </a:lnTo>
                    <a:lnTo>
                      <a:pt x="365" y="187"/>
                    </a:lnTo>
                    <a:lnTo>
                      <a:pt x="365" y="187"/>
                    </a:lnTo>
                    <a:cubicBezTo>
                      <a:pt x="365" y="187"/>
                      <a:pt x="241" y="25"/>
                      <a:pt x="214" y="14"/>
                    </a:cubicBezTo>
                    <a:lnTo>
                      <a:pt x="214" y="14"/>
                    </a:lnTo>
                    <a:cubicBezTo>
                      <a:pt x="212" y="13"/>
                      <a:pt x="209" y="12"/>
                      <a:pt x="206" y="11"/>
                    </a:cubicBezTo>
                    <a:lnTo>
                      <a:pt x="206" y="11"/>
                    </a:lnTo>
                    <a:cubicBezTo>
                      <a:pt x="183" y="4"/>
                      <a:pt x="162" y="8"/>
                      <a:pt x="149" y="6"/>
                    </a:cubicBezTo>
                    <a:lnTo>
                      <a:pt x="149" y="6"/>
                    </a:lnTo>
                    <a:cubicBezTo>
                      <a:pt x="145" y="5"/>
                      <a:pt x="97" y="0"/>
                      <a:pt x="87" y="9"/>
                    </a:cubicBezTo>
                    <a:lnTo>
                      <a:pt x="87" y="9"/>
                    </a:lnTo>
                    <a:cubicBezTo>
                      <a:pt x="72" y="23"/>
                      <a:pt x="68" y="39"/>
                      <a:pt x="71" y="52"/>
                    </a:cubicBezTo>
                    <a:lnTo>
                      <a:pt x="71" y="52"/>
                    </a:lnTo>
                    <a:cubicBezTo>
                      <a:pt x="71" y="52"/>
                      <a:pt x="44" y="81"/>
                      <a:pt x="42" y="106"/>
                    </a:cubicBezTo>
                    <a:lnTo>
                      <a:pt x="42" y="106"/>
                    </a:lnTo>
                    <a:cubicBezTo>
                      <a:pt x="42" y="106"/>
                      <a:pt x="17" y="132"/>
                      <a:pt x="23" y="164"/>
                    </a:cubicBezTo>
                    <a:lnTo>
                      <a:pt x="23" y="164"/>
                    </a:lnTo>
                    <a:cubicBezTo>
                      <a:pt x="23" y="164"/>
                      <a:pt x="0" y="193"/>
                      <a:pt x="10" y="21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F78AAE10-F0EC-0A46-A856-DCC289149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7331" y="6622388"/>
                <a:ext cx="395216" cy="564193"/>
              </a:xfrm>
              <a:custGeom>
                <a:avLst/>
                <a:gdLst>
                  <a:gd name="connsiteX0" fmla="*/ 185912 w 364946"/>
                  <a:gd name="connsiteY0" fmla="*/ 3 h 520981"/>
                  <a:gd name="connsiteX1" fmla="*/ 270603 w 364946"/>
                  <a:gd name="connsiteY1" fmla="*/ 13977 h 520981"/>
                  <a:gd name="connsiteX2" fmla="*/ 364868 w 364946"/>
                  <a:gd name="connsiteY2" fmla="*/ 142120 h 520981"/>
                  <a:gd name="connsiteX3" fmla="*/ 320405 w 364946"/>
                  <a:gd name="connsiteY3" fmla="*/ 329308 h 520981"/>
                  <a:gd name="connsiteX4" fmla="*/ 310610 w 364946"/>
                  <a:gd name="connsiteY4" fmla="*/ 349902 h 520981"/>
                  <a:gd name="connsiteX5" fmla="*/ 297930 w 364946"/>
                  <a:gd name="connsiteY5" fmla="*/ 392826 h 520981"/>
                  <a:gd name="connsiteX6" fmla="*/ 271217 w 364946"/>
                  <a:gd name="connsiteY6" fmla="*/ 520981 h 520981"/>
                  <a:gd name="connsiteX7" fmla="*/ 81257 w 364946"/>
                  <a:gd name="connsiteY7" fmla="*/ 500642 h 520981"/>
                  <a:gd name="connsiteX8" fmla="*/ 87132 w 364946"/>
                  <a:gd name="connsiteY8" fmla="*/ 463736 h 520981"/>
                  <a:gd name="connsiteX9" fmla="*/ 86295 w 364946"/>
                  <a:gd name="connsiteY9" fmla="*/ 451815 h 520981"/>
                  <a:gd name="connsiteX10" fmla="*/ 61780 w 364946"/>
                  <a:gd name="connsiteY10" fmla="*/ 446786 h 520981"/>
                  <a:gd name="connsiteX11" fmla="*/ 48688 w 364946"/>
                  <a:gd name="connsiteY11" fmla="*/ 72818 h 520981"/>
                  <a:gd name="connsiteX12" fmla="*/ 185912 w 364946"/>
                  <a:gd name="connsiteY12" fmla="*/ 3 h 52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4946" h="520981">
                    <a:moveTo>
                      <a:pt x="185912" y="3"/>
                    </a:moveTo>
                    <a:cubicBezTo>
                      <a:pt x="232635" y="-243"/>
                      <a:pt x="270603" y="13977"/>
                      <a:pt x="270603" y="13977"/>
                    </a:cubicBezTo>
                    <a:cubicBezTo>
                      <a:pt x="309880" y="34245"/>
                      <a:pt x="363558" y="72818"/>
                      <a:pt x="364868" y="142120"/>
                    </a:cubicBezTo>
                    <a:cubicBezTo>
                      <a:pt x="366340" y="194586"/>
                      <a:pt x="346824" y="266177"/>
                      <a:pt x="320405" y="329308"/>
                    </a:cubicBezTo>
                    <a:lnTo>
                      <a:pt x="310610" y="349902"/>
                    </a:lnTo>
                    <a:lnTo>
                      <a:pt x="297930" y="392826"/>
                    </a:lnTo>
                    <a:cubicBezTo>
                      <a:pt x="280396" y="460825"/>
                      <a:pt x="271217" y="520981"/>
                      <a:pt x="271217" y="520981"/>
                    </a:cubicBezTo>
                    <a:cubicBezTo>
                      <a:pt x="271217" y="520981"/>
                      <a:pt x="70813" y="520325"/>
                      <a:pt x="81257" y="500642"/>
                    </a:cubicBezTo>
                    <a:cubicBezTo>
                      <a:pt x="86480" y="490800"/>
                      <a:pt x="87459" y="476038"/>
                      <a:pt x="87132" y="463736"/>
                    </a:cubicBezTo>
                    <a:lnTo>
                      <a:pt x="86295" y="451815"/>
                    </a:lnTo>
                    <a:lnTo>
                      <a:pt x="61780" y="446786"/>
                    </a:lnTo>
                    <a:cubicBezTo>
                      <a:pt x="-14810" y="418673"/>
                      <a:pt x="-21356" y="187885"/>
                      <a:pt x="48688" y="72818"/>
                    </a:cubicBezTo>
                    <a:cubicBezTo>
                      <a:pt x="83710" y="14958"/>
                      <a:pt x="139189" y="248"/>
                      <a:pt x="185912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39" name="Freeform 115">
                <a:extLst>
                  <a:ext uri="{FF2B5EF4-FFF2-40B4-BE49-F238E27FC236}">
                    <a16:creationId xmlns:a16="http://schemas.microsoft.com/office/drawing/2014/main" id="{CC0DE47B-F88A-2E4B-BB2F-155140228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6679" y="6550976"/>
                <a:ext cx="424212" cy="446047"/>
              </a:xfrm>
              <a:custGeom>
                <a:avLst/>
                <a:gdLst>
                  <a:gd name="T0" fmla="*/ 503 w 599"/>
                  <a:gd name="T1" fmla="*/ 596 h 632"/>
                  <a:gd name="T2" fmla="*/ 503 w 599"/>
                  <a:gd name="T3" fmla="*/ 596 h 632"/>
                  <a:gd name="T4" fmla="*/ 396 w 599"/>
                  <a:gd name="T5" fmla="*/ 617 h 632"/>
                  <a:gd name="T6" fmla="*/ 396 w 599"/>
                  <a:gd name="T7" fmla="*/ 617 h 632"/>
                  <a:gd name="T8" fmla="*/ 168 w 599"/>
                  <a:gd name="T9" fmla="*/ 476 h 632"/>
                  <a:gd name="T10" fmla="*/ 168 w 599"/>
                  <a:gd name="T11" fmla="*/ 476 h 632"/>
                  <a:gd name="T12" fmla="*/ 131 w 599"/>
                  <a:gd name="T13" fmla="*/ 442 h 632"/>
                  <a:gd name="T14" fmla="*/ 109 w 599"/>
                  <a:gd name="T15" fmla="*/ 475 h 632"/>
                  <a:gd name="T16" fmla="*/ 71 w 599"/>
                  <a:gd name="T17" fmla="*/ 477 h 632"/>
                  <a:gd name="T18" fmla="*/ 71 w 599"/>
                  <a:gd name="T19" fmla="*/ 477 h 632"/>
                  <a:gd name="T20" fmla="*/ 53 w 599"/>
                  <a:gd name="T21" fmla="*/ 333 h 632"/>
                  <a:gd name="T22" fmla="*/ 53 w 599"/>
                  <a:gd name="T23" fmla="*/ 333 h 632"/>
                  <a:gd name="T24" fmla="*/ 384 w 599"/>
                  <a:gd name="T25" fmla="*/ 97 h 632"/>
                  <a:gd name="T26" fmla="*/ 384 w 599"/>
                  <a:gd name="T27" fmla="*/ 97 h 632"/>
                  <a:gd name="T28" fmla="*/ 590 w 599"/>
                  <a:gd name="T29" fmla="*/ 276 h 632"/>
                  <a:gd name="T30" fmla="*/ 590 w 599"/>
                  <a:gd name="T31" fmla="*/ 276 h 632"/>
                  <a:gd name="T32" fmla="*/ 503 w 599"/>
                  <a:gd name="T33" fmla="*/ 596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9" h="632">
                    <a:moveTo>
                      <a:pt x="503" y="596"/>
                    </a:moveTo>
                    <a:lnTo>
                      <a:pt x="503" y="596"/>
                    </a:lnTo>
                    <a:cubicBezTo>
                      <a:pt x="503" y="596"/>
                      <a:pt x="482" y="631"/>
                      <a:pt x="396" y="617"/>
                    </a:cubicBezTo>
                    <a:lnTo>
                      <a:pt x="396" y="617"/>
                    </a:lnTo>
                    <a:cubicBezTo>
                      <a:pt x="309" y="604"/>
                      <a:pt x="204" y="488"/>
                      <a:pt x="168" y="476"/>
                    </a:cubicBezTo>
                    <a:lnTo>
                      <a:pt x="168" y="476"/>
                    </a:lnTo>
                    <a:cubicBezTo>
                      <a:pt x="132" y="463"/>
                      <a:pt x="131" y="442"/>
                      <a:pt x="131" y="442"/>
                    </a:cubicBezTo>
                    <a:lnTo>
                      <a:pt x="109" y="475"/>
                    </a:lnTo>
                    <a:lnTo>
                      <a:pt x="71" y="477"/>
                    </a:lnTo>
                    <a:lnTo>
                      <a:pt x="71" y="477"/>
                    </a:lnTo>
                    <a:cubicBezTo>
                      <a:pt x="71" y="477"/>
                      <a:pt x="106" y="374"/>
                      <a:pt x="53" y="333"/>
                    </a:cubicBezTo>
                    <a:lnTo>
                      <a:pt x="53" y="333"/>
                    </a:lnTo>
                    <a:cubicBezTo>
                      <a:pt x="0" y="291"/>
                      <a:pt x="107" y="0"/>
                      <a:pt x="384" y="97"/>
                    </a:cubicBezTo>
                    <a:lnTo>
                      <a:pt x="384" y="97"/>
                    </a:lnTo>
                    <a:cubicBezTo>
                      <a:pt x="384" y="97"/>
                      <a:pt x="598" y="155"/>
                      <a:pt x="590" y="276"/>
                    </a:cubicBezTo>
                    <a:lnTo>
                      <a:pt x="590" y="276"/>
                    </a:lnTo>
                    <a:cubicBezTo>
                      <a:pt x="582" y="397"/>
                      <a:pt x="551" y="535"/>
                      <a:pt x="503" y="596"/>
                    </a:cubicBezTo>
                  </a:path>
                </a:pathLst>
              </a:custGeom>
              <a:solidFill>
                <a:srgbClr val="32365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0" name="Freeform 116">
                <a:extLst>
                  <a:ext uri="{FF2B5EF4-FFF2-40B4-BE49-F238E27FC236}">
                    <a16:creationId xmlns:a16="http://schemas.microsoft.com/office/drawing/2014/main" id="{4A0B795E-BE58-4741-99A6-F4B6F6D44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4017" y="6775559"/>
                <a:ext cx="77981" cy="146604"/>
              </a:xfrm>
              <a:custGeom>
                <a:avLst/>
                <a:gdLst>
                  <a:gd name="T0" fmla="*/ 12 w 109"/>
                  <a:gd name="T1" fmla="*/ 78 h 209"/>
                  <a:gd name="T2" fmla="*/ 12 w 109"/>
                  <a:gd name="T3" fmla="*/ 78 h 209"/>
                  <a:gd name="T4" fmla="*/ 89 w 109"/>
                  <a:gd name="T5" fmla="*/ 62 h 209"/>
                  <a:gd name="T6" fmla="*/ 89 w 109"/>
                  <a:gd name="T7" fmla="*/ 62 h 209"/>
                  <a:gd name="T8" fmla="*/ 31 w 109"/>
                  <a:gd name="T9" fmla="*/ 200 h 209"/>
                  <a:gd name="T10" fmla="*/ 31 w 109"/>
                  <a:gd name="T11" fmla="*/ 200 h 209"/>
                  <a:gd name="T12" fmla="*/ 12 w 109"/>
                  <a:gd name="T13" fmla="*/ 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209">
                    <a:moveTo>
                      <a:pt x="12" y="78"/>
                    </a:moveTo>
                    <a:lnTo>
                      <a:pt x="12" y="78"/>
                    </a:lnTo>
                    <a:cubicBezTo>
                      <a:pt x="17" y="58"/>
                      <a:pt x="69" y="0"/>
                      <a:pt x="89" y="62"/>
                    </a:cubicBezTo>
                    <a:lnTo>
                      <a:pt x="89" y="62"/>
                    </a:lnTo>
                    <a:cubicBezTo>
                      <a:pt x="108" y="124"/>
                      <a:pt x="59" y="208"/>
                      <a:pt x="31" y="200"/>
                    </a:cubicBezTo>
                    <a:lnTo>
                      <a:pt x="31" y="200"/>
                    </a:lnTo>
                    <a:cubicBezTo>
                      <a:pt x="3" y="193"/>
                      <a:pt x="0" y="130"/>
                      <a:pt x="12" y="7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4AC65D2A-7D9C-8F42-B500-B9FC2CBA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7857" y="8194200"/>
                <a:ext cx="1135346" cy="2158383"/>
              </a:xfrm>
              <a:custGeom>
                <a:avLst/>
                <a:gdLst>
                  <a:gd name="connsiteX0" fmla="*/ 499544 w 1048388"/>
                  <a:gd name="connsiteY0" fmla="*/ 173 h 1993069"/>
                  <a:gd name="connsiteX1" fmla="*/ 779999 w 1048388"/>
                  <a:gd name="connsiteY1" fmla="*/ 15175 h 1993069"/>
                  <a:gd name="connsiteX2" fmla="*/ 786134 w 1048388"/>
                  <a:gd name="connsiteY2" fmla="*/ 15761 h 1993069"/>
                  <a:gd name="connsiteX3" fmla="*/ 786833 w 1048388"/>
                  <a:gd name="connsiteY3" fmla="*/ 14953 h 1993069"/>
                  <a:gd name="connsiteX4" fmla="*/ 840452 w 1048388"/>
                  <a:gd name="connsiteY4" fmla="*/ 357809 h 1993069"/>
                  <a:gd name="connsiteX5" fmla="*/ 888839 w 1048388"/>
                  <a:gd name="connsiteY5" fmla="*/ 855440 h 1993069"/>
                  <a:gd name="connsiteX6" fmla="*/ 962729 w 1048388"/>
                  <a:gd name="connsiteY6" fmla="*/ 1437969 h 1993069"/>
                  <a:gd name="connsiteX7" fmla="*/ 1048388 w 1048388"/>
                  <a:gd name="connsiteY7" fmla="*/ 1968253 h 1993069"/>
                  <a:gd name="connsiteX8" fmla="*/ 835221 w 1048388"/>
                  <a:gd name="connsiteY8" fmla="*/ 1993069 h 1993069"/>
                  <a:gd name="connsiteX9" fmla="*/ 664556 w 1048388"/>
                  <a:gd name="connsiteY9" fmla="*/ 1151929 h 1993069"/>
                  <a:gd name="connsiteX10" fmla="*/ 492971 w 1048388"/>
                  <a:gd name="connsiteY10" fmla="*/ 579421 h 1993069"/>
                  <a:gd name="connsiteX11" fmla="*/ 481396 w 1048388"/>
                  <a:gd name="connsiteY11" fmla="*/ 533845 h 1993069"/>
                  <a:gd name="connsiteX12" fmla="*/ 473852 w 1048388"/>
                  <a:gd name="connsiteY12" fmla="*/ 550560 h 1993069"/>
                  <a:gd name="connsiteX13" fmla="*/ 320312 w 1048388"/>
                  <a:gd name="connsiteY13" fmla="*/ 858131 h 1993069"/>
                  <a:gd name="connsiteX14" fmla="*/ 498074 w 1048388"/>
                  <a:gd name="connsiteY14" fmla="*/ 1605076 h 1993069"/>
                  <a:gd name="connsiteX15" fmla="*/ 269990 w 1048388"/>
                  <a:gd name="connsiteY15" fmla="*/ 1641671 h 1993069"/>
                  <a:gd name="connsiteX16" fmla="*/ 80 w 1048388"/>
                  <a:gd name="connsiteY16" fmla="*/ 887538 h 1993069"/>
                  <a:gd name="connsiteX17" fmla="*/ 62166 w 1048388"/>
                  <a:gd name="connsiteY17" fmla="*/ 475836 h 1993069"/>
                  <a:gd name="connsiteX18" fmla="*/ 166732 w 1048388"/>
                  <a:gd name="connsiteY18" fmla="*/ 57599 h 1993069"/>
                  <a:gd name="connsiteX19" fmla="*/ 499544 w 1048388"/>
                  <a:gd name="connsiteY19" fmla="*/ 173 h 1993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48388" h="1993069">
                    <a:moveTo>
                      <a:pt x="499544" y="173"/>
                    </a:moveTo>
                    <a:cubicBezTo>
                      <a:pt x="628351" y="1674"/>
                      <a:pt x="751280" y="12493"/>
                      <a:pt x="779999" y="15175"/>
                    </a:cubicBezTo>
                    <a:lnTo>
                      <a:pt x="786134" y="15761"/>
                    </a:lnTo>
                    <a:lnTo>
                      <a:pt x="786833" y="14953"/>
                    </a:lnTo>
                    <a:cubicBezTo>
                      <a:pt x="786833" y="14953"/>
                      <a:pt x="828028" y="186708"/>
                      <a:pt x="840452" y="357809"/>
                    </a:cubicBezTo>
                    <a:cubicBezTo>
                      <a:pt x="852222" y="515850"/>
                      <a:pt x="872492" y="689563"/>
                      <a:pt x="888839" y="855440"/>
                    </a:cubicBezTo>
                    <a:cubicBezTo>
                      <a:pt x="907148" y="1040256"/>
                      <a:pt x="959459" y="1338704"/>
                      <a:pt x="962729" y="1437969"/>
                    </a:cubicBezTo>
                    <a:cubicBezTo>
                      <a:pt x="965344" y="1536581"/>
                      <a:pt x="1048388" y="1968253"/>
                      <a:pt x="1048388" y="1968253"/>
                    </a:cubicBezTo>
                    <a:lnTo>
                      <a:pt x="835221" y="1993069"/>
                    </a:lnTo>
                    <a:cubicBezTo>
                      <a:pt x="835221" y="1993069"/>
                      <a:pt x="697250" y="1229643"/>
                      <a:pt x="664556" y="1151929"/>
                    </a:cubicBezTo>
                    <a:cubicBezTo>
                      <a:pt x="639544" y="1093154"/>
                      <a:pt x="542442" y="765849"/>
                      <a:pt x="492971" y="579421"/>
                    </a:cubicBezTo>
                    <a:lnTo>
                      <a:pt x="481396" y="533845"/>
                    </a:lnTo>
                    <a:lnTo>
                      <a:pt x="473852" y="550560"/>
                    </a:lnTo>
                    <a:cubicBezTo>
                      <a:pt x="421171" y="663716"/>
                      <a:pt x="401514" y="680870"/>
                      <a:pt x="320312" y="858131"/>
                    </a:cubicBezTo>
                    <a:cubicBezTo>
                      <a:pt x="257573" y="994058"/>
                      <a:pt x="498074" y="1605076"/>
                      <a:pt x="498074" y="1605076"/>
                    </a:cubicBezTo>
                    <a:lnTo>
                      <a:pt x="269990" y="1641671"/>
                    </a:lnTo>
                    <a:cubicBezTo>
                      <a:pt x="244502" y="1535805"/>
                      <a:pt x="-5148" y="948313"/>
                      <a:pt x="80" y="887538"/>
                    </a:cubicBezTo>
                    <a:cubicBezTo>
                      <a:pt x="5309" y="826763"/>
                      <a:pt x="43214" y="571246"/>
                      <a:pt x="62166" y="475836"/>
                    </a:cubicBezTo>
                    <a:cubicBezTo>
                      <a:pt x="84386" y="366049"/>
                      <a:pt x="166732" y="57599"/>
                      <a:pt x="166732" y="57599"/>
                    </a:cubicBezTo>
                    <a:cubicBezTo>
                      <a:pt x="197448" y="8913"/>
                      <a:pt x="352336" y="-1543"/>
                      <a:pt x="499544" y="17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F2C97C68-C916-D545-A20E-B4E43E7D6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5387" y="9972745"/>
                <a:ext cx="1060951" cy="606914"/>
              </a:xfrm>
              <a:custGeom>
                <a:avLst/>
                <a:gdLst>
                  <a:gd name="connsiteX0" fmla="*/ 935816 w 979691"/>
                  <a:gd name="connsiteY0" fmla="*/ 339875 h 560430"/>
                  <a:gd name="connsiteX1" fmla="*/ 977518 w 979691"/>
                  <a:gd name="connsiteY1" fmla="*/ 513529 h 560430"/>
                  <a:gd name="connsiteX2" fmla="*/ 745549 w 979691"/>
                  <a:gd name="connsiteY2" fmla="*/ 553203 h 560430"/>
                  <a:gd name="connsiteX3" fmla="*/ 571573 w 979691"/>
                  <a:gd name="connsiteY3" fmla="*/ 504424 h 560430"/>
                  <a:gd name="connsiteX4" fmla="*/ 752717 w 979691"/>
                  <a:gd name="connsiteY4" fmla="*/ 429629 h 560430"/>
                  <a:gd name="connsiteX5" fmla="*/ 817877 w 979691"/>
                  <a:gd name="connsiteY5" fmla="*/ 358086 h 560430"/>
                  <a:gd name="connsiteX6" fmla="*/ 935816 w 979691"/>
                  <a:gd name="connsiteY6" fmla="*/ 339875 h 560430"/>
                  <a:gd name="connsiteX7" fmla="*/ 374676 w 979691"/>
                  <a:gd name="connsiteY7" fmla="*/ 0 h 560430"/>
                  <a:gd name="connsiteX8" fmla="*/ 416478 w 979691"/>
                  <a:gd name="connsiteY8" fmla="*/ 173003 h 560430"/>
                  <a:gd name="connsiteX9" fmla="*/ 183955 w 979691"/>
                  <a:gd name="connsiteY9" fmla="*/ 213327 h 560430"/>
                  <a:gd name="connsiteX10" fmla="*/ 129743 w 979691"/>
                  <a:gd name="connsiteY10" fmla="*/ 219343 h 560430"/>
                  <a:gd name="connsiteX11" fmla="*/ 116388 w 979691"/>
                  <a:gd name="connsiteY11" fmla="*/ 219701 h 560430"/>
                  <a:gd name="connsiteX12" fmla="*/ 114320 w 979691"/>
                  <a:gd name="connsiteY12" fmla="*/ 219903 h 560430"/>
                  <a:gd name="connsiteX13" fmla="*/ 109587 w 979691"/>
                  <a:gd name="connsiteY13" fmla="*/ 219883 h 560430"/>
                  <a:gd name="connsiteX14" fmla="*/ 87288 w 979691"/>
                  <a:gd name="connsiteY14" fmla="*/ 220481 h 560430"/>
                  <a:gd name="connsiteX15" fmla="*/ 87221 w 979691"/>
                  <a:gd name="connsiteY15" fmla="*/ 219791 h 560430"/>
                  <a:gd name="connsiteX16" fmla="*/ 65412 w 979691"/>
                  <a:gd name="connsiteY16" fmla="*/ 219701 h 560430"/>
                  <a:gd name="connsiteX17" fmla="*/ 7685 w 979691"/>
                  <a:gd name="connsiteY17" fmla="*/ 164550 h 560430"/>
                  <a:gd name="connsiteX18" fmla="*/ 188177 w 979691"/>
                  <a:gd name="connsiteY18" fmla="*/ 89104 h 560430"/>
                  <a:gd name="connsiteX19" fmla="*/ 253337 w 979691"/>
                  <a:gd name="connsiteY19" fmla="*/ 18212 h 560430"/>
                  <a:gd name="connsiteX20" fmla="*/ 371927 w 979691"/>
                  <a:gd name="connsiteY20" fmla="*/ 1 h 560430"/>
                  <a:gd name="connsiteX21" fmla="*/ 372301 w 979691"/>
                  <a:gd name="connsiteY21" fmla="*/ 1029 h 560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79691" h="560430">
                    <a:moveTo>
                      <a:pt x="935816" y="339875"/>
                    </a:moveTo>
                    <a:cubicBezTo>
                      <a:pt x="935816" y="339875"/>
                      <a:pt x="991201" y="487513"/>
                      <a:pt x="977518" y="513529"/>
                    </a:cubicBezTo>
                    <a:cubicBezTo>
                      <a:pt x="964486" y="538244"/>
                      <a:pt x="892159" y="533691"/>
                      <a:pt x="745549" y="553203"/>
                    </a:cubicBezTo>
                    <a:cubicBezTo>
                      <a:pt x="539645" y="581170"/>
                      <a:pt x="558541" y="520033"/>
                      <a:pt x="571573" y="504424"/>
                    </a:cubicBezTo>
                    <a:cubicBezTo>
                      <a:pt x="590470" y="482310"/>
                      <a:pt x="719486" y="452392"/>
                      <a:pt x="752717" y="429629"/>
                    </a:cubicBezTo>
                    <a:cubicBezTo>
                      <a:pt x="785949" y="406215"/>
                      <a:pt x="817877" y="358086"/>
                      <a:pt x="817877" y="358086"/>
                    </a:cubicBezTo>
                    <a:cubicBezTo>
                      <a:pt x="904539" y="357436"/>
                      <a:pt x="935816" y="339875"/>
                      <a:pt x="935816" y="339875"/>
                    </a:cubicBezTo>
                    <a:close/>
                    <a:moveTo>
                      <a:pt x="374676" y="0"/>
                    </a:moveTo>
                    <a:cubicBezTo>
                      <a:pt x="374676" y="0"/>
                      <a:pt x="429541" y="147638"/>
                      <a:pt x="416478" y="173003"/>
                    </a:cubicBezTo>
                    <a:cubicBezTo>
                      <a:pt x="403415" y="199018"/>
                      <a:pt x="330915" y="193815"/>
                      <a:pt x="183955" y="213327"/>
                    </a:cubicBezTo>
                    <a:cubicBezTo>
                      <a:pt x="163707" y="216254"/>
                      <a:pt x="145745" y="218205"/>
                      <a:pt x="129743" y="219343"/>
                    </a:cubicBezTo>
                    <a:lnTo>
                      <a:pt x="116388" y="219701"/>
                    </a:lnTo>
                    <a:lnTo>
                      <a:pt x="114320" y="219903"/>
                    </a:lnTo>
                    <a:lnTo>
                      <a:pt x="109587" y="219883"/>
                    </a:lnTo>
                    <a:lnTo>
                      <a:pt x="87288" y="220481"/>
                    </a:lnTo>
                    <a:lnTo>
                      <a:pt x="87221" y="219791"/>
                    </a:lnTo>
                    <a:lnTo>
                      <a:pt x="65412" y="219701"/>
                    </a:lnTo>
                    <a:cubicBezTo>
                      <a:pt x="-15773" y="213573"/>
                      <a:pt x="-2578" y="176257"/>
                      <a:pt x="7685" y="164550"/>
                    </a:cubicBezTo>
                    <a:cubicBezTo>
                      <a:pt x="26581" y="142436"/>
                      <a:pt x="154946" y="112518"/>
                      <a:pt x="188177" y="89104"/>
                    </a:cubicBezTo>
                    <a:cubicBezTo>
                      <a:pt x="221409" y="66341"/>
                      <a:pt x="253337" y="18212"/>
                      <a:pt x="253337" y="18212"/>
                    </a:cubicBezTo>
                    <a:cubicBezTo>
                      <a:pt x="339999" y="17562"/>
                      <a:pt x="371927" y="1"/>
                      <a:pt x="371927" y="1"/>
                    </a:cubicBezTo>
                    <a:lnTo>
                      <a:pt x="372301" y="1029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74E1D6B6-86AE-C943-BAF2-1DE9C65C1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8625" y="6816109"/>
                <a:ext cx="1768442" cy="1898580"/>
              </a:xfrm>
              <a:custGeom>
                <a:avLst/>
                <a:gdLst>
                  <a:gd name="connsiteX0" fmla="*/ 101758 w 1632994"/>
                  <a:gd name="connsiteY0" fmla="*/ 0 h 1753165"/>
                  <a:gd name="connsiteX1" fmla="*/ 457909 w 1632994"/>
                  <a:gd name="connsiteY1" fmla="*/ 311757 h 1753165"/>
                  <a:gd name="connsiteX2" fmla="*/ 858416 w 1632994"/>
                  <a:gd name="connsiteY2" fmla="*/ 379075 h 1753165"/>
                  <a:gd name="connsiteX3" fmla="*/ 862273 w 1632994"/>
                  <a:gd name="connsiteY3" fmla="*/ 379410 h 1753165"/>
                  <a:gd name="connsiteX4" fmla="*/ 930170 w 1632994"/>
                  <a:gd name="connsiteY4" fmla="*/ 353075 h 1753165"/>
                  <a:gd name="connsiteX5" fmla="*/ 1063255 w 1632994"/>
                  <a:gd name="connsiteY5" fmla="*/ 308192 h 1753165"/>
                  <a:gd name="connsiteX6" fmla="*/ 1064417 w 1632994"/>
                  <a:gd name="connsiteY6" fmla="*/ 308192 h 1753165"/>
                  <a:gd name="connsiteX7" fmla="*/ 1064742 w 1632994"/>
                  <a:gd name="connsiteY7" fmla="*/ 307762 h 1753165"/>
                  <a:gd name="connsiteX8" fmla="*/ 1257675 w 1632994"/>
                  <a:gd name="connsiteY8" fmla="*/ 303248 h 1753165"/>
                  <a:gd name="connsiteX9" fmla="*/ 1268140 w 1632994"/>
                  <a:gd name="connsiteY9" fmla="*/ 312276 h 1753165"/>
                  <a:gd name="connsiteX10" fmla="*/ 1268464 w 1632994"/>
                  <a:gd name="connsiteY10" fmla="*/ 313237 h 1753165"/>
                  <a:gd name="connsiteX11" fmla="*/ 1293183 w 1632994"/>
                  <a:gd name="connsiteY11" fmla="*/ 318828 h 1753165"/>
                  <a:gd name="connsiteX12" fmla="*/ 1466237 w 1632994"/>
                  <a:gd name="connsiteY12" fmla="*/ 369545 h 1753165"/>
                  <a:gd name="connsiteX13" fmla="*/ 1496281 w 1632994"/>
                  <a:gd name="connsiteY13" fmla="*/ 386515 h 1753165"/>
                  <a:gd name="connsiteX14" fmla="*/ 1496198 w 1632994"/>
                  <a:gd name="connsiteY14" fmla="*/ 388254 h 1753165"/>
                  <a:gd name="connsiteX15" fmla="*/ 1502998 w 1632994"/>
                  <a:gd name="connsiteY15" fmla="*/ 398111 h 1753165"/>
                  <a:gd name="connsiteX16" fmla="*/ 1631917 w 1632994"/>
                  <a:gd name="connsiteY16" fmla="*/ 838132 h 1753165"/>
                  <a:gd name="connsiteX17" fmla="*/ 1592223 w 1632994"/>
                  <a:gd name="connsiteY17" fmla="*/ 889678 h 1753165"/>
                  <a:gd name="connsiteX18" fmla="*/ 1558386 w 1632994"/>
                  <a:gd name="connsiteY18" fmla="*/ 901423 h 1753165"/>
                  <a:gd name="connsiteX19" fmla="*/ 1549276 w 1632994"/>
                  <a:gd name="connsiteY19" fmla="*/ 901423 h 1753165"/>
                  <a:gd name="connsiteX20" fmla="*/ 1471497 w 1632994"/>
                  <a:gd name="connsiteY20" fmla="*/ 904012 h 1753165"/>
                  <a:gd name="connsiteX21" fmla="*/ 1471462 w 1632994"/>
                  <a:gd name="connsiteY21" fmla="*/ 904747 h 1753165"/>
                  <a:gd name="connsiteX22" fmla="*/ 1471462 w 1632994"/>
                  <a:gd name="connsiteY22" fmla="*/ 905400 h 1753165"/>
                  <a:gd name="connsiteX23" fmla="*/ 1471462 w 1632994"/>
                  <a:gd name="connsiteY23" fmla="*/ 906052 h 1753165"/>
                  <a:gd name="connsiteX24" fmla="*/ 1444683 w 1632994"/>
                  <a:gd name="connsiteY24" fmla="*/ 1124702 h 1753165"/>
                  <a:gd name="connsiteX25" fmla="*/ 1485831 w 1632994"/>
                  <a:gd name="connsiteY25" fmla="*/ 1402746 h 1753165"/>
                  <a:gd name="connsiteX26" fmla="*/ 1537428 w 1632994"/>
                  <a:gd name="connsiteY26" fmla="*/ 1693192 h 1753165"/>
                  <a:gd name="connsiteX27" fmla="*/ 798085 w 1632994"/>
                  <a:gd name="connsiteY27" fmla="*/ 1712772 h 1753165"/>
                  <a:gd name="connsiteX28" fmla="*/ 837926 w 1632994"/>
                  <a:gd name="connsiteY28" fmla="*/ 1136451 h 1753165"/>
                  <a:gd name="connsiteX29" fmla="*/ 836619 w 1632994"/>
                  <a:gd name="connsiteY29" fmla="*/ 829688 h 1753165"/>
                  <a:gd name="connsiteX30" fmla="*/ 816372 w 1632994"/>
                  <a:gd name="connsiteY30" fmla="*/ 718732 h 1753165"/>
                  <a:gd name="connsiteX31" fmla="*/ 809262 w 1632994"/>
                  <a:gd name="connsiteY31" fmla="*/ 714318 h 1753165"/>
                  <a:gd name="connsiteX32" fmla="*/ 808842 w 1632994"/>
                  <a:gd name="connsiteY32" fmla="*/ 714361 h 1753165"/>
                  <a:gd name="connsiteX33" fmla="*/ 671861 w 1632994"/>
                  <a:gd name="connsiteY33" fmla="*/ 638546 h 1753165"/>
                  <a:gd name="connsiteX34" fmla="*/ 254394 w 1632994"/>
                  <a:gd name="connsiteY34" fmla="*/ 377115 h 1753165"/>
                  <a:gd name="connsiteX35" fmla="*/ 0 w 1632994"/>
                  <a:gd name="connsiteY35" fmla="*/ 107187 h 1753165"/>
                  <a:gd name="connsiteX36" fmla="*/ 101758 w 1632994"/>
                  <a:gd name="connsiteY36" fmla="*/ 0 h 175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32994" h="1753165">
                    <a:moveTo>
                      <a:pt x="101758" y="0"/>
                    </a:moveTo>
                    <a:cubicBezTo>
                      <a:pt x="101758" y="0"/>
                      <a:pt x="393984" y="277770"/>
                      <a:pt x="457909" y="311757"/>
                    </a:cubicBezTo>
                    <a:cubicBezTo>
                      <a:pt x="512701" y="341168"/>
                      <a:pt x="783403" y="371232"/>
                      <a:pt x="858416" y="379075"/>
                    </a:cubicBezTo>
                    <a:lnTo>
                      <a:pt x="862273" y="379410"/>
                    </a:lnTo>
                    <a:lnTo>
                      <a:pt x="930170" y="353075"/>
                    </a:lnTo>
                    <a:cubicBezTo>
                      <a:pt x="999698" y="327651"/>
                      <a:pt x="1063255" y="308192"/>
                      <a:pt x="1063255" y="308192"/>
                    </a:cubicBezTo>
                    <a:lnTo>
                      <a:pt x="1064417" y="308192"/>
                    </a:lnTo>
                    <a:lnTo>
                      <a:pt x="1064742" y="307762"/>
                    </a:lnTo>
                    <a:cubicBezTo>
                      <a:pt x="1064742" y="307762"/>
                      <a:pt x="1188350" y="279389"/>
                      <a:pt x="1257675" y="303248"/>
                    </a:cubicBezTo>
                    <a:lnTo>
                      <a:pt x="1268140" y="312276"/>
                    </a:lnTo>
                    <a:lnTo>
                      <a:pt x="1268464" y="313237"/>
                    </a:lnTo>
                    <a:lnTo>
                      <a:pt x="1293183" y="318828"/>
                    </a:lnTo>
                    <a:cubicBezTo>
                      <a:pt x="1341173" y="329976"/>
                      <a:pt x="1414803" y="348741"/>
                      <a:pt x="1466237" y="369545"/>
                    </a:cubicBezTo>
                    <a:cubicBezTo>
                      <a:pt x="1477340" y="374114"/>
                      <a:pt x="1486484" y="379988"/>
                      <a:pt x="1496281" y="386515"/>
                    </a:cubicBezTo>
                    <a:lnTo>
                      <a:pt x="1496198" y="388254"/>
                    </a:lnTo>
                    <a:lnTo>
                      <a:pt x="1502998" y="398111"/>
                    </a:lnTo>
                    <a:cubicBezTo>
                      <a:pt x="1535052" y="452617"/>
                      <a:pt x="1645012" y="678845"/>
                      <a:pt x="1631917" y="838132"/>
                    </a:cubicBezTo>
                    <a:cubicBezTo>
                      <a:pt x="1630615" y="857707"/>
                      <a:pt x="1607840" y="879238"/>
                      <a:pt x="1592223" y="889678"/>
                    </a:cubicBezTo>
                    <a:cubicBezTo>
                      <a:pt x="1582463" y="896203"/>
                      <a:pt x="1570750" y="900770"/>
                      <a:pt x="1558386" y="901423"/>
                    </a:cubicBezTo>
                    <a:lnTo>
                      <a:pt x="1549276" y="901423"/>
                    </a:lnTo>
                    <a:lnTo>
                      <a:pt x="1471497" y="904012"/>
                    </a:lnTo>
                    <a:lnTo>
                      <a:pt x="1471462" y="904747"/>
                    </a:lnTo>
                    <a:cubicBezTo>
                      <a:pt x="1471462" y="904747"/>
                      <a:pt x="1471462" y="904747"/>
                      <a:pt x="1471462" y="905400"/>
                    </a:cubicBezTo>
                    <a:cubicBezTo>
                      <a:pt x="1471462" y="905400"/>
                      <a:pt x="1471462" y="905400"/>
                      <a:pt x="1471462" y="906052"/>
                    </a:cubicBezTo>
                    <a:cubicBezTo>
                      <a:pt x="1460359" y="978501"/>
                      <a:pt x="1448602" y="1064002"/>
                      <a:pt x="1444683" y="1124702"/>
                    </a:cubicBezTo>
                    <a:cubicBezTo>
                      <a:pt x="1442724" y="1148852"/>
                      <a:pt x="1470809" y="1281347"/>
                      <a:pt x="1485831" y="1402746"/>
                    </a:cubicBezTo>
                    <a:lnTo>
                      <a:pt x="1537428" y="1693192"/>
                    </a:lnTo>
                    <a:cubicBezTo>
                      <a:pt x="1537428" y="1693192"/>
                      <a:pt x="1507384" y="1813939"/>
                      <a:pt x="798085" y="1712772"/>
                    </a:cubicBezTo>
                    <a:cubicBezTo>
                      <a:pt x="779144" y="1710161"/>
                      <a:pt x="842498" y="1170390"/>
                      <a:pt x="837926" y="1136451"/>
                    </a:cubicBezTo>
                    <a:cubicBezTo>
                      <a:pt x="834660" y="1114259"/>
                      <a:pt x="834660" y="938687"/>
                      <a:pt x="836619" y="829688"/>
                    </a:cubicBezTo>
                    <a:lnTo>
                      <a:pt x="816372" y="718732"/>
                    </a:lnTo>
                    <a:lnTo>
                      <a:pt x="809262" y="714318"/>
                    </a:lnTo>
                    <a:lnTo>
                      <a:pt x="808842" y="714361"/>
                    </a:lnTo>
                    <a:cubicBezTo>
                      <a:pt x="788621" y="701289"/>
                      <a:pt x="761877" y="683643"/>
                      <a:pt x="671861" y="638546"/>
                    </a:cubicBezTo>
                    <a:cubicBezTo>
                      <a:pt x="502917" y="553581"/>
                      <a:pt x="294184" y="399336"/>
                      <a:pt x="254394" y="377115"/>
                    </a:cubicBezTo>
                    <a:cubicBezTo>
                      <a:pt x="193078" y="343129"/>
                      <a:pt x="0" y="107187"/>
                      <a:pt x="0" y="107187"/>
                    </a:cubicBezTo>
                    <a:cubicBezTo>
                      <a:pt x="10437" y="71893"/>
                      <a:pt x="101758" y="0"/>
                      <a:pt x="101758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4" name="Freeform 124">
                <a:extLst>
                  <a:ext uri="{FF2B5EF4-FFF2-40B4-BE49-F238E27FC236}">
                    <a16:creationId xmlns:a16="http://schemas.microsoft.com/office/drawing/2014/main" id="{1D5C0381-66FD-8D4E-86CC-32DA45EF9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5659" y="3734332"/>
                <a:ext cx="2732426" cy="3175353"/>
              </a:xfrm>
              <a:custGeom>
                <a:avLst/>
                <a:gdLst>
                  <a:gd name="T0" fmla="*/ 3516 w 3864"/>
                  <a:gd name="T1" fmla="*/ 4486 h 4487"/>
                  <a:gd name="T2" fmla="*/ 347 w 3864"/>
                  <a:gd name="T3" fmla="*/ 4486 h 4487"/>
                  <a:gd name="T4" fmla="*/ 347 w 3864"/>
                  <a:gd name="T5" fmla="*/ 4486 h 4487"/>
                  <a:gd name="T6" fmla="*/ 0 w 3864"/>
                  <a:gd name="T7" fmla="*/ 4140 h 4487"/>
                  <a:gd name="T8" fmla="*/ 0 w 3864"/>
                  <a:gd name="T9" fmla="*/ 346 h 4487"/>
                  <a:gd name="T10" fmla="*/ 0 w 3864"/>
                  <a:gd name="T11" fmla="*/ 346 h 4487"/>
                  <a:gd name="T12" fmla="*/ 347 w 3864"/>
                  <a:gd name="T13" fmla="*/ 0 h 4487"/>
                  <a:gd name="T14" fmla="*/ 3516 w 3864"/>
                  <a:gd name="T15" fmla="*/ 0 h 4487"/>
                  <a:gd name="T16" fmla="*/ 3516 w 3864"/>
                  <a:gd name="T17" fmla="*/ 0 h 4487"/>
                  <a:gd name="T18" fmla="*/ 3863 w 3864"/>
                  <a:gd name="T19" fmla="*/ 346 h 4487"/>
                  <a:gd name="T20" fmla="*/ 3863 w 3864"/>
                  <a:gd name="T21" fmla="*/ 4140 h 4487"/>
                  <a:gd name="T22" fmla="*/ 3863 w 3864"/>
                  <a:gd name="T23" fmla="*/ 4140 h 4487"/>
                  <a:gd name="T24" fmla="*/ 3516 w 3864"/>
                  <a:gd name="T25" fmla="*/ 4486 h 4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64" h="4487">
                    <a:moveTo>
                      <a:pt x="3516" y="4486"/>
                    </a:moveTo>
                    <a:lnTo>
                      <a:pt x="347" y="4486"/>
                    </a:lnTo>
                    <a:lnTo>
                      <a:pt x="347" y="4486"/>
                    </a:lnTo>
                    <a:cubicBezTo>
                      <a:pt x="155" y="4486"/>
                      <a:pt x="0" y="4331"/>
                      <a:pt x="0" y="4140"/>
                    </a:cubicBezTo>
                    <a:lnTo>
                      <a:pt x="0" y="346"/>
                    </a:lnTo>
                    <a:lnTo>
                      <a:pt x="0" y="346"/>
                    </a:lnTo>
                    <a:cubicBezTo>
                      <a:pt x="0" y="155"/>
                      <a:pt x="155" y="0"/>
                      <a:pt x="347" y="0"/>
                    </a:cubicBezTo>
                    <a:lnTo>
                      <a:pt x="3516" y="0"/>
                    </a:lnTo>
                    <a:lnTo>
                      <a:pt x="3516" y="0"/>
                    </a:lnTo>
                    <a:cubicBezTo>
                      <a:pt x="3708" y="0"/>
                      <a:pt x="3863" y="155"/>
                      <a:pt x="3863" y="346"/>
                    </a:cubicBezTo>
                    <a:lnTo>
                      <a:pt x="3863" y="4140"/>
                    </a:lnTo>
                    <a:lnTo>
                      <a:pt x="3863" y="4140"/>
                    </a:lnTo>
                    <a:cubicBezTo>
                      <a:pt x="3863" y="4331"/>
                      <a:pt x="3708" y="4486"/>
                      <a:pt x="3516" y="4486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5" name="Freeform 125">
                <a:extLst>
                  <a:ext uri="{FF2B5EF4-FFF2-40B4-BE49-F238E27FC236}">
                    <a16:creationId xmlns:a16="http://schemas.microsoft.com/office/drawing/2014/main" id="{4889B827-3554-714C-A48A-7550CDA54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18044" y="2873431"/>
                <a:ext cx="1980698" cy="751728"/>
              </a:xfrm>
              <a:custGeom>
                <a:avLst/>
                <a:gdLst>
                  <a:gd name="T0" fmla="*/ 2605 w 2801"/>
                  <a:gd name="T1" fmla="*/ 1063 h 1064"/>
                  <a:gd name="T2" fmla="*/ 195 w 2801"/>
                  <a:gd name="T3" fmla="*/ 1063 h 1064"/>
                  <a:gd name="T4" fmla="*/ 195 w 2801"/>
                  <a:gd name="T5" fmla="*/ 1063 h 1064"/>
                  <a:gd name="T6" fmla="*/ 0 w 2801"/>
                  <a:gd name="T7" fmla="*/ 866 h 1064"/>
                  <a:gd name="T8" fmla="*/ 0 w 2801"/>
                  <a:gd name="T9" fmla="*/ 196 h 1064"/>
                  <a:gd name="T10" fmla="*/ 0 w 2801"/>
                  <a:gd name="T11" fmla="*/ 196 h 1064"/>
                  <a:gd name="T12" fmla="*/ 195 w 2801"/>
                  <a:gd name="T13" fmla="*/ 0 h 1064"/>
                  <a:gd name="T14" fmla="*/ 2605 w 2801"/>
                  <a:gd name="T15" fmla="*/ 0 h 1064"/>
                  <a:gd name="T16" fmla="*/ 2605 w 2801"/>
                  <a:gd name="T17" fmla="*/ 0 h 1064"/>
                  <a:gd name="T18" fmla="*/ 2800 w 2801"/>
                  <a:gd name="T19" fmla="*/ 196 h 1064"/>
                  <a:gd name="T20" fmla="*/ 2800 w 2801"/>
                  <a:gd name="T21" fmla="*/ 866 h 1064"/>
                  <a:gd name="T22" fmla="*/ 2800 w 2801"/>
                  <a:gd name="T23" fmla="*/ 866 h 1064"/>
                  <a:gd name="T24" fmla="*/ 2605 w 2801"/>
                  <a:gd name="T25" fmla="*/ 1063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1" h="1064">
                    <a:moveTo>
                      <a:pt x="2605" y="1063"/>
                    </a:moveTo>
                    <a:lnTo>
                      <a:pt x="195" y="1063"/>
                    </a:lnTo>
                    <a:lnTo>
                      <a:pt x="195" y="1063"/>
                    </a:lnTo>
                    <a:cubicBezTo>
                      <a:pt x="87" y="1063"/>
                      <a:pt x="0" y="974"/>
                      <a:pt x="0" y="866"/>
                    </a:cubicBezTo>
                    <a:lnTo>
                      <a:pt x="0" y="196"/>
                    </a:lnTo>
                    <a:lnTo>
                      <a:pt x="0" y="196"/>
                    </a:lnTo>
                    <a:cubicBezTo>
                      <a:pt x="0" y="88"/>
                      <a:pt x="87" y="0"/>
                      <a:pt x="195" y="0"/>
                    </a:cubicBezTo>
                    <a:lnTo>
                      <a:pt x="2605" y="0"/>
                    </a:lnTo>
                    <a:lnTo>
                      <a:pt x="2605" y="0"/>
                    </a:lnTo>
                    <a:cubicBezTo>
                      <a:pt x="2713" y="0"/>
                      <a:pt x="2800" y="88"/>
                      <a:pt x="2800" y="196"/>
                    </a:cubicBezTo>
                    <a:lnTo>
                      <a:pt x="2800" y="866"/>
                    </a:lnTo>
                    <a:lnTo>
                      <a:pt x="2800" y="866"/>
                    </a:lnTo>
                    <a:cubicBezTo>
                      <a:pt x="2800" y="974"/>
                      <a:pt x="2713" y="1063"/>
                      <a:pt x="2605" y="1063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6" name="Freeform 126">
                <a:extLst>
                  <a:ext uri="{FF2B5EF4-FFF2-40B4-BE49-F238E27FC236}">
                    <a16:creationId xmlns:a16="http://schemas.microsoft.com/office/drawing/2014/main" id="{8BA7240A-7CC0-6940-A5B0-EC43DC49F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5" y="4585874"/>
                <a:ext cx="1409882" cy="1397404"/>
              </a:xfrm>
              <a:custGeom>
                <a:avLst/>
                <a:gdLst>
                  <a:gd name="T0" fmla="*/ 1990 w 1991"/>
                  <a:gd name="T1" fmla="*/ 1042 h 1975"/>
                  <a:gd name="T2" fmla="*/ 1337 w 1991"/>
                  <a:gd name="T3" fmla="*/ 1917 h 1975"/>
                  <a:gd name="T4" fmla="*/ 1044 w 1991"/>
                  <a:gd name="T5" fmla="*/ 1974 h 1975"/>
                  <a:gd name="T6" fmla="*/ 965 w 1991"/>
                  <a:gd name="T7" fmla="*/ 1974 h 1975"/>
                  <a:gd name="T8" fmla="*/ 252 w 1991"/>
                  <a:gd name="T9" fmla="*/ 1627 h 1975"/>
                  <a:gd name="T10" fmla="*/ 99 w 1991"/>
                  <a:gd name="T11" fmla="*/ 1381 h 1975"/>
                  <a:gd name="T12" fmla="*/ 75 w 1991"/>
                  <a:gd name="T13" fmla="*/ 1320 h 1975"/>
                  <a:gd name="T14" fmla="*/ 62 w 1991"/>
                  <a:gd name="T15" fmla="*/ 693 h 1975"/>
                  <a:gd name="T16" fmla="*/ 672 w 1991"/>
                  <a:gd name="T17" fmla="*/ 58 h 1975"/>
                  <a:gd name="T18" fmla="*/ 975 w 1991"/>
                  <a:gd name="T19" fmla="*/ 0 h 1975"/>
                  <a:gd name="T20" fmla="*/ 1004 w 1991"/>
                  <a:gd name="T21" fmla="*/ 0 h 1975"/>
                  <a:gd name="T22" fmla="*/ 1934 w 1991"/>
                  <a:gd name="T23" fmla="*/ 655 h 1975"/>
                  <a:gd name="T24" fmla="*/ 1990 w 1991"/>
                  <a:gd name="T25" fmla="*/ 930 h 1975"/>
                  <a:gd name="T26" fmla="*/ 1990 w 1991"/>
                  <a:gd name="T27" fmla="*/ 1042 h 1975"/>
                  <a:gd name="T28" fmla="*/ 1004 w 1991"/>
                  <a:gd name="T29" fmla="*/ 1727 h 1975"/>
                  <a:gd name="T30" fmla="*/ 1254 w 1991"/>
                  <a:gd name="T31" fmla="*/ 1684 h 1975"/>
                  <a:gd name="T32" fmla="*/ 1702 w 1991"/>
                  <a:gd name="T33" fmla="*/ 738 h 1975"/>
                  <a:gd name="T34" fmla="*/ 982 w 1991"/>
                  <a:gd name="T35" fmla="*/ 247 h 1975"/>
                  <a:gd name="T36" fmla="*/ 882 w 1991"/>
                  <a:gd name="T37" fmla="*/ 257 h 1975"/>
                  <a:gd name="T38" fmla="*/ 755 w 1991"/>
                  <a:gd name="T39" fmla="*/ 290 h 1975"/>
                  <a:gd name="T40" fmla="*/ 298 w 1991"/>
                  <a:gd name="T41" fmla="*/ 767 h 1975"/>
                  <a:gd name="T42" fmla="*/ 308 w 1991"/>
                  <a:gd name="T43" fmla="*/ 1236 h 1975"/>
                  <a:gd name="T44" fmla="*/ 326 w 1991"/>
                  <a:gd name="T45" fmla="*/ 1283 h 1975"/>
                  <a:gd name="T46" fmla="*/ 441 w 1991"/>
                  <a:gd name="T47" fmla="*/ 1467 h 1975"/>
                  <a:gd name="T48" fmla="*/ 1004 w 1991"/>
                  <a:gd name="T49" fmla="*/ 1727 h 1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1" h="1975">
                    <a:moveTo>
                      <a:pt x="1990" y="1042"/>
                    </a:moveTo>
                    <a:cubicBezTo>
                      <a:pt x="1969" y="1426"/>
                      <a:pt x="1722" y="1779"/>
                      <a:pt x="1337" y="1917"/>
                    </a:cubicBezTo>
                    <a:cubicBezTo>
                      <a:pt x="1240" y="1951"/>
                      <a:pt x="1142" y="1970"/>
                      <a:pt x="1044" y="1974"/>
                    </a:cubicBezTo>
                    <a:lnTo>
                      <a:pt x="965" y="1974"/>
                    </a:lnTo>
                    <a:cubicBezTo>
                      <a:pt x="690" y="1963"/>
                      <a:pt x="431" y="1837"/>
                      <a:pt x="252" y="1627"/>
                    </a:cubicBezTo>
                    <a:cubicBezTo>
                      <a:pt x="191" y="1555"/>
                      <a:pt x="139" y="1472"/>
                      <a:pt x="99" y="1381"/>
                    </a:cubicBezTo>
                    <a:cubicBezTo>
                      <a:pt x="91" y="1361"/>
                      <a:pt x="82" y="1340"/>
                      <a:pt x="75" y="1320"/>
                    </a:cubicBezTo>
                    <a:cubicBezTo>
                      <a:pt x="0" y="1110"/>
                      <a:pt x="0" y="891"/>
                      <a:pt x="62" y="693"/>
                    </a:cubicBezTo>
                    <a:cubicBezTo>
                      <a:pt x="152" y="408"/>
                      <a:pt x="369" y="166"/>
                      <a:pt x="672" y="58"/>
                    </a:cubicBezTo>
                    <a:cubicBezTo>
                      <a:pt x="772" y="22"/>
                      <a:pt x="874" y="3"/>
                      <a:pt x="975" y="0"/>
                    </a:cubicBezTo>
                    <a:lnTo>
                      <a:pt x="1004" y="0"/>
                    </a:lnTo>
                    <a:cubicBezTo>
                      <a:pt x="1410" y="0"/>
                      <a:pt x="1790" y="251"/>
                      <a:pt x="1934" y="655"/>
                    </a:cubicBezTo>
                    <a:cubicBezTo>
                      <a:pt x="1967" y="746"/>
                      <a:pt x="1985" y="838"/>
                      <a:pt x="1990" y="930"/>
                    </a:cubicBezTo>
                    <a:lnTo>
                      <a:pt x="1990" y="1042"/>
                    </a:lnTo>
                    <a:close/>
                    <a:moveTo>
                      <a:pt x="1004" y="1727"/>
                    </a:moveTo>
                    <a:cubicBezTo>
                      <a:pt x="1087" y="1727"/>
                      <a:pt x="1171" y="1714"/>
                      <a:pt x="1254" y="1684"/>
                    </a:cubicBezTo>
                    <a:cubicBezTo>
                      <a:pt x="1639" y="1547"/>
                      <a:pt x="1839" y="1123"/>
                      <a:pt x="1702" y="738"/>
                    </a:cubicBezTo>
                    <a:cubicBezTo>
                      <a:pt x="1591" y="428"/>
                      <a:pt x="1295" y="238"/>
                      <a:pt x="982" y="247"/>
                    </a:cubicBezTo>
                    <a:cubicBezTo>
                      <a:pt x="949" y="248"/>
                      <a:pt x="915" y="252"/>
                      <a:pt x="882" y="257"/>
                    </a:cubicBezTo>
                    <a:cubicBezTo>
                      <a:pt x="840" y="265"/>
                      <a:pt x="798" y="275"/>
                      <a:pt x="755" y="290"/>
                    </a:cubicBezTo>
                    <a:cubicBezTo>
                      <a:pt x="528" y="372"/>
                      <a:pt x="365" y="553"/>
                      <a:pt x="298" y="767"/>
                    </a:cubicBezTo>
                    <a:cubicBezTo>
                      <a:pt x="252" y="915"/>
                      <a:pt x="252" y="1079"/>
                      <a:pt x="308" y="1236"/>
                    </a:cubicBezTo>
                    <a:cubicBezTo>
                      <a:pt x="313" y="1252"/>
                      <a:pt x="320" y="1267"/>
                      <a:pt x="326" y="1283"/>
                    </a:cubicBezTo>
                    <a:cubicBezTo>
                      <a:pt x="355" y="1351"/>
                      <a:pt x="394" y="1413"/>
                      <a:pt x="441" y="1467"/>
                    </a:cubicBezTo>
                    <a:cubicBezTo>
                      <a:pt x="581" y="1632"/>
                      <a:pt x="788" y="1727"/>
                      <a:pt x="1004" y="172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7" name="Freeform 127">
                <a:extLst>
                  <a:ext uri="{FF2B5EF4-FFF2-40B4-BE49-F238E27FC236}">
                    <a16:creationId xmlns:a16="http://schemas.microsoft.com/office/drawing/2014/main" id="{D671FC7A-0EDC-3246-9B9B-2F09F8A62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2534" y="4585875"/>
                <a:ext cx="651915" cy="542742"/>
              </a:xfrm>
              <a:custGeom>
                <a:avLst/>
                <a:gdLst>
                  <a:gd name="T0" fmla="*/ 236 w 921"/>
                  <a:gd name="T1" fmla="*/ 767 h 768"/>
                  <a:gd name="T2" fmla="*/ 0 w 921"/>
                  <a:gd name="T3" fmla="*/ 693 h 768"/>
                  <a:gd name="T4" fmla="*/ 0 w 921"/>
                  <a:gd name="T5" fmla="*/ 693 h 768"/>
                  <a:gd name="T6" fmla="*/ 610 w 921"/>
                  <a:gd name="T7" fmla="*/ 58 h 768"/>
                  <a:gd name="T8" fmla="*/ 610 w 921"/>
                  <a:gd name="T9" fmla="*/ 58 h 768"/>
                  <a:gd name="T10" fmla="*/ 913 w 921"/>
                  <a:gd name="T11" fmla="*/ 0 h 768"/>
                  <a:gd name="T12" fmla="*/ 920 w 921"/>
                  <a:gd name="T13" fmla="*/ 247 h 768"/>
                  <a:gd name="T14" fmla="*/ 920 w 921"/>
                  <a:gd name="T15" fmla="*/ 247 h 768"/>
                  <a:gd name="T16" fmla="*/ 693 w 921"/>
                  <a:gd name="T17" fmla="*/ 290 h 768"/>
                  <a:gd name="T18" fmla="*/ 693 w 921"/>
                  <a:gd name="T19" fmla="*/ 290 h 768"/>
                  <a:gd name="T20" fmla="*/ 236 w 921"/>
                  <a:gd name="T21" fmla="*/ 767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1" h="768">
                    <a:moveTo>
                      <a:pt x="236" y="767"/>
                    </a:moveTo>
                    <a:lnTo>
                      <a:pt x="0" y="693"/>
                    </a:lnTo>
                    <a:lnTo>
                      <a:pt x="0" y="693"/>
                    </a:lnTo>
                    <a:cubicBezTo>
                      <a:pt x="90" y="408"/>
                      <a:pt x="307" y="166"/>
                      <a:pt x="610" y="58"/>
                    </a:cubicBezTo>
                    <a:lnTo>
                      <a:pt x="610" y="58"/>
                    </a:lnTo>
                    <a:cubicBezTo>
                      <a:pt x="710" y="22"/>
                      <a:pt x="812" y="3"/>
                      <a:pt x="913" y="0"/>
                    </a:cubicBezTo>
                    <a:lnTo>
                      <a:pt x="920" y="247"/>
                    </a:lnTo>
                    <a:lnTo>
                      <a:pt x="920" y="247"/>
                    </a:lnTo>
                    <a:cubicBezTo>
                      <a:pt x="845" y="250"/>
                      <a:pt x="769" y="264"/>
                      <a:pt x="693" y="290"/>
                    </a:cubicBezTo>
                    <a:lnTo>
                      <a:pt x="693" y="290"/>
                    </a:lnTo>
                    <a:cubicBezTo>
                      <a:pt x="466" y="372"/>
                      <a:pt x="303" y="553"/>
                      <a:pt x="236" y="7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8" name="Freeform 128">
                <a:extLst>
                  <a:ext uri="{FF2B5EF4-FFF2-40B4-BE49-F238E27FC236}">
                    <a16:creationId xmlns:a16="http://schemas.microsoft.com/office/drawing/2014/main" id="{42407D7C-C5FF-3F4B-8904-9FCE64614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8866" y="5075591"/>
                <a:ext cx="230821" cy="486596"/>
              </a:xfrm>
              <a:custGeom>
                <a:avLst/>
                <a:gdLst>
                  <a:gd name="T0" fmla="*/ 326 w 327"/>
                  <a:gd name="T1" fmla="*/ 590 h 689"/>
                  <a:gd name="T2" fmla="*/ 99 w 327"/>
                  <a:gd name="T3" fmla="*/ 688 h 689"/>
                  <a:gd name="T4" fmla="*/ 99 w 327"/>
                  <a:gd name="T5" fmla="*/ 688 h 689"/>
                  <a:gd name="T6" fmla="*/ 75 w 327"/>
                  <a:gd name="T7" fmla="*/ 627 h 689"/>
                  <a:gd name="T8" fmla="*/ 75 w 327"/>
                  <a:gd name="T9" fmla="*/ 627 h 689"/>
                  <a:gd name="T10" fmla="*/ 62 w 327"/>
                  <a:gd name="T11" fmla="*/ 0 h 689"/>
                  <a:gd name="T12" fmla="*/ 298 w 327"/>
                  <a:gd name="T13" fmla="*/ 74 h 689"/>
                  <a:gd name="T14" fmla="*/ 298 w 327"/>
                  <a:gd name="T15" fmla="*/ 74 h 689"/>
                  <a:gd name="T16" fmla="*/ 308 w 327"/>
                  <a:gd name="T17" fmla="*/ 543 h 689"/>
                  <a:gd name="T18" fmla="*/ 308 w 327"/>
                  <a:gd name="T19" fmla="*/ 543 h 689"/>
                  <a:gd name="T20" fmla="*/ 326 w 327"/>
                  <a:gd name="T21" fmla="*/ 59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7" h="689">
                    <a:moveTo>
                      <a:pt x="326" y="590"/>
                    </a:moveTo>
                    <a:lnTo>
                      <a:pt x="99" y="688"/>
                    </a:lnTo>
                    <a:lnTo>
                      <a:pt x="99" y="688"/>
                    </a:lnTo>
                    <a:cubicBezTo>
                      <a:pt x="91" y="668"/>
                      <a:pt x="82" y="647"/>
                      <a:pt x="75" y="627"/>
                    </a:cubicBezTo>
                    <a:lnTo>
                      <a:pt x="75" y="627"/>
                    </a:lnTo>
                    <a:cubicBezTo>
                      <a:pt x="0" y="417"/>
                      <a:pt x="0" y="198"/>
                      <a:pt x="62" y="0"/>
                    </a:cubicBezTo>
                    <a:lnTo>
                      <a:pt x="298" y="74"/>
                    </a:lnTo>
                    <a:lnTo>
                      <a:pt x="298" y="74"/>
                    </a:lnTo>
                    <a:cubicBezTo>
                      <a:pt x="252" y="222"/>
                      <a:pt x="252" y="386"/>
                      <a:pt x="308" y="543"/>
                    </a:cubicBezTo>
                    <a:lnTo>
                      <a:pt x="308" y="543"/>
                    </a:lnTo>
                    <a:cubicBezTo>
                      <a:pt x="313" y="559"/>
                      <a:pt x="320" y="574"/>
                      <a:pt x="326" y="59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49" name="Freeform 129">
                <a:extLst>
                  <a:ext uri="{FF2B5EF4-FFF2-40B4-BE49-F238E27FC236}">
                    <a16:creationId xmlns:a16="http://schemas.microsoft.com/office/drawing/2014/main" id="{BFEAD0AF-3C1B-A141-B149-E403D8D2E8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7488" y="5493565"/>
                <a:ext cx="243299" cy="243299"/>
              </a:xfrm>
              <a:custGeom>
                <a:avLst/>
                <a:gdLst>
                  <a:gd name="T0" fmla="*/ 153 w 343"/>
                  <a:gd name="T1" fmla="*/ 344 h 345"/>
                  <a:gd name="T2" fmla="*/ 153 w 343"/>
                  <a:gd name="T3" fmla="*/ 344 h 345"/>
                  <a:gd name="T4" fmla="*/ 0 w 343"/>
                  <a:gd name="T5" fmla="*/ 98 h 345"/>
                  <a:gd name="T6" fmla="*/ 227 w 343"/>
                  <a:gd name="T7" fmla="*/ 0 h 345"/>
                  <a:gd name="T8" fmla="*/ 227 w 343"/>
                  <a:gd name="T9" fmla="*/ 0 h 345"/>
                  <a:gd name="T10" fmla="*/ 342 w 343"/>
                  <a:gd name="T11" fmla="*/ 184 h 345"/>
                  <a:gd name="T12" fmla="*/ 153 w 343"/>
                  <a:gd name="T13" fmla="*/ 34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45">
                    <a:moveTo>
                      <a:pt x="153" y="344"/>
                    </a:moveTo>
                    <a:lnTo>
                      <a:pt x="153" y="344"/>
                    </a:lnTo>
                    <a:cubicBezTo>
                      <a:pt x="92" y="272"/>
                      <a:pt x="40" y="189"/>
                      <a:pt x="0" y="98"/>
                    </a:cubicBezTo>
                    <a:lnTo>
                      <a:pt x="227" y="0"/>
                    </a:lnTo>
                    <a:lnTo>
                      <a:pt x="227" y="0"/>
                    </a:lnTo>
                    <a:cubicBezTo>
                      <a:pt x="256" y="68"/>
                      <a:pt x="295" y="130"/>
                      <a:pt x="342" y="184"/>
                    </a:cubicBezTo>
                    <a:lnTo>
                      <a:pt x="153" y="34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0" name="Freeform 130">
                <a:extLst>
                  <a:ext uri="{FF2B5EF4-FFF2-40B4-BE49-F238E27FC236}">
                    <a16:creationId xmlns:a16="http://schemas.microsoft.com/office/drawing/2014/main" id="{E95FCEA7-B95B-8E40-83D8-976226EFE6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5449896"/>
                <a:ext cx="577054" cy="577052"/>
              </a:xfrm>
              <a:custGeom>
                <a:avLst/>
                <a:gdLst>
                  <a:gd name="T0" fmla="*/ 816 w 817"/>
                  <a:gd name="T1" fmla="*/ 421 h 816"/>
                  <a:gd name="T2" fmla="*/ 777 w 817"/>
                  <a:gd name="T3" fmla="*/ 582 h 816"/>
                  <a:gd name="T4" fmla="*/ 440 w 817"/>
                  <a:gd name="T5" fmla="*/ 815 h 816"/>
                  <a:gd name="T6" fmla="*/ 376 w 817"/>
                  <a:gd name="T7" fmla="*/ 815 h 816"/>
                  <a:gd name="T8" fmla="*/ 259 w 817"/>
                  <a:gd name="T9" fmla="*/ 788 h 816"/>
                  <a:gd name="T10" fmla="*/ 233 w 817"/>
                  <a:gd name="T11" fmla="*/ 777 h 816"/>
                  <a:gd name="T12" fmla="*/ 47 w 817"/>
                  <a:gd name="T13" fmla="*/ 598 h 816"/>
                  <a:gd name="T14" fmla="*/ 0 w 817"/>
                  <a:gd name="T15" fmla="*/ 423 h 816"/>
                  <a:gd name="T16" fmla="*/ 0 w 817"/>
                  <a:gd name="T17" fmla="*/ 392 h 816"/>
                  <a:gd name="T18" fmla="*/ 39 w 817"/>
                  <a:gd name="T19" fmla="*/ 234 h 816"/>
                  <a:gd name="T20" fmla="*/ 111 w 817"/>
                  <a:gd name="T21" fmla="*/ 128 h 816"/>
                  <a:gd name="T22" fmla="*/ 408 w 817"/>
                  <a:gd name="T23" fmla="*/ 0 h 816"/>
                  <a:gd name="T24" fmla="*/ 583 w 817"/>
                  <a:gd name="T25" fmla="*/ 39 h 816"/>
                  <a:gd name="T26" fmla="*/ 816 w 817"/>
                  <a:gd name="T27" fmla="*/ 394 h 816"/>
                  <a:gd name="T28" fmla="*/ 816 w 817"/>
                  <a:gd name="T29" fmla="*/ 421 h 816"/>
                  <a:gd name="T30" fmla="*/ 408 w 817"/>
                  <a:gd name="T31" fmla="*/ 714 h 816"/>
                  <a:gd name="T32" fmla="*/ 685 w 817"/>
                  <a:gd name="T33" fmla="*/ 539 h 816"/>
                  <a:gd name="T34" fmla="*/ 539 w 817"/>
                  <a:gd name="T35" fmla="*/ 131 h 816"/>
                  <a:gd name="T36" fmla="*/ 185 w 817"/>
                  <a:gd name="T37" fmla="*/ 198 h 816"/>
                  <a:gd name="T38" fmla="*/ 159 w 817"/>
                  <a:gd name="T39" fmla="*/ 230 h 816"/>
                  <a:gd name="T40" fmla="*/ 132 w 817"/>
                  <a:gd name="T41" fmla="*/ 277 h 816"/>
                  <a:gd name="T42" fmla="*/ 137 w 817"/>
                  <a:gd name="T43" fmla="*/ 550 h 816"/>
                  <a:gd name="T44" fmla="*/ 277 w 817"/>
                  <a:gd name="T45" fmla="*/ 685 h 816"/>
                  <a:gd name="T46" fmla="*/ 296 w 817"/>
                  <a:gd name="T47" fmla="*/ 693 h 816"/>
                  <a:gd name="T48" fmla="*/ 384 w 817"/>
                  <a:gd name="T49" fmla="*/ 713 h 816"/>
                  <a:gd name="T50" fmla="*/ 408 w 817"/>
                  <a:gd name="T51" fmla="*/ 714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17" h="816">
                    <a:moveTo>
                      <a:pt x="816" y="421"/>
                    </a:moveTo>
                    <a:cubicBezTo>
                      <a:pt x="814" y="475"/>
                      <a:pt x="802" y="530"/>
                      <a:pt x="777" y="582"/>
                    </a:cubicBezTo>
                    <a:cubicBezTo>
                      <a:pt x="713" y="719"/>
                      <a:pt x="581" y="804"/>
                      <a:pt x="440" y="815"/>
                    </a:cubicBezTo>
                    <a:lnTo>
                      <a:pt x="376" y="815"/>
                    </a:lnTo>
                    <a:cubicBezTo>
                      <a:pt x="336" y="812"/>
                      <a:pt x="297" y="803"/>
                      <a:pt x="259" y="788"/>
                    </a:cubicBezTo>
                    <a:cubicBezTo>
                      <a:pt x="251" y="784"/>
                      <a:pt x="242" y="781"/>
                      <a:pt x="233" y="777"/>
                    </a:cubicBezTo>
                    <a:cubicBezTo>
                      <a:pt x="150" y="737"/>
                      <a:pt x="87" y="673"/>
                      <a:pt x="47" y="598"/>
                    </a:cubicBezTo>
                    <a:cubicBezTo>
                      <a:pt x="19" y="544"/>
                      <a:pt x="3" y="484"/>
                      <a:pt x="0" y="423"/>
                    </a:cubicBezTo>
                    <a:lnTo>
                      <a:pt x="0" y="392"/>
                    </a:lnTo>
                    <a:cubicBezTo>
                      <a:pt x="2" y="339"/>
                      <a:pt x="15" y="285"/>
                      <a:pt x="39" y="234"/>
                    </a:cubicBezTo>
                    <a:cubicBezTo>
                      <a:pt x="58" y="194"/>
                      <a:pt x="82" y="158"/>
                      <a:pt x="111" y="128"/>
                    </a:cubicBezTo>
                    <a:cubicBezTo>
                      <a:pt x="188" y="46"/>
                      <a:pt x="297" y="0"/>
                      <a:pt x="408" y="0"/>
                    </a:cubicBezTo>
                    <a:cubicBezTo>
                      <a:pt x="467" y="0"/>
                      <a:pt x="527" y="12"/>
                      <a:pt x="583" y="39"/>
                    </a:cubicBezTo>
                    <a:cubicBezTo>
                      <a:pt x="726" y="106"/>
                      <a:pt x="812" y="246"/>
                      <a:pt x="816" y="394"/>
                    </a:cubicBezTo>
                    <a:lnTo>
                      <a:pt x="816" y="421"/>
                    </a:lnTo>
                    <a:close/>
                    <a:moveTo>
                      <a:pt x="408" y="714"/>
                    </a:moveTo>
                    <a:cubicBezTo>
                      <a:pt x="523" y="714"/>
                      <a:pt x="633" y="649"/>
                      <a:pt x="685" y="539"/>
                    </a:cubicBezTo>
                    <a:cubicBezTo>
                      <a:pt x="757" y="386"/>
                      <a:pt x="692" y="204"/>
                      <a:pt x="539" y="131"/>
                    </a:cubicBezTo>
                    <a:cubicBezTo>
                      <a:pt x="416" y="73"/>
                      <a:pt x="274" y="104"/>
                      <a:pt x="185" y="198"/>
                    </a:cubicBezTo>
                    <a:cubicBezTo>
                      <a:pt x="176" y="207"/>
                      <a:pt x="167" y="218"/>
                      <a:pt x="159" y="230"/>
                    </a:cubicBezTo>
                    <a:cubicBezTo>
                      <a:pt x="149" y="244"/>
                      <a:pt x="140" y="260"/>
                      <a:pt x="132" y="277"/>
                    </a:cubicBezTo>
                    <a:cubicBezTo>
                      <a:pt x="89" y="368"/>
                      <a:pt x="94" y="468"/>
                      <a:pt x="137" y="550"/>
                    </a:cubicBezTo>
                    <a:cubicBezTo>
                      <a:pt x="167" y="607"/>
                      <a:pt x="215" y="655"/>
                      <a:pt x="277" y="685"/>
                    </a:cubicBezTo>
                    <a:cubicBezTo>
                      <a:pt x="283" y="687"/>
                      <a:pt x="290" y="691"/>
                      <a:pt x="296" y="693"/>
                    </a:cubicBezTo>
                    <a:cubicBezTo>
                      <a:pt x="325" y="704"/>
                      <a:pt x="354" y="711"/>
                      <a:pt x="384" y="713"/>
                    </a:cubicBezTo>
                    <a:cubicBezTo>
                      <a:pt x="392" y="714"/>
                      <a:pt x="400" y="714"/>
                      <a:pt x="408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1" name="Freeform 131">
                <a:extLst>
                  <a:ext uri="{FF2B5EF4-FFF2-40B4-BE49-F238E27FC236}">
                    <a16:creationId xmlns:a16="http://schemas.microsoft.com/office/drawing/2014/main" id="{C23D0BE9-6F96-3D47-B02B-562D395EC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70" y="5540353"/>
                <a:ext cx="131007" cy="333756"/>
              </a:xfrm>
              <a:custGeom>
                <a:avLst/>
                <a:gdLst>
                  <a:gd name="T0" fmla="*/ 0 w 186"/>
                  <a:gd name="T1" fmla="*/ 264 h 471"/>
                  <a:gd name="T2" fmla="*/ 39 w 186"/>
                  <a:gd name="T3" fmla="*/ 106 h 471"/>
                  <a:gd name="T4" fmla="*/ 111 w 186"/>
                  <a:gd name="T5" fmla="*/ 0 h 471"/>
                  <a:gd name="T6" fmla="*/ 185 w 186"/>
                  <a:gd name="T7" fmla="*/ 70 h 471"/>
                  <a:gd name="T8" fmla="*/ 132 w 186"/>
                  <a:gd name="T9" fmla="*/ 149 h 471"/>
                  <a:gd name="T10" fmla="*/ 137 w 186"/>
                  <a:gd name="T11" fmla="*/ 422 h 471"/>
                  <a:gd name="T12" fmla="*/ 47 w 186"/>
                  <a:gd name="T13" fmla="*/ 470 h 471"/>
                  <a:gd name="T14" fmla="*/ 0 w 186"/>
                  <a:gd name="T15" fmla="*/ 295 h 471"/>
                  <a:gd name="T16" fmla="*/ 0 w 186"/>
                  <a:gd name="T17" fmla="*/ 264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471">
                    <a:moveTo>
                      <a:pt x="0" y="264"/>
                    </a:moveTo>
                    <a:cubicBezTo>
                      <a:pt x="2" y="211"/>
                      <a:pt x="15" y="157"/>
                      <a:pt x="39" y="106"/>
                    </a:cubicBezTo>
                    <a:cubicBezTo>
                      <a:pt x="58" y="66"/>
                      <a:pt x="82" y="30"/>
                      <a:pt x="111" y="0"/>
                    </a:cubicBezTo>
                    <a:lnTo>
                      <a:pt x="185" y="70"/>
                    </a:lnTo>
                    <a:cubicBezTo>
                      <a:pt x="164" y="92"/>
                      <a:pt x="146" y="119"/>
                      <a:pt x="132" y="149"/>
                    </a:cubicBezTo>
                    <a:cubicBezTo>
                      <a:pt x="89" y="240"/>
                      <a:pt x="94" y="340"/>
                      <a:pt x="137" y="422"/>
                    </a:cubicBezTo>
                    <a:lnTo>
                      <a:pt x="47" y="470"/>
                    </a:lnTo>
                    <a:cubicBezTo>
                      <a:pt x="19" y="416"/>
                      <a:pt x="3" y="356"/>
                      <a:pt x="0" y="295"/>
                    </a:cubicBezTo>
                    <a:lnTo>
                      <a:pt x="0" y="264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2" name="Freeform 132">
                <a:extLst>
                  <a:ext uri="{FF2B5EF4-FFF2-40B4-BE49-F238E27FC236}">
                    <a16:creationId xmlns:a16="http://schemas.microsoft.com/office/drawing/2014/main" id="{1B400A3A-8A86-7B4D-9616-CBAA9CC5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42782" y="5836678"/>
                <a:ext cx="177793" cy="168437"/>
              </a:xfrm>
              <a:custGeom>
                <a:avLst/>
                <a:gdLst>
                  <a:gd name="T0" fmla="*/ 249 w 250"/>
                  <a:gd name="T1" fmla="*/ 143 h 239"/>
                  <a:gd name="T2" fmla="*/ 212 w 250"/>
                  <a:gd name="T3" fmla="*/ 238 h 239"/>
                  <a:gd name="T4" fmla="*/ 212 w 250"/>
                  <a:gd name="T5" fmla="*/ 238 h 239"/>
                  <a:gd name="T6" fmla="*/ 186 w 250"/>
                  <a:gd name="T7" fmla="*/ 227 h 239"/>
                  <a:gd name="T8" fmla="*/ 186 w 250"/>
                  <a:gd name="T9" fmla="*/ 227 h 239"/>
                  <a:gd name="T10" fmla="*/ 0 w 250"/>
                  <a:gd name="T11" fmla="*/ 48 h 239"/>
                  <a:gd name="T12" fmla="*/ 90 w 250"/>
                  <a:gd name="T13" fmla="*/ 0 h 239"/>
                  <a:gd name="T14" fmla="*/ 90 w 250"/>
                  <a:gd name="T15" fmla="*/ 0 h 239"/>
                  <a:gd name="T16" fmla="*/ 230 w 250"/>
                  <a:gd name="T17" fmla="*/ 135 h 239"/>
                  <a:gd name="T18" fmla="*/ 230 w 250"/>
                  <a:gd name="T19" fmla="*/ 135 h 239"/>
                  <a:gd name="T20" fmla="*/ 249 w 250"/>
                  <a:gd name="T21" fmla="*/ 14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39">
                    <a:moveTo>
                      <a:pt x="249" y="143"/>
                    </a:moveTo>
                    <a:lnTo>
                      <a:pt x="212" y="238"/>
                    </a:lnTo>
                    <a:lnTo>
                      <a:pt x="212" y="238"/>
                    </a:lnTo>
                    <a:cubicBezTo>
                      <a:pt x="204" y="234"/>
                      <a:pt x="195" y="231"/>
                      <a:pt x="186" y="227"/>
                    </a:cubicBezTo>
                    <a:lnTo>
                      <a:pt x="186" y="227"/>
                    </a:lnTo>
                    <a:cubicBezTo>
                      <a:pt x="103" y="187"/>
                      <a:pt x="40" y="123"/>
                      <a:pt x="0" y="48"/>
                    </a:cubicBezTo>
                    <a:lnTo>
                      <a:pt x="90" y="0"/>
                    </a:lnTo>
                    <a:lnTo>
                      <a:pt x="90" y="0"/>
                    </a:lnTo>
                    <a:cubicBezTo>
                      <a:pt x="120" y="57"/>
                      <a:pt x="168" y="105"/>
                      <a:pt x="230" y="135"/>
                    </a:cubicBezTo>
                    <a:lnTo>
                      <a:pt x="230" y="135"/>
                    </a:lnTo>
                    <a:cubicBezTo>
                      <a:pt x="236" y="137"/>
                      <a:pt x="243" y="141"/>
                      <a:pt x="249" y="14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3" name="Freeform 133">
                <a:extLst>
                  <a:ext uri="{FF2B5EF4-FFF2-40B4-BE49-F238E27FC236}">
                    <a16:creationId xmlns:a16="http://schemas.microsoft.com/office/drawing/2014/main" id="{01E74451-6E54-8F4D-92A0-D850B6D4CA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570279"/>
                <a:ext cx="577054" cy="617603"/>
              </a:xfrm>
              <a:custGeom>
                <a:avLst/>
                <a:gdLst>
                  <a:gd name="T0" fmla="*/ 813 w 814"/>
                  <a:gd name="T1" fmla="*/ 454 h 875"/>
                  <a:gd name="T2" fmla="*/ 776 w 814"/>
                  <a:gd name="T3" fmla="*/ 583 h 875"/>
                  <a:gd name="T4" fmla="*/ 232 w 814"/>
                  <a:gd name="T5" fmla="*/ 777 h 875"/>
                  <a:gd name="T6" fmla="*/ 0 w 814"/>
                  <a:gd name="T7" fmla="*/ 439 h 875"/>
                  <a:gd name="T8" fmla="*/ 0 w 814"/>
                  <a:gd name="T9" fmla="*/ 376 h 875"/>
                  <a:gd name="T10" fmla="*/ 28 w 814"/>
                  <a:gd name="T11" fmla="*/ 259 h 875"/>
                  <a:gd name="T12" fmla="*/ 38 w 814"/>
                  <a:gd name="T13" fmla="*/ 234 h 875"/>
                  <a:gd name="T14" fmla="*/ 218 w 814"/>
                  <a:gd name="T15" fmla="*/ 47 h 875"/>
                  <a:gd name="T16" fmla="*/ 407 w 814"/>
                  <a:gd name="T17" fmla="*/ 0 h 875"/>
                  <a:gd name="T18" fmla="*/ 582 w 814"/>
                  <a:gd name="T19" fmla="*/ 39 h 875"/>
                  <a:gd name="T20" fmla="*/ 688 w 814"/>
                  <a:gd name="T21" fmla="*/ 111 h 875"/>
                  <a:gd name="T22" fmla="*/ 813 w 814"/>
                  <a:gd name="T23" fmla="*/ 361 h 875"/>
                  <a:gd name="T24" fmla="*/ 813 w 814"/>
                  <a:gd name="T25" fmla="*/ 454 h 875"/>
                  <a:gd name="T26" fmla="*/ 407 w 814"/>
                  <a:gd name="T27" fmla="*/ 714 h 875"/>
                  <a:gd name="T28" fmla="*/ 684 w 814"/>
                  <a:gd name="T29" fmla="*/ 540 h 875"/>
                  <a:gd name="T30" fmla="*/ 617 w 814"/>
                  <a:gd name="T31" fmla="*/ 185 h 875"/>
                  <a:gd name="T32" fmla="*/ 538 w 814"/>
                  <a:gd name="T33" fmla="*/ 132 h 875"/>
                  <a:gd name="T34" fmla="*/ 265 w 814"/>
                  <a:gd name="T35" fmla="*/ 137 h 875"/>
                  <a:gd name="T36" fmla="*/ 229 w 814"/>
                  <a:gd name="T37" fmla="*/ 160 h 875"/>
                  <a:gd name="T38" fmla="*/ 131 w 814"/>
                  <a:gd name="T39" fmla="*/ 278 h 875"/>
                  <a:gd name="T40" fmla="*/ 123 w 814"/>
                  <a:gd name="T41" fmla="*/ 296 h 875"/>
                  <a:gd name="T42" fmla="*/ 102 w 814"/>
                  <a:gd name="T43" fmla="*/ 384 h 875"/>
                  <a:gd name="T44" fmla="*/ 276 w 814"/>
                  <a:gd name="T45" fmla="*/ 685 h 875"/>
                  <a:gd name="T46" fmla="*/ 407 w 814"/>
                  <a:gd name="T47" fmla="*/ 714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4" h="875">
                    <a:moveTo>
                      <a:pt x="813" y="454"/>
                    </a:moveTo>
                    <a:cubicBezTo>
                      <a:pt x="808" y="498"/>
                      <a:pt x="796" y="541"/>
                      <a:pt x="776" y="583"/>
                    </a:cubicBezTo>
                    <a:cubicBezTo>
                      <a:pt x="680" y="787"/>
                      <a:pt x="437" y="874"/>
                      <a:pt x="232" y="777"/>
                    </a:cubicBezTo>
                    <a:cubicBezTo>
                      <a:pt x="96" y="712"/>
                      <a:pt x="11" y="581"/>
                      <a:pt x="0" y="439"/>
                    </a:cubicBezTo>
                    <a:lnTo>
                      <a:pt x="0" y="376"/>
                    </a:lnTo>
                    <a:cubicBezTo>
                      <a:pt x="3" y="336"/>
                      <a:pt x="12" y="297"/>
                      <a:pt x="28" y="259"/>
                    </a:cubicBezTo>
                    <a:cubicBezTo>
                      <a:pt x="30" y="250"/>
                      <a:pt x="34" y="242"/>
                      <a:pt x="38" y="234"/>
                    </a:cubicBezTo>
                    <a:cubicBezTo>
                      <a:pt x="78" y="150"/>
                      <a:pt x="142" y="87"/>
                      <a:pt x="218" y="47"/>
                    </a:cubicBezTo>
                    <a:cubicBezTo>
                      <a:pt x="276" y="16"/>
                      <a:pt x="341" y="0"/>
                      <a:pt x="407" y="0"/>
                    </a:cubicBezTo>
                    <a:cubicBezTo>
                      <a:pt x="466" y="0"/>
                      <a:pt x="526" y="13"/>
                      <a:pt x="582" y="39"/>
                    </a:cubicBezTo>
                    <a:cubicBezTo>
                      <a:pt x="622" y="58"/>
                      <a:pt x="657" y="83"/>
                      <a:pt x="688" y="111"/>
                    </a:cubicBezTo>
                    <a:cubicBezTo>
                      <a:pt x="759" y="177"/>
                      <a:pt x="802" y="267"/>
                      <a:pt x="813" y="361"/>
                    </a:cubicBezTo>
                    <a:lnTo>
                      <a:pt x="813" y="454"/>
                    </a:lnTo>
                    <a:close/>
                    <a:moveTo>
                      <a:pt x="407" y="714"/>
                    </a:moveTo>
                    <a:cubicBezTo>
                      <a:pt x="522" y="714"/>
                      <a:pt x="632" y="650"/>
                      <a:pt x="684" y="540"/>
                    </a:cubicBezTo>
                    <a:cubicBezTo>
                      <a:pt x="742" y="416"/>
                      <a:pt x="711" y="274"/>
                      <a:pt x="617" y="185"/>
                    </a:cubicBezTo>
                    <a:cubicBezTo>
                      <a:pt x="594" y="164"/>
                      <a:pt x="568" y="146"/>
                      <a:pt x="538" y="132"/>
                    </a:cubicBezTo>
                    <a:cubicBezTo>
                      <a:pt x="448" y="89"/>
                      <a:pt x="347" y="94"/>
                      <a:pt x="265" y="137"/>
                    </a:cubicBezTo>
                    <a:cubicBezTo>
                      <a:pt x="253" y="143"/>
                      <a:pt x="240" y="151"/>
                      <a:pt x="229" y="160"/>
                    </a:cubicBezTo>
                    <a:cubicBezTo>
                      <a:pt x="188" y="189"/>
                      <a:pt x="154" y="229"/>
                      <a:pt x="131" y="278"/>
                    </a:cubicBezTo>
                    <a:cubicBezTo>
                      <a:pt x="128" y="284"/>
                      <a:pt x="125" y="290"/>
                      <a:pt x="123" y="296"/>
                    </a:cubicBezTo>
                    <a:cubicBezTo>
                      <a:pt x="111" y="325"/>
                      <a:pt x="104" y="355"/>
                      <a:pt x="102" y="384"/>
                    </a:cubicBezTo>
                    <a:cubicBezTo>
                      <a:pt x="92" y="507"/>
                      <a:pt x="158" y="629"/>
                      <a:pt x="276" y="685"/>
                    </a:cubicBezTo>
                    <a:cubicBezTo>
                      <a:pt x="319" y="705"/>
                      <a:pt x="363" y="714"/>
                      <a:pt x="407" y="7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4" name="Freeform 134">
                <a:extLst>
                  <a:ext uri="{FF2B5EF4-FFF2-40B4-BE49-F238E27FC236}">
                    <a16:creationId xmlns:a16="http://schemas.microsoft.com/office/drawing/2014/main" id="{E0A66FB7-5980-884D-A3A3-207A81151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64430" y="4570279"/>
                <a:ext cx="333756" cy="131007"/>
              </a:xfrm>
              <a:custGeom>
                <a:avLst/>
                <a:gdLst>
                  <a:gd name="T0" fmla="*/ 206 w 471"/>
                  <a:gd name="T1" fmla="*/ 0 h 186"/>
                  <a:gd name="T2" fmla="*/ 364 w 471"/>
                  <a:gd name="T3" fmla="*/ 39 h 186"/>
                  <a:gd name="T4" fmla="*/ 470 w 471"/>
                  <a:gd name="T5" fmla="*/ 111 h 186"/>
                  <a:gd name="T6" fmla="*/ 399 w 471"/>
                  <a:gd name="T7" fmla="*/ 185 h 186"/>
                  <a:gd name="T8" fmla="*/ 320 w 471"/>
                  <a:gd name="T9" fmla="*/ 132 h 186"/>
                  <a:gd name="T10" fmla="*/ 47 w 471"/>
                  <a:gd name="T11" fmla="*/ 137 h 186"/>
                  <a:gd name="T12" fmla="*/ 0 w 471"/>
                  <a:gd name="T13" fmla="*/ 47 h 186"/>
                  <a:gd name="T14" fmla="*/ 175 w 471"/>
                  <a:gd name="T15" fmla="*/ 0 h 186"/>
                  <a:gd name="T16" fmla="*/ 206 w 471"/>
                  <a:gd name="T17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1" h="186">
                    <a:moveTo>
                      <a:pt x="206" y="0"/>
                    </a:moveTo>
                    <a:cubicBezTo>
                      <a:pt x="259" y="2"/>
                      <a:pt x="313" y="14"/>
                      <a:pt x="364" y="39"/>
                    </a:cubicBezTo>
                    <a:cubicBezTo>
                      <a:pt x="404" y="58"/>
                      <a:pt x="439" y="83"/>
                      <a:pt x="470" y="111"/>
                    </a:cubicBezTo>
                    <a:lnTo>
                      <a:pt x="399" y="185"/>
                    </a:lnTo>
                    <a:cubicBezTo>
                      <a:pt x="377" y="164"/>
                      <a:pt x="350" y="146"/>
                      <a:pt x="320" y="132"/>
                    </a:cubicBezTo>
                    <a:cubicBezTo>
                      <a:pt x="230" y="89"/>
                      <a:pt x="129" y="94"/>
                      <a:pt x="47" y="137"/>
                    </a:cubicBezTo>
                    <a:lnTo>
                      <a:pt x="0" y="47"/>
                    </a:lnTo>
                    <a:cubicBezTo>
                      <a:pt x="54" y="18"/>
                      <a:pt x="113" y="2"/>
                      <a:pt x="175" y="0"/>
                    </a:cubicBezTo>
                    <a:lnTo>
                      <a:pt x="206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5EA49BCB-FCB9-FE4D-9B2E-8548B3CA04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08469" y="4601472"/>
                <a:ext cx="189565" cy="239460"/>
              </a:xfrm>
              <a:custGeom>
                <a:avLst/>
                <a:gdLst>
                  <a:gd name="connsiteX0" fmla="*/ 144331 w 175046"/>
                  <a:gd name="connsiteY0" fmla="*/ 0 h 221119"/>
                  <a:gd name="connsiteX1" fmla="*/ 175046 w 175046"/>
                  <a:gd name="connsiteY1" fmla="*/ 59103 h 221119"/>
                  <a:gd name="connsiteX2" fmla="*/ 87476 w 175046"/>
                  <a:gd name="connsiteY2" fmla="*/ 151699 h 221119"/>
                  <a:gd name="connsiteX3" fmla="*/ 82248 w 175046"/>
                  <a:gd name="connsiteY3" fmla="*/ 163520 h 221119"/>
                  <a:gd name="connsiteX4" fmla="*/ 54443 w 175046"/>
                  <a:gd name="connsiteY4" fmla="*/ 152638 h 221119"/>
                  <a:gd name="connsiteX5" fmla="*/ 79998 w 175046"/>
                  <a:gd name="connsiteY5" fmla="*/ 162782 h 221119"/>
                  <a:gd name="connsiteX6" fmla="*/ 66339 w 175046"/>
                  <a:gd name="connsiteY6" fmla="*/ 221119 h 221119"/>
                  <a:gd name="connsiteX7" fmla="*/ 0 w 175046"/>
                  <a:gd name="connsiteY7" fmla="*/ 215816 h 221119"/>
                  <a:gd name="connsiteX8" fmla="*/ 18211 w 175046"/>
                  <a:gd name="connsiteY8" fmla="*/ 138254 h 221119"/>
                  <a:gd name="connsiteX9" fmla="*/ 20230 w 175046"/>
                  <a:gd name="connsiteY9" fmla="*/ 139056 h 221119"/>
                  <a:gd name="connsiteX10" fmla="*/ 26699 w 175046"/>
                  <a:gd name="connsiteY10" fmla="*/ 122804 h 221119"/>
                  <a:gd name="connsiteX11" fmla="*/ 144331 w 175046"/>
                  <a:gd name="connsiteY11" fmla="*/ 0 h 22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046" h="221119">
                    <a:moveTo>
                      <a:pt x="144331" y="0"/>
                    </a:moveTo>
                    <a:lnTo>
                      <a:pt x="175046" y="59103"/>
                    </a:lnTo>
                    <a:cubicBezTo>
                      <a:pt x="137796" y="78805"/>
                      <a:pt x="106428" y="110326"/>
                      <a:pt x="87476" y="151699"/>
                    </a:cubicBezTo>
                    <a:cubicBezTo>
                      <a:pt x="85515" y="155639"/>
                      <a:pt x="83555" y="159579"/>
                      <a:pt x="82248" y="163520"/>
                    </a:cubicBezTo>
                    <a:lnTo>
                      <a:pt x="54443" y="152638"/>
                    </a:lnTo>
                    <a:lnTo>
                      <a:pt x="79998" y="162782"/>
                    </a:lnTo>
                    <a:cubicBezTo>
                      <a:pt x="72193" y="182007"/>
                      <a:pt x="67640" y="201895"/>
                      <a:pt x="66339" y="221119"/>
                    </a:cubicBezTo>
                    <a:lnTo>
                      <a:pt x="0" y="215816"/>
                    </a:lnTo>
                    <a:cubicBezTo>
                      <a:pt x="1951" y="189299"/>
                      <a:pt x="7805" y="163445"/>
                      <a:pt x="18211" y="138254"/>
                    </a:cubicBezTo>
                    <a:lnTo>
                      <a:pt x="20230" y="139056"/>
                    </a:lnTo>
                    <a:lnTo>
                      <a:pt x="26699" y="122804"/>
                    </a:lnTo>
                    <a:cubicBezTo>
                      <a:pt x="52840" y="67641"/>
                      <a:pt x="94664" y="26268"/>
                      <a:pt x="14433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93ADF46C-4451-4E4E-9C4A-2DCF22DE0767}"/>
                  </a:ext>
                </a:extLst>
              </p:cNvPr>
              <p:cNvSpPr/>
              <p:nvPr/>
            </p:nvSpPr>
            <p:spPr>
              <a:xfrm>
                <a:off x="8999697" y="3019220"/>
                <a:ext cx="957138" cy="469507"/>
              </a:xfrm>
              <a:custGeom>
                <a:avLst/>
                <a:gdLst>
                  <a:gd name="connsiteX0" fmla="*/ 0 w 883829"/>
                  <a:gd name="connsiteY0" fmla="*/ 342107 h 433547"/>
                  <a:gd name="connsiteX1" fmla="*/ 883829 w 883829"/>
                  <a:gd name="connsiteY1" fmla="*/ 342107 h 433547"/>
                  <a:gd name="connsiteX2" fmla="*/ 883829 w 883829"/>
                  <a:gd name="connsiteY2" fmla="*/ 433547 h 433547"/>
                  <a:gd name="connsiteX3" fmla="*/ 0 w 883829"/>
                  <a:gd name="connsiteY3" fmla="*/ 433547 h 433547"/>
                  <a:gd name="connsiteX4" fmla="*/ 0 w 883829"/>
                  <a:gd name="connsiteY4" fmla="*/ 171054 h 433547"/>
                  <a:gd name="connsiteX5" fmla="*/ 883829 w 883829"/>
                  <a:gd name="connsiteY5" fmla="*/ 171054 h 433547"/>
                  <a:gd name="connsiteX6" fmla="*/ 883829 w 883829"/>
                  <a:gd name="connsiteY6" fmla="*/ 262494 h 433547"/>
                  <a:gd name="connsiteX7" fmla="*/ 0 w 883829"/>
                  <a:gd name="connsiteY7" fmla="*/ 262494 h 433547"/>
                  <a:gd name="connsiteX8" fmla="*/ 0 w 883829"/>
                  <a:gd name="connsiteY8" fmla="*/ 0 h 433547"/>
                  <a:gd name="connsiteX9" fmla="*/ 883829 w 883829"/>
                  <a:gd name="connsiteY9" fmla="*/ 0 h 433547"/>
                  <a:gd name="connsiteX10" fmla="*/ 883829 w 883829"/>
                  <a:gd name="connsiteY10" fmla="*/ 91440 h 433547"/>
                  <a:gd name="connsiteX11" fmla="*/ 0 w 883829"/>
                  <a:gd name="connsiteY11" fmla="*/ 91440 h 433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3829" h="433547">
                    <a:moveTo>
                      <a:pt x="0" y="342107"/>
                    </a:moveTo>
                    <a:lnTo>
                      <a:pt x="883829" y="342107"/>
                    </a:lnTo>
                    <a:lnTo>
                      <a:pt x="883829" y="433547"/>
                    </a:lnTo>
                    <a:lnTo>
                      <a:pt x="0" y="433547"/>
                    </a:lnTo>
                    <a:close/>
                    <a:moveTo>
                      <a:pt x="0" y="171054"/>
                    </a:moveTo>
                    <a:lnTo>
                      <a:pt x="883829" y="171054"/>
                    </a:lnTo>
                    <a:lnTo>
                      <a:pt x="883829" y="262494"/>
                    </a:lnTo>
                    <a:lnTo>
                      <a:pt x="0" y="262494"/>
                    </a:lnTo>
                    <a:close/>
                    <a:moveTo>
                      <a:pt x="0" y="0"/>
                    </a:moveTo>
                    <a:lnTo>
                      <a:pt x="883829" y="0"/>
                    </a:lnTo>
                    <a:lnTo>
                      <a:pt x="883829" y="91440"/>
                    </a:lnTo>
                    <a:lnTo>
                      <a:pt x="0" y="914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4D6B2925-5FDE-7A4B-ACAA-CA0B653BED0B}"/>
                  </a:ext>
                </a:extLst>
              </p:cNvPr>
              <p:cNvSpPr/>
              <p:nvPr/>
            </p:nvSpPr>
            <p:spPr>
              <a:xfrm>
                <a:off x="10121444" y="3003934"/>
                <a:ext cx="495643" cy="495643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9B57F73E-CEA1-7A4F-8E9C-DE78444E79A0}"/>
                  </a:ext>
                </a:extLst>
              </p:cNvPr>
              <p:cNvSpPr/>
              <p:nvPr/>
            </p:nvSpPr>
            <p:spPr>
              <a:xfrm>
                <a:off x="9023203" y="3978419"/>
                <a:ext cx="2196267" cy="2676420"/>
              </a:xfrm>
              <a:custGeom>
                <a:avLst/>
                <a:gdLst>
                  <a:gd name="connsiteX0" fmla="*/ 1841976 w 2028052"/>
                  <a:gd name="connsiteY0" fmla="*/ 2379989 h 2471429"/>
                  <a:gd name="connsiteX1" fmla="*/ 2024856 w 2028052"/>
                  <a:gd name="connsiteY1" fmla="*/ 2379989 h 2471429"/>
                  <a:gd name="connsiteX2" fmla="*/ 2024856 w 2028052"/>
                  <a:gd name="connsiteY2" fmla="*/ 2471429 h 2471429"/>
                  <a:gd name="connsiteX3" fmla="*/ 1841976 w 2028052"/>
                  <a:gd name="connsiteY3" fmla="*/ 2471429 h 2471429"/>
                  <a:gd name="connsiteX4" fmla="*/ 842136 w 2028052"/>
                  <a:gd name="connsiteY4" fmla="*/ 2379989 h 2471429"/>
                  <a:gd name="connsiteX5" fmla="*/ 1725965 w 2028052"/>
                  <a:gd name="connsiteY5" fmla="*/ 2379989 h 2471429"/>
                  <a:gd name="connsiteX6" fmla="*/ 1725965 w 2028052"/>
                  <a:gd name="connsiteY6" fmla="*/ 2471429 h 2471429"/>
                  <a:gd name="connsiteX7" fmla="*/ 842136 w 2028052"/>
                  <a:gd name="connsiteY7" fmla="*/ 2471429 h 2471429"/>
                  <a:gd name="connsiteX8" fmla="*/ 0 w 2028052"/>
                  <a:gd name="connsiteY8" fmla="*/ 2379989 h 2471429"/>
                  <a:gd name="connsiteX9" fmla="*/ 731520 w 2028052"/>
                  <a:gd name="connsiteY9" fmla="*/ 2379989 h 2471429"/>
                  <a:gd name="connsiteX10" fmla="*/ 731520 w 2028052"/>
                  <a:gd name="connsiteY10" fmla="*/ 2471429 h 2471429"/>
                  <a:gd name="connsiteX11" fmla="*/ 0 w 2028052"/>
                  <a:gd name="connsiteY11" fmla="*/ 2471429 h 2471429"/>
                  <a:gd name="connsiteX12" fmla="*/ 1841976 w 2028052"/>
                  <a:gd name="connsiteY12" fmla="*/ 2198093 h 2471429"/>
                  <a:gd name="connsiteX13" fmla="*/ 2024856 w 2028052"/>
                  <a:gd name="connsiteY13" fmla="*/ 2198093 h 2471429"/>
                  <a:gd name="connsiteX14" fmla="*/ 2024856 w 2028052"/>
                  <a:gd name="connsiteY14" fmla="*/ 2289533 h 2471429"/>
                  <a:gd name="connsiteX15" fmla="*/ 1841976 w 2028052"/>
                  <a:gd name="connsiteY15" fmla="*/ 2289533 h 2471429"/>
                  <a:gd name="connsiteX16" fmla="*/ 842136 w 2028052"/>
                  <a:gd name="connsiteY16" fmla="*/ 2198093 h 2471429"/>
                  <a:gd name="connsiteX17" fmla="*/ 1725965 w 2028052"/>
                  <a:gd name="connsiteY17" fmla="*/ 2198093 h 2471429"/>
                  <a:gd name="connsiteX18" fmla="*/ 1725965 w 2028052"/>
                  <a:gd name="connsiteY18" fmla="*/ 2289533 h 2471429"/>
                  <a:gd name="connsiteX19" fmla="*/ 842136 w 2028052"/>
                  <a:gd name="connsiteY19" fmla="*/ 2289533 h 2471429"/>
                  <a:gd name="connsiteX20" fmla="*/ 0 w 2028052"/>
                  <a:gd name="connsiteY20" fmla="*/ 2198093 h 2471429"/>
                  <a:gd name="connsiteX21" fmla="*/ 731520 w 2028052"/>
                  <a:gd name="connsiteY21" fmla="*/ 2198093 h 2471429"/>
                  <a:gd name="connsiteX22" fmla="*/ 731520 w 2028052"/>
                  <a:gd name="connsiteY22" fmla="*/ 2289533 h 2471429"/>
                  <a:gd name="connsiteX23" fmla="*/ 0 w 2028052"/>
                  <a:gd name="connsiteY23" fmla="*/ 2289533 h 2471429"/>
                  <a:gd name="connsiteX24" fmla="*/ 1296532 w 2028052"/>
                  <a:gd name="connsiteY24" fmla="*/ 181896 h 2471429"/>
                  <a:gd name="connsiteX25" fmla="*/ 2028052 w 2028052"/>
                  <a:gd name="connsiteY25" fmla="*/ 181896 h 2471429"/>
                  <a:gd name="connsiteX26" fmla="*/ 2028052 w 2028052"/>
                  <a:gd name="connsiteY26" fmla="*/ 273336 h 2471429"/>
                  <a:gd name="connsiteX27" fmla="*/ 1296532 w 2028052"/>
                  <a:gd name="connsiteY27" fmla="*/ 273336 h 2471429"/>
                  <a:gd name="connsiteX28" fmla="*/ 1000829 w 2028052"/>
                  <a:gd name="connsiteY28" fmla="*/ 181896 h 2471429"/>
                  <a:gd name="connsiteX29" fmla="*/ 1183709 w 2028052"/>
                  <a:gd name="connsiteY29" fmla="*/ 181896 h 2471429"/>
                  <a:gd name="connsiteX30" fmla="*/ 1183709 w 2028052"/>
                  <a:gd name="connsiteY30" fmla="*/ 273336 h 2471429"/>
                  <a:gd name="connsiteX31" fmla="*/ 1000829 w 2028052"/>
                  <a:gd name="connsiteY31" fmla="*/ 273336 h 2471429"/>
                  <a:gd name="connsiteX32" fmla="*/ 989 w 2028052"/>
                  <a:gd name="connsiteY32" fmla="*/ 181896 h 2471429"/>
                  <a:gd name="connsiteX33" fmla="*/ 884818 w 2028052"/>
                  <a:gd name="connsiteY33" fmla="*/ 181896 h 2471429"/>
                  <a:gd name="connsiteX34" fmla="*/ 884818 w 2028052"/>
                  <a:gd name="connsiteY34" fmla="*/ 273336 h 2471429"/>
                  <a:gd name="connsiteX35" fmla="*/ 989 w 2028052"/>
                  <a:gd name="connsiteY35" fmla="*/ 273336 h 2471429"/>
                  <a:gd name="connsiteX36" fmla="*/ 1296532 w 2028052"/>
                  <a:gd name="connsiteY36" fmla="*/ 0 h 2471429"/>
                  <a:gd name="connsiteX37" fmla="*/ 2028052 w 2028052"/>
                  <a:gd name="connsiteY37" fmla="*/ 0 h 2471429"/>
                  <a:gd name="connsiteX38" fmla="*/ 2028052 w 2028052"/>
                  <a:gd name="connsiteY38" fmla="*/ 91440 h 2471429"/>
                  <a:gd name="connsiteX39" fmla="*/ 1296532 w 2028052"/>
                  <a:gd name="connsiteY39" fmla="*/ 91440 h 2471429"/>
                  <a:gd name="connsiteX40" fmla="*/ 1000829 w 2028052"/>
                  <a:gd name="connsiteY40" fmla="*/ 0 h 2471429"/>
                  <a:gd name="connsiteX41" fmla="*/ 1183709 w 2028052"/>
                  <a:gd name="connsiteY41" fmla="*/ 0 h 2471429"/>
                  <a:gd name="connsiteX42" fmla="*/ 1183709 w 2028052"/>
                  <a:gd name="connsiteY42" fmla="*/ 91440 h 2471429"/>
                  <a:gd name="connsiteX43" fmla="*/ 1000829 w 2028052"/>
                  <a:gd name="connsiteY43" fmla="*/ 91440 h 2471429"/>
                  <a:gd name="connsiteX44" fmla="*/ 989 w 2028052"/>
                  <a:gd name="connsiteY44" fmla="*/ 0 h 2471429"/>
                  <a:gd name="connsiteX45" fmla="*/ 884818 w 2028052"/>
                  <a:gd name="connsiteY45" fmla="*/ 0 h 2471429"/>
                  <a:gd name="connsiteX46" fmla="*/ 884818 w 2028052"/>
                  <a:gd name="connsiteY46" fmla="*/ 91440 h 2471429"/>
                  <a:gd name="connsiteX47" fmla="*/ 989 w 2028052"/>
                  <a:gd name="connsiteY47" fmla="*/ 91440 h 2471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028052" h="2471429">
                    <a:moveTo>
                      <a:pt x="1841976" y="2379989"/>
                    </a:moveTo>
                    <a:lnTo>
                      <a:pt x="2024856" y="2379989"/>
                    </a:lnTo>
                    <a:lnTo>
                      <a:pt x="2024856" y="2471429"/>
                    </a:lnTo>
                    <a:lnTo>
                      <a:pt x="1841976" y="2471429"/>
                    </a:lnTo>
                    <a:close/>
                    <a:moveTo>
                      <a:pt x="842136" y="2379989"/>
                    </a:moveTo>
                    <a:lnTo>
                      <a:pt x="1725965" y="2379989"/>
                    </a:lnTo>
                    <a:lnTo>
                      <a:pt x="1725965" y="2471429"/>
                    </a:lnTo>
                    <a:lnTo>
                      <a:pt x="842136" y="2471429"/>
                    </a:lnTo>
                    <a:close/>
                    <a:moveTo>
                      <a:pt x="0" y="2379989"/>
                    </a:moveTo>
                    <a:lnTo>
                      <a:pt x="731520" y="2379989"/>
                    </a:lnTo>
                    <a:lnTo>
                      <a:pt x="731520" y="2471429"/>
                    </a:lnTo>
                    <a:lnTo>
                      <a:pt x="0" y="2471429"/>
                    </a:lnTo>
                    <a:close/>
                    <a:moveTo>
                      <a:pt x="1841976" y="2198093"/>
                    </a:moveTo>
                    <a:lnTo>
                      <a:pt x="2024856" y="2198093"/>
                    </a:lnTo>
                    <a:lnTo>
                      <a:pt x="2024856" y="2289533"/>
                    </a:lnTo>
                    <a:lnTo>
                      <a:pt x="1841976" y="2289533"/>
                    </a:lnTo>
                    <a:close/>
                    <a:moveTo>
                      <a:pt x="842136" y="2198093"/>
                    </a:moveTo>
                    <a:lnTo>
                      <a:pt x="1725965" y="2198093"/>
                    </a:lnTo>
                    <a:lnTo>
                      <a:pt x="1725965" y="2289533"/>
                    </a:lnTo>
                    <a:lnTo>
                      <a:pt x="842136" y="2289533"/>
                    </a:lnTo>
                    <a:close/>
                    <a:moveTo>
                      <a:pt x="0" y="2198093"/>
                    </a:moveTo>
                    <a:lnTo>
                      <a:pt x="731520" y="2198093"/>
                    </a:lnTo>
                    <a:lnTo>
                      <a:pt x="731520" y="2289533"/>
                    </a:lnTo>
                    <a:lnTo>
                      <a:pt x="0" y="2289533"/>
                    </a:lnTo>
                    <a:close/>
                    <a:moveTo>
                      <a:pt x="1296532" y="181896"/>
                    </a:moveTo>
                    <a:lnTo>
                      <a:pt x="2028052" y="181896"/>
                    </a:lnTo>
                    <a:lnTo>
                      <a:pt x="2028052" y="273336"/>
                    </a:lnTo>
                    <a:lnTo>
                      <a:pt x="1296532" y="273336"/>
                    </a:lnTo>
                    <a:close/>
                    <a:moveTo>
                      <a:pt x="1000829" y="181896"/>
                    </a:moveTo>
                    <a:lnTo>
                      <a:pt x="1183709" y="181896"/>
                    </a:lnTo>
                    <a:lnTo>
                      <a:pt x="1183709" y="273336"/>
                    </a:lnTo>
                    <a:lnTo>
                      <a:pt x="1000829" y="273336"/>
                    </a:lnTo>
                    <a:close/>
                    <a:moveTo>
                      <a:pt x="989" y="181896"/>
                    </a:moveTo>
                    <a:lnTo>
                      <a:pt x="884818" y="181896"/>
                    </a:lnTo>
                    <a:lnTo>
                      <a:pt x="884818" y="273336"/>
                    </a:lnTo>
                    <a:lnTo>
                      <a:pt x="989" y="273336"/>
                    </a:lnTo>
                    <a:close/>
                    <a:moveTo>
                      <a:pt x="1296532" y="0"/>
                    </a:moveTo>
                    <a:lnTo>
                      <a:pt x="2028052" y="0"/>
                    </a:lnTo>
                    <a:lnTo>
                      <a:pt x="2028052" y="91440"/>
                    </a:lnTo>
                    <a:lnTo>
                      <a:pt x="1296532" y="91440"/>
                    </a:lnTo>
                    <a:close/>
                    <a:moveTo>
                      <a:pt x="1000829" y="0"/>
                    </a:moveTo>
                    <a:lnTo>
                      <a:pt x="1183709" y="0"/>
                    </a:lnTo>
                    <a:lnTo>
                      <a:pt x="1183709" y="91440"/>
                    </a:lnTo>
                    <a:lnTo>
                      <a:pt x="1000829" y="91440"/>
                    </a:lnTo>
                    <a:close/>
                    <a:moveTo>
                      <a:pt x="989" y="0"/>
                    </a:moveTo>
                    <a:lnTo>
                      <a:pt x="884818" y="0"/>
                    </a:lnTo>
                    <a:lnTo>
                      <a:pt x="884818" y="91440"/>
                    </a:lnTo>
                    <a:lnTo>
                      <a:pt x="989" y="91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1917F0F-BCE7-4E4D-A238-814F8DE478E6}"/>
                </a:ext>
              </a:extLst>
            </p:cNvPr>
            <p:cNvGrpSpPr/>
            <p:nvPr/>
          </p:nvGrpSpPr>
          <p:grpSpPr>
            <a:xfrm>
              <a:off x="2359746" y="2099900"/>
              <a:ext cx="826799" cy="846919"/>
              <a:chOff x="6436863" y="326624"/>
              <a:chExt cx="11616260" cy="12375510"/>
            </a:xfrm>
          </p:grpSpPr>
          <p:sp>
            <p:nvSpPr>
              <p:cNvPr id="163" name="Freeform 1">
                <a:extLst>
                  <a:ext uri="{FF2B5EF4-FFF2-40B4-BE49-F238E27FC236}">
                    <a16:creationId xmlns:a16="http://schemas.microsoft.com/office/drawing/2014/main" id="{5E970051-257F-AF4C-AAD1-A6F749F8B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5055" y="7840184"/>
                <a:ext cx="941858" cy="544378"/>
              </a:xfrm>
              <a:custGeom>
                <a:avLst/>
                <a:gdLst>
                  <a:gd name="T0" fmla="*/ 1185 w 1443"/>
                  <a:gd name="T1" fmla="*/ 684 h 833"/>
                  <a:gd name="T2" fmla="*/ 1185 w 1443"/>
                  <a:gd name="T3" fmla="*/ 684 h 833"/>
                  <a:gd name="T4" fmla="*/ 257 w 1443"/>
                  <a:gd name="T5" fmla="*/ 684 h 833"/>
                  <a:gd name="T6" fmla="*/ 257 w 1443"/>
                  <a:gd name="T7" fmla="*/ 684 h 833"/>
                  <a:gd name="T8" fmla="*/ 257 w 1443"/>
                  <a:gd name="T9" fmla="*/ 148 h 833"/>
                  <a:gd name="T10" fmla="*/ 257 w 1443"/>
                  <a:gd name="T11" fmla="*/ 148 h 833"/>
                  <a:gd name="T12" fmla="*/ 1185 w 1443"/>
                  <a:gd name="T13" fmla="*/ 148 h 833"/>
                  <a:gd name="T14" fmla="*/ 1185 w 1443"/>
                  <a:gd name="T15" fmla="*/ 148 h 833"/>
                  <a:gd name="T16" fmla="*/ 1185 w 1443"/>
                  <a:gd name="T17" fmla="*/ 684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3" h="833">
                    <a:moveTo>
                      <a:pt x="1185" y="684"/>
                    </a:moveTo>
                    <a:lnTo>
                      <a:pt x="1185" y="684"/>
                    </a:lnTo>
                    <a:cubicBezTo>
                      <a:pt x="929" y="832"/>
                      <a:pt x="513" y="832"/>
                      <a:pt x="257" y="684"/>
                    </a:cubicBezTo>
                    <a:lnTo>
                      <a:pt x="257" y="684"/>
                    </a:lnTo>
                    <a:cubicBezTo>
                      <a:pt x="0" y="536"/>
                      <a:pt x="0" y="296"/>
                      <a:pt x="257" y="148"/>
                    </a:cubicBezTo>
                    <a:lnTo>
                      <a:pt x="257" y="148"/>
                    </a:lnTo>
                    <a:cubicBezTo>
                      <a:pt x="513" y="0"/>
                      <a:pt x="928" y="0"/>
                      <a:pt x="1185" y="148"/>
                    </a:cubicBezTo>
                    <a:lnTo>
                      <a:pt x="1185" y="148"/>
                    </a:lnTo>
                    <a:cubicBezTo>
                      <a:pt x="1442" y="296"/>
                      <a:pt x="1442" y="536"/>
                      <a:pt x="1185" y="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4" name="Freeform 2">
                <a:extLst>
                  <a:ext uri="{FF2B5EF4-FFF2-40B4-BE49-F238E27FC236}">
                    <a16:creationId xmlns:a16="http://schemas.microsoft.com/office/drawing/2014/main" id="{58BF766E-C39D-7945-B0E5-1826D4DDEE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78" y="4982924"/>
                <a:ext cx="432045" cy="555899"/>
              </a:xfrm>
              <a:custGeom>
                <a:avLst/>
                <a:gdLst>
                  <a:gd name="T0" fmla="*/ 0 w 662"/>
                  <a:gd name="T1" fmla="*/ 0 h 852"/>
                  <a:gd name="T2" fmla="*/ 0 w 662"/>
                  <a:gd name="T3" fmla="*/ 0 h 852"/>
                  <a:gd name="T4" fmla="*/ 45 w 662"/>
                  <a:gd name="T5" fmla="*/ 607 h 852"/>
                  <a:gd name="T6" fmla="*/ 45 w 662"/>
                  <a:gd name="T7" fmla="*/ 607 h 852"/>
                  <a:gd name="T8" fmla="*/ 661 w 662"/>
                  <a:gd name="T9" fmla="*/ 420 h 852"/>
                  <a:gd name="T10" fmla="*/ 661 w 662"/>
                  <a:gd name="T11" fmla="*/ 142 h 852"/>
                  <a:gd name="T12" fmla="*/ 0 w 662"/>
                  <a:gd name="T13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2" h="85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8" y="363"/>
                      <a:pt x="45" y="607"/>
                    </a:cubicBezTo>
                    <a:lnTo>
                      <a:pt x="45" y="607"/>
                    </a:lnTo>
                    <a:cubicBezTo>
                      <a:pt x="73" y="851"/>
                      <a:pt x="661" y="420"/>
                      <a:pt x="661" y="420"/>
                    </a:cubicBezTo>
                    <a:lnTo>
                      <a:pt x="661" y="1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:a16="http://schemas.microsoft.com/office/drawing/2014/main" id="{AB2E2204-7B5B-5A43-A083-319DF05BE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0854" y="7776818"/>
                <a:ext cx="365799" cy="336996"/>
              </a:xfrm>
              <a:custGeom>
                <a:avLst/>
                <a:gdLst>
                  <a:gd name="T0" fmla="*/ 60 w 561"/>
                  <a:gd name="T1" fmla="*/ 239 h 516"/>
                  <a:gd name="T2" fmla="*/ 60 w 561"/>
                  <a:gd name="T3" fmla="*/ 239 h 516"/>
                  <a:gd name="T4" fmla="*/ 374 w 561"/>
                  <a:gd name="T5" fmla="*/ 492 h 516"/>
                  <a:gd name="T6" fmla="*/ 374 w 561"/>
                  <a:gd name="T7" fmla="*/ 492 h 516"/>
                  <a:gd name="T8" fmla="*/ 513 w 561"/>
                  <a:gd name="T9" fmla="*/ 512 h 516"/>
                  <a:gd name="T10" fmla="*/ 513 w 561"/>
                  <a:gd name="T11" fmla="*/ 512 h 516"/>
                  <a:gd name="T12" fmla="*/ 551 w 561"/>
                  <a:gd name="T13" fmla="*/ 450 h 516"/>
                  <a:gd name="T14" fmla="*/ 551 w 561"/>
                  <a:gd name="T15" fmla="*/ 450 h 516"/>
                  <a:gd name="T16" fmla="*/ 259 w 561"/>
                  <a:gd name="T17" fmla="*/ 128 h 516"/>
                  <a:gd name="T18" fmla="*/ 259 w 561"/>
                  <a:gd name="T19" fmla="*/ 128 h 516"/>
                  <a:gd name="T20" fmla="*/ 60 w 561"/>
                  <a:gd name="T21" fmla="*/ 239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1" h="516">
                    <a:moveTo>
                      <a:pt x="60" y="239"/>
                    </a:moveTo>
                    <a:lnTo>
                      <a:pt x="60" y="239"/>
                    </a:lnTo>
                    <a:cubicBezTo>
                      <a:pt x="69" y="260"/>
                      <a:pt x="221" y="446"/>
                      <a:pt x="374" y="492"/>
                    </a:cubicBezTo>
                    <a:lnTo>
                      <a:pt x="374" y="492"/>
                    </a:lnTo>
                    <a:cubicBezTo>
                      <a:pt x="439" y="512"/>
                      <a:pt x="484" y="515"/>
                      <a:pt x="513" y="512"/>
                    </a:cubicBezTo>
                    <a:lnTo>
                      <a:pt x="513" y="512"/>
                    </a:lnTo>
                    <a:cubicBezTo>
                      <a:pt x="543" y="508"/>
                      <a:pt x="560" y="478"/>
                      <a:pt x="551" y="450"/>
                    </a:cubicBezTo>
                    <a:lnTo>
                      <a:pt x="551" y="450"/>
                    </a:lnTo>
                    <a:cubicBezTo>
                      <a:pt x="525" y="376"/>
                      <a:pt x="449" y="223"/>
                      <a:pt x="259" y="128"/>
                    </a:cubicBezTo>
                    <a:lnTo>
                      <a:pt x="259" y="128"/>
                    </a:lnTo>
                    <a:cubicBezTo>
                      <a:pt x="0" y="0"/>
                      <a:pt x="60" y="239"/>
                      <a:pt x="60" y="239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6" name="Freeform 4">
                <a:extLst>
                  <a:ext uri="{FF2B5EF4-FFF2-40B4-BE49-F238E27FC236}">
                    <a16:creationId xmlns:a16="http://schemas.microsoft.com/office/drawing/2014/main" id="{59EBF55A-3243-0C4C-B72B-73C9DDB4B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9720" y="7978439"/>
                <a:ext cx="201621" cy="334115"/>
              </a:xfrm>
              <a:custGeom>
                <a:avLst/>
                <a:gdLst>
                  <a:gd name="T0" fmla="*/ 223 w 310"/>
                  <a:gd name="T1" fmla="*/ 0 h 510"/>
                  <a:gd name="T2" fmla="*/ 223 w 310"/>
                  <a:gd name="T3" fmla="*/ 0 h 510"/>
                  <a:gd name="T4" fmla="*/ 298 w 310"/>
                  <a:gd name="T5" fmla="*/ 247 h 510"/>
                  <a:gd name="T6" fmla="*/ 298 w 310"/>
                  <a:gd name="T7" fmla="*/ 247 h 510"/>
                  <a:gd name="T8" fmla="*/ 240 w 310"/>
                  <a:gd name="T9" fmla="*/ 464 h 510"/>
                  <a:gd name="T10" fmla="*/ 240 w 310"/>
                  <a:gd name="T11" fmla="*/ 464 h 510"/>
                  <a:gd name="T12" fmla="*/ 141 w 310"/>
                  <a:gd name="T13" fmla="*/ 481 h 510"/>
                  <a:gd name="T14" fmla="*/ 141 w 310"/>
                  <a:gd name="T15" fmla="*/ 481 h 510"/>
                  <a:gd name="T16" fmla="*/ 18 w 310"/>
                  <a:gd name="T17" fmla="*/ 245 h 510"/>
                  <a:gd name="T18" fmla="*/ 18 w 310"/>
                  <a:gd name="T19" fmla="*/ 245 h 510"/>
                  <a:gd name="T20" fmla="*/ 18 w 310"/>
                  <a:gd name="T21" fmla="*/ 22 h 510"/>
                  <a:gd name="T22" fmla="*/ 223 w 310"/>
                  <a:gd name="T23" fmla="*/ 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0" h="510">
                    <a:moveTo>
                      <a:pt x="223" y="0"/>
                    </a:moveTo>
                    <a:lnTo>
                      <a:pt x="223" y="0"/>
                    </a:lnTo>
                    <a:cubicBezTo>
                      <a:pt x="223" y="0"/>
                      <a:pt x="280" y="134"/>
                      <a:pt x="298" y="247"/>
                    </a:cubicBezTo>
                    <a:lnTo>
                      <a:pt x="298" y="247"/>
                    </a:lnTo>
                    <a:cubicBezTo>
                      <a:pt x="309" y="316"/>
                      <a:pt x="271" y="405"/>
                      <a:pt x="240" y="464"/>
                    </a:cubicBezTo>
                    <a:lnTo>
                      <a:pt x="240" y="464"/>
                    </a:lnTo>
                    <a:cubicBezTo>
                      <a:pt x="221" y="501"/>
                      <a:pt x="173" y="509"/>
                      <a:pt x="141" y="481"/>
                    </a:cubicBezTo>
                    <a:lnTo>
                      <a:pt x="141" y="481"/>
                    </a:lnTo>
                    <a:cubicBezTo>
                      <a:pt x="92" y="436"/>
                      <a:pt x="29" y="357"/>
                      <a:pt x="18" y="245"/>
                    </a:cubicBezTo>
                    <a:lnTo>
                      <a:pt x="18" y="245"/>
                    </a:lnTo>
                    <a:cubicBezTo>
                      <a:pt x="0" y="55"/>
                      <a:pt x="18" y="22"/>
                      <a:pt x="18" y="22"/>
                    </a:cubicBezTo>
                    <a:lnTo>
                      <a:pt x="223" y="0"/>
                    </a:ln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8F1B5E39-068E-6E40-926C-745E2AF89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3147" y="6359710"/>
                <a:ext cx="625027" cy="1687857"/>
              </a:xfrm>
              <a:custGeom>
                <a:avLst/>
                <a:gdLst>
                  <a:gd name="T0" fmla="*/ 20 w 958"/>
                  <a:gd name="T1" fmla="*/ 186 h 2582"/>
                  <a:gd name="T2" fmla="*/ 20 w 958"/>
                  <a:gd name="T3" fmla="*/ 186 h 2582"/>
                  <a:gd name="T4" fmla="*/ 20 w 958"/>
                  <a:gd name="T5" fmla="*/ 689 h 2582"/>
                  <a:gd name="T6" fmla="*/ 20 w 958"/>
                  <a:gd name="T7" fmla="*/ 689 h 2582"/>
                  <a:gd name="T8" fmla="*/ 125 w 958"/>
                  <a:gd name="T9" fmla="*/ 2491 h 2582"/>
                  <a:gd name="T10" fmla="*/ 125 w 958"/>
                  <a:gd name="T11" fmla="*/ 2491 h 2582"/>
                  <a:gd name="T12" fmla="*/ 292 w 958"/>
                  <a:gd name="T13" fmla="*/ 2562 h 2582"/>
                  <a:gd name="T14" fmla="*/ 292 w 958"/>
                  <a:gd name="T15" fmla="*/ 2562 h 2582"/>
                  <a:gd name="T16" fmla="*/ 453 w 958"/>
                  <a:gd name="T17" fmla="*/ 2441 h 2582"/>
                  <a:gd name="T18" fmla="*/ 453 w 958"/>
                  <a:gd name="T19" fmla="*/ 2441 h 2582"/>
                  <a:gd name="T20" fmla="*/ 706 w 958"/>
                  <a:gd name="T21" fmla="*/ 2293 h 2582"/>
                  <a:gd name="T22" fmla="*/ 706 w 958"/>
                  <a:gd name="T23" fmla="*/ 2293 h 2582"/>
                  <a:gd name="T24" fmla="*/ 957 w 958"/>
                  <a:gd name="T25" fmla="*/ 0 h 2582"/>
                  <a:gd name="T26" fmla="*/ 20 w 958"/>
                  <a:gd name="T27" fmla="*/ 186 h 2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8" h="2582">
                    <a:moveTo>
                      <a:pt x="20" y="186"/>
                    </a:moveTo>
                    <a:lnTo>
                      <a:pt x="20" y="186"/>
                    </a:lnTo>
                    <a:cubicBezTo>
                      <a:pt x="20" y="186"/>
                      <a:pt x="0" y="425"/>
                      <a:pt x="20" y="689"/>
                    </a:cubicBezTo>
                    <a:lnTo>
                      <a:pt x="20" y="689"/>
                    </a:lnTo>
                    <a:cubicBezTo>
                      <a:pt x="40" y="954"/>
                      <a:pt x="111" y="2193"/>
                      <a:pt x="125" y="2491"/>
                    </a:cubicBezTo>
                    <a:lnTo>
                      <a:pt x="125" y="2491"/>
                    </a:lnTo>
                    <a:cubicBezTo>
                      <a:pt x="125" y="2491"/>
                      <a:pt x="118" y="2581"/>
                      <a:pt x="292" y="2562"/>
                    </a:cubicBezTo>
                    <a:lnTo>
                      <a:pt x="292" y="2562"/>
                    </a:lnTo>
                    <a:cubicBezTo>
                      <a:pt x="467" y="2542"/>
                      <a:pt x="453" y="2441"/>
                      <a:pt x="453" y="2441"/>
                    </a:cubicBezTo>
                    <a:lnTo>
                      <a:pt x="453" y="2441"/>
                    </a:lnTo>
                    <a:cubicBezTo>
                      <a:pt x="453" y="2441"/>
                      <a:pt x="698" y="2439"/>
                      <a:pt x="706" y="2293"/>
                    </a:cubicBezTo>
                    <a:lnTo>
                      <a:pt x="706" y="2293"/>
                    </a:lnTo>
                    <a:cubicBezTo>
                      <a:pt x="714" y="2149"/>
                      <a:pt x="957" y="567"/>
                      <a:pt x="957" y="0"/>
                    </a:cubicBezTo>
                    <a:lnTo>
                      <a:pt x="20" y="186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B003F6DE-A2AB-5746-BE77-78A3D4763A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0891" y="5671317"/>
                <a:ext cx="426285" cy="492531"/>
              </a:xfrm>
              <a:custGeom>
                <a:avLst/>
                <a:gdLst>
                  <a:gd name="T0" fmla="*/ 117 w 652"/>
                  <a:gd name="T1" fmla="*/ 0 h 754"/>
                  <a:gd name="T2" fmla="*/ 237 w 652"/>
                  <a:gd name="T3" fmla="*/ 186 h 754"/>
                  <a:gd name="T4" fmla="*/ 651 w 652"/>
                  <a:gd name="T5" fmla="*/ 685 h 754"/>
                  <a:gd name="T6" fmla="*/ 651 w 652"/>
                  <a:gd name="T7" fmla="*/ 685 h 754"/>
                  <a:gd name="T8" fmla="*/ 585 w 652"/>
                  <a:gd name="T9" fmla="*/ 743 h 754"/>
                  <a:gd name="T10" fmla="*/ 585 w 652"/>
                  <a:gd name="T11" fmla="*/ 743 h 754"/>
                  <a:gd name="T12" fmla="*/ 47 w 652"/>
                  <a:gd name="T13" fmla="*/ 276 h 754"/>
                  <a:gd name="T14" fmla="*/ 47 w 652"/>
                  <a:gd name="T15" fmla="*/ 276 h 754"/>
                  <a:gd name="T16" fmla="*/ 32 w 652"/>
                  <a:gd name="T17" fmla="*/ 130 h 754"/>
                  <a:gd name="T18" fmla="*/ 117 w 652"/>
                  <a:gd name="T19" fmla="*/ 0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2" h="754">
                    <a:moveTo>
                      <a:pt x="117" y="0"/>
                    </a:moveTo>
                    <a:lnTo>
                      <a:pt x="237" y="186"/>
                    </a:lnTo>
                    <a:lnTo>
                      <a:pt x="651" y="685"/>
                    </a:lnTo>
                    <a:lnTo>
                      <a:pt x="651" y="685"/>
                    </a:lnTo>
                    <a:cubicBezTo>
                      <a:pt x="651" y="685"/>
                      <a:pt x="636" y="732"/>
                      <a:pt x="585" y="743"/>
                    </a:cubicBezTo>
                    <a:lnTo>
                      <a:pt x="585" y="743"/>
                    </a:lnTo>
                    <a:cubicBezTo>
                      <a:pt x="545" y="753"/>
                      <a:pt x="197" y="422"/>
                      <a:pt x="47" y="276"/>
                    </a:cubicBezTo>
                    <a:lnTo>
                      <a:pt x="47" y="276"/>
                    </a:lnTo>
                    <a:cubicBezTo>
                      <a:pt x="7" y="238"/>
                      <a:pt x="0" y="176"/>
                      <a:pt x="32" y="130"/>
                    </a:cubicBezTo>
                    <a:lnTo>
                      <a:pt x="117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72AFF4AB-AD23-D04B-9439-F77FDDB5E8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6004" y="5170145"/>
                <a:ext cx="244825" cy="662470"/>
              </a:xfrm>
              <a:custGeom>
                <a:avLst/>
                <a:gdLst>
                  <a:gd name="T0" fmla="*/ 0 w 376"/>
                  <a:gd name="T1" fmla="*/ 5 h 1014"/>
                  <a:gd name="T2" fmla="*/ 0 w 376"/>
                  <a:gd name="T3" fmla="*/ 5 h 1014"/>
                  <a:gd name="T4" fmla="*/ 257 w 376"/>
                  <a:gd name="T5" fmla="*/ 276 h 1014"/>
                  <a:gd name="T6" fmla="*/ 257 w 376"/>
                  <a:gd name="T7" fmla="*/ 276 h 1014"/>
                  <a:gd name="T8" fmla="*/ 318 w 376"/>
                  <a:gd name="T9" fmla="*/ 926 h 1014"/>
                  <a:gd name="T10" fmla="*/ 318 w 376"/>
                  <a:gd name="T11" fmla="*/ 926 h 1014"/>
                  <a:gd name="T12" fmla="*/ 35 w 376"/>
                  <a:gd name="T13" fmla="*/ 912 h 1014"/>
                  <a:gd name="T14" fmla="*/ 0 w 376"/>
                  <a:gd name="T15" fmla="*/ 5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6" h="1014">
                    <a:moveTo>
                      <a:pt x="0" y="5"/>
                    </a:moveTo>
                    <a:lnTo>
                      <a:pt x="0" y="5"/>
                    </a:lnTo>
                    <a:cubicBezTo>
                      <a:pt x="0" y="5"/>
                      <a:pt x="191" y="0"/>
                      <a:pt x="257" y="276"/>
                    </a:cubicBezTo>
                    <a:lnTo>
                      <a:pt x="257" y="276"/>
                    </a:lnTo>
                    <a:cubicBezTo>
                      <a:pt x="324" y="552"/>
                      <a:pt x="375" y="898"/>
                      <a:pt x="318" y="926"/>
                    </a:cubicBezTo>
                    <a:lnTo>
                      <a:pt x="318" y="926"/>
                    </a:lnTo>
                    <a:cubicBezTo>
                      <a:pt x="144" y="1013"/>
                      <a:pt x="35" y="912"/>
                      <a:pt x="35" y="912"/>
                    </a:cubicBezTo>
                    <a:lnTo>
                      <a:pt x="0" y="5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928E3EC6-44CD-FF47-983B-980E9F5ED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16253" y="5170146"/>
                <a:ext cx="843928" cy="1466073"/>
              </a:xfrm>
              <a:custGeom>
                <a:avLst/>
                <a:gdLst>
                  <a:gd name="T0" fmla="*/ 1095 w 1293"/>
                  <a:gd name="T1" fmla="*/ 16 h 2246"/>
                  <a:gd name="T2" fmla="*/ 1095 w 1293"/>
                  <a:gd name="T3" fmla="*/ 16 h 2246"/>
                  <a:gd name="T4" fmla="*/ 992 w 1293"/>
                  <a:gd name="T5" fmla="*/ 10 h 2246"/>
                  <a:gd name="T6" fmla="*/ 992 w 1293"/>
                  <a:gd name="T7" fmla="*/ 10 h 2246"/>
                  <a:gd name="T8" fmla="*/ 117 w 1293"/>
                  <a:gd name="T9" fmla="*/ 323 h 2246"/>
                  <a:gd name="T10" fmla="*/ 117 w 1293"/>
                  <a:gd name="T11" fmla="*/ 323 h 2246"/>
                  <a:gd name="T12" fmla="*/ 287 w 1293"/>
                  <a:gd name="T13" fmla="*/ 1165 h 2246"/>
                  <a:gd name="T14" fmla="*/ 287 w 1293"/>
                  <a:gd name="T15" fmla="*/ 1165 h 2246"/>
                  <a:gd name="T16" fmla="*/ 246 w 1293"/>
                  <a:gd name="T17" fmla="*/ 1763 h 2246"/>
                  <a:gd name="T18" fmla="*/ 246 w 1293"/>
                  <a:gd name="T19" fmla="*/ 1763 h 2246"/>
                  <a:gd name="T20" fmla="*/ 371 w 1293"/>
                  <a:gd name="T21" fmla="*/ 2156 h 2246"/>
                  <a:gd name="T22" fmla="*/ 371 w 1293"/>
                  <a:gd name="T23" fmla="*/ 2156 h 2246"/>
                  <a:gd name="T24" fmla="*/ 1021 w 1293"/>
                  <a:gd name="T25" fmla="*/ 2086 h 2246"/>
                  <a:gd name="T26" fmla="*/ 1021 w 1293"/>
                  <a:gd name="T27" fmla="*/ 2086 h 2246"/>
                  <a:gd name="T28" fmla="*/ 1183 w 1293"/>
                  <a:gd name="T29" fmla="*/ 1704 h 2246"/>
                  <a:gd name="T30" fmla="*/ 1183 w 1293"/>
                  <a:gd name="T31" fmla="*/ 1704 h 2246"/>
                  <a:gd name="T32" fmla="*/ 1110 w 1293"/>
                  <a:gd name="T33" fmla="*/ 949 h 2246"/>
                  <a:gd name="T34" fmla="*/ 1110 w 1293"/>
                  <a:gd name="T35" fmla="*/ 949 h 2246"/>
                  <a:gd name="T36" fmla="*/ 1237 w 1293"/>
                  <a:gd name="T37" fmla="*/ 802 h 2246"/>
                  <a:gd name="T38" fmla="*/ 1237 w 1293"/>
                  <a:gd name="T39" fmla="*/ 802 h 2246"/>
                  <a:gd name="T40" fmla="*/ 1155 w 1293"/>
                  <a:gd name="T41" fmla="*/ 428 h 2246"/>
                  <a:gd name="T42" fmla="*/ 1155 w 1293"/>
                  <a:gd name="T43" fmla="*/ 428 h 2246"/>
                  <a:gd name="T44" fmla="*/ 1166 w 1293"/>
                  <a:gd name="T45" fmla="*/ 100 h 2246"/>
                  <a:gd name="T46" fmla="*/ 1166 w 1293"/>
                  <a:gd name="T47" fmla="*/ 100 h 2246"/>
                  <a:gd name="T48" fmla="*/ 1095 w 1293"/>
                  <a:gd name="T49" fmla="*/ 16 h 2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3" h="2246">
                    <a:moveTo>
                      <a:pt x="1095" y="16"/>
                    </a:moveTo>
                    <a:lnTo>
                      <a:pt x="1095" y="16"/>
                    </a:lnTo>
                    <a:cubicBezTo>
                      <a:pt x="1062" y="2"/>
                      <a:pt x="1026" y="0"/>
                      <a:pt x="992" y="10"/>
                    </a:cubicBezTo>
                    <a:lnTo>
                      <a:pt x="992" y="10"/>
                    </a:lnTo>
                    <a:cubicBezTo>
                      <a:pt x="829" y="57"/>
                      <a:pt x="218" y="236"/>
                      <a:pt x="117" y="323"/>
                    </a:cubicBezTo>
                    <a:lnTo>
                      <a:pt x="117" y="323"/>
                    </a:lnTo>
                    <a:cubicBezTo>
                      <a:pt x="0" y="422"/>
                      <a:pt x="292" y="982"/>
                      <a:pt x="287" y="1165"/>
                    </a:cubicBezTo>
                    <a:lnTo>
                      <a:pt x="287" y="1165"/>
                    </a:lnTo>
                    <a:cubicBezTo>
                      <a:pt x="283" y="1348"/>
                      <a:pt x="263" y="1564"/>
                      <a:pt x="246" y="1763"/>
                    </a:cubicBezTo>
                    <a:lnTo>
                      <a:pt x="246" y="1763"/>
                    </a:lnTo>
                    <a:cubicBezTo>
                      <a:pt x="230" y="1963"/>
                      <a:pt x="208" y="2071"/>
                      <a:pt x="371" y="2156"/>
                    </a:cubicBezTo>
                    <a:lnTo>
                      <a:pt x="371" y="2156"/>
                    </a:lnTo>
                    <a:cubicBezTo>
                      <a:pt x="534" y="2240"/>
                      <a:pt x="812" y="2245"/>
                      <a:pt x="1021" y="2086"/>
                    </a:cubicBezTo>
                    <a:lnTo>
                      <a:pt x="1021" y="2086"/>
                    </a:lnTo>
                    <a:cubicBezTo>
                      <a:pt x="1230" y="1928"/>
                      <a:pt x="1191" y="1819"/>
                      <a:pt x="1183" y="1704"/>
                    </a:cubicBezTo>
                    <a:lnTo>
                      <a:pt x="1183" y="1704"/>
                    </a:lnTo>
                    <a:cubicBezTo>
                      <a:pt x="1174" y="1589"/>
                      <a:pt x="1103" y="1090"/>
                      <a:pt x="1110" y="949"/>
                    </a:cubicBezTo>
                    <a:lnTo>
                      <a:pt x="1110" y="949"/>
                    </a:lnTo>
                    <a:cubicBezTo>
                      <a:pt x="1110" y="949"/>
                      <a:pt x="1183" y="895"/>
                      <a:pt x="1237" y="802"/>
                    </a:cubicBezTo>
                    <a:lnTo>
                      <a:pt x="1237" y="802"/>
                    </a:lnTo>
                    <a:cubicBezTo>
                      <a:pt x="1292" y="709"/>
                      <a:pt x="1195" y="539"/>
                      <a:pt x="1155" y="428"/>
                    </a:cubicBezTo>
                    <a:lnTo>
                      <a:pt x="1155" y="428"/>
                    </a:lnTo>
                    <a:cubicBezTo>
                      <a:pt x="1115" y="317"/>
                      <a:pt x="1178" y="190"/>
                      <a:pt x="1166" y="100"/>
                    </a:cubicBezTo>
                    <a:lnTo>
                      <a:pt x="1166" y="100"/>
                    </a:lnTo>
                    <a:cubicBezTo>
                      <a:pt x="1160" y="53"/>
                      <a:pt x="1130" y="30"/>
                      <a:pt x="1095" y="1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948F1241-AA0F-D347-8471-6443C16996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5196067"/>
                <a:ext cx="316833" cy="259227"/>
              </a:xfrm>
              <a:custGeom>
                <a:avLst/>
                <a:gdLst>
                  <a:gd name="T0" fmla="*/ 472 w 486"/>
                  <a:gd name="T1" fmla="*/ 169 h 399"/>
                  <a:gd name="T2" fmla="*/ 472 w 486"/>
                  <a:gd name="T3" fmla="*/ 169 h 399"/>
                  <a:gd name="T4" fmla="*/ 266 w 486"/>
                  <a:gd name="T5" fmla="*/ 381 h 399"/>
                  <a:gd name="T6" fmla="*/ 266 w 486"/>
                  <a:gd name="T7" fmla="*/ 381 h 399"/>
                  <a:gd name="T8" fmla="*/ 13 w 486"/>
                  <a:gd name="T9" fmla="*/ 229 h 399"/>
                  <a:gd name="T10" fmla="*/ 13 w 486"/>
                  <a:gd name="T11" fmla="*/ 229 h 399"/>
                  <a:gd name="T12" fmla="*/ 219 w 486"/>
                  <a:gd name="T13" fmla="*/ 17 h 399"/>
                  <a:gd name="T14" fmla="*/ 219 w 486"/>
                  <a:gd name="T15" fmla="*/ 17 h 399"/>
                  <a:gd name="T16" fmla="*/ 472 w 486"/>
                  <a:gd name="T17" fmla="*/ 16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6" h="399">
                    <a:moveTo>
                      <a:pt x="472" y="169"/>
                    </a:moveTo>
                    <a:lnTo>
                      <a:pt x="472" y="169"/>
                    </a:lnTo>
                    <a:cubicBezTo>
                      <a:pt x="485" y="270"/>
                      <a:pt x="393" y="365"/>
                      <a:pt x="266" y="381"/>
                    </a:cubicBezTo>
                    <a:lnTo>
                      <a:pt x="266" y="381"/>
                    </a:lnTo>
                    <a:cubicBezTo>
                      <a:pt x="139" y="398"/>
                      <a:pt x="26" y="329"/>
                      <a:pt x="13" y="229"/>
                    </a:cubicBezTo>
                    <a:lnTo>
                      <a:pt x="13" y="229"/>
                    </a:lnTo>
                    <a:cubicBezTo>
                      <a:pt x="0" y="128"/>
                      <a:pt x="92" y="33"/>
                      <a:pt x="219" y="17"/>
                    </a:cubicBezTo>
                    <a:lnTo>
                      <a:pt x="219" y="17"/>
                    </a:lnTo>
                    <a:cubicBezTo>
                      <a:pt x="346" y="0"/>
                      <a:pt x="460" y="69"/>
                      <a:pt x="472" y="1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8B273586-A754-A042-802C-927862BD7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1726" y="5230630"/>
                <a:ext cx="227545" cy="187221"/>
              </a:xfrm>
              <a:custGeom>
                <a:avLst/>
                <a:gdLst>
                  <a:gd name="T0" fmla="*/ 338 w 348"/>
                  <a:gd name="T1" fmla="*/ 121 h 285"/>
                  <a:gd name="T2" fmla="*/ 338 w 348"/>
                  <a:gd name="T3" fmla="*/ 121 h 285"/>
                  <a:gd name="T4" fmla="*/ 190 w 348"/>
                  <a:gd name="T5" fmla="*/ 272 h 285"/>
                  <a:gd name="T6" fmla="*/ 190 w 348"/>
                  <a:gd name="T7" fmla="*/ 272 h 285"/>
                  <a:gd name="T8" fmla="*/ 9 w 348"/>
                  <a:gd name="T9" fmla="*/ 163 h 285"/>
                  <a:gd name="T10" fmla="*/ 9 w 348"/>
                  <a:gd name="T11" fmla="*/ 163 h 285"/>
                  <a:gd name="T12" fmla="*/ 157 w 348"/>
                  <a:gd name="T13" fmla="*/ 12 h 285"/>
                  <a:gd name="T14" fmla="*/ 157 w 348"/>
                  <a:gd name="T15" fmla="*/ 12 h 285"/>
                  <a:gd name="T16" fmla="*/ 338 w 348"/>
                  <a:gd name="T17" fmla="*/ 12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8" h="285">
                    <a:moveTo>
                      <a:pt x="338" y="121"/>
                    </a:moveTo>
                    <a:lnTo>
                      <a:pt x="338" y="121"/>
                    </a:lnTo>
                    <a:cubicBezTo>
                      <a:pt x="347" y="193"/>
                      <a:pt x="281" y="261"/>
                      <a:pt x="190" y="272"/>
                    </a:cubicBezTo>
                    <a:lnTo>
                      <a:pt x="190" y="272"/>
                    </a:lnTo>
                    <a:cubicBezTo>
                      <a:pt x="100" y="284"/>
                      <a:pt x="19" y="235"/>
                      <a:pt x="9" y="163"/>
                    </a:cubicBezTo>
                    <a:lnTo>
                      <a:pt x="9" y="163"/>
                    </a:lnTo>
                    <a:cubicBezTo>
                      <a:pt x="0" y="91"/>
                      <a:pt x="66" y="23"/>
                      <a:pt x="157" y="12"/>
                    </a:cubicBezTo>
                    <a:lnTo>
                      <a:pt x="157" y="12"/>
                    </a:lnTo>
                    <a:cubicBezTo>
                      <a:pt x="248" y="0"/>
                      <a:pt x="329" y="49"/>
                      <a:pt x="338" y="121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0016C643-3209-1942-AB1B-78E6C034D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0691" y="5098137"/>
                <a:ext cx="149776" cy="227545"/>
              </a:xfrm>
              <a:custGeom>
                <a:avLst/>
                <a:gdLst>
                  <a:gd name="T0" fmla="*/ 172 w 231"/>
                  <a:gd name="T1" fmla="*/ 90 h 349"/>
                  <a:gd name="T2" fmla="*/ 172 w 231"/>
                  <a:gd name="T3" fmla="*/ 90 h 349"/>
                  <a:gd name="T4" fmla="*/ 40 w 231"/>
                  <a:gd name="T5" fmla="*/ 46 h 349"/>
                  <a:gd name="T6" fmla="*/ 40 w 231"/>
                  <a:gd name="T7" fmla="*/ 46 h 349"/>
                  <a:gd name="T8" fmla="*/ 0 w 231"/>
                  <a:gd name="T9" fmla="*/ 289 h 349"/>
                  <a:gd name="T10" fmla="*/ 219 w 231"/>
                  <a:gd name="T11" fmla="*/ 348 h 349"/>
                  <a:gd name="T12" fmla="*/ 186 w 231"/>
                  <a:gd name="T13" fmla="*/ 148 h 349"/>
                  <a:gd name="T14" fmla="*/ 186 w 231"/>
                  <a:gd name="T15" fmla="*/ 148 h 349"/>
                  <a:gd name="T16" fmla="*/ 172 w 231"/>
                  <a:gd name="T17" fmla="*/ 9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1" h="349">
                    <a:moveTo>
                      <a:pt x="172" y="90"/>
                    </a:moveTo>
                    <a:lnTo>
                      <a:pt x="172" y="90"/>
                    </a:lnTo>
                    <a:cubicBezTo>
                      <a:pt x="172" y="90"/>
                      <a:pt x="61" y="0"/>
                      <a:pt x="40" y="46"/>
                    </a:cubicBezTo>
                    <a:lnTo>
                      <a:pt x="40" y="46"/>
                    </a:lnTo>
                    <a:cubicBezTo>
                      <a:pt x="18" y="92"/>
                      <a:pt x="0" y="289"/>
                      <a:pt x="0" y="289"/>
                    </a:cubicBezTo>
                    <a:lnTo>
                      <a:pt x="219" y="348"/>
                    </a:lnTo>
                    <a:lnTo>
                      <a:pt x="186" y="148"/>
                    </a:lnTo>
                    <a:lnTo>
                      <a:pt x="186" y="148"/>
                    </a:lnTo>
                    <a:cubicBezTo>
                      <a:pt x="186" y="148"/>
                      <a:pt x="230" y="111"/>
                      <a:pt x="172" y="90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BDB2048A-0909-524C-B773-A08C8C47A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7ECA72CC-D4EE-5E4A-9531-8CAE15F92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2213" y="5144221"/>
                <a:ext cx="126733" cy="149776"/>
              </a:xfrm>
              <a:custGeom>
                <a:avLst/>
                <a:gdLst>
                  <a:gd name="T0" fmla="*/ 5 w 193"/>
                  <a:gd name="T1" fmla="*/ 30 h 228"/>
                  <a:gd name="T2" fmla="*/ 5 w 193"/>
                  <a:gd name="T3" fmla="*/ 30 h 228"/>
                  <a:gd name="T4" fmla="*/ 0 w 193"/>
                  <a:gd name="T5" fmla="*/ 63 h 228"/>
                  <a:gd name="T6" fmla="*/ 0 w 193"/>
                  <a:gd name="T7" fmla="*/ 63 h 228"/>
                  <a:gd name="T8" fmla="*/ 192 w 193"/>
                  <a:gd name="T9" fmla="*/ 227 h 228"/>
                  <a:gd name="T10" fmla="*/ 167 w 193"/>
                  <a:gd name="T11" fmla="*/ 75 h 228"/>
                  <a:gd name="T12" fmla="*/ 167 w 193"/>
                  <a:gd name="T13" fmla="*/ 75 h 228"/>
                  <a:gd name="T14" fmla="*/ 182 w 193"/>
                  <a:gd name="T15" fmla="*/ 40 h 228"/>
                  <a:gd name="T16" fmla="*/ 182 w 193"/>
                  <a:gd name="T17" fmla="*/ 40 h 228"/>
                  <a:gd name="T18" fmla="*/ 5 w 193"/>
                  <a:gd name="T19" fmla="*/ 3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3" h="228">
                    <a:moveTo>
                      <a:pt x="5" y="30"/>
                    </a:moveTo>
                    <a:lnTo>
                      <a:pt x="5" y="30"/>
                    </a:lnTo>
                    <a:cubicBezTo>
                      <a:pt x="4" y="40"/>
                      <a:pt x="2" y="51"/>
                      <a:pt x="0" y="63"/>
                    </a:cubicBezTo>
                    <a:lnTo>
                      <a:pt x="0" y="63"/>
                    </a:lnTo>
                    <a:cubicBezTo>
                      <a:pt x="22" y="177"/>
                      <a:pt x="192" y="227"/>
                      <a:pt x="192" y="227"/>
                    </a:cubicBezTo>
                    <a:lnTo>
                      <a:pt x="167" y="75"/>
                    </a:lnTo>
                    <a:lnTo>
                      <a:pt x="167" y="75"/>
                    </a:lnTo>
                    <a:cubicBezTo>
                      <a:pt x="167" y="75"/>
                      <a:pt x="188" y="57"/>
                      <a:pt x="182" y="40"/>
                    </a:cubicBezTo>
                    <a:lnTo>
                      <a:pt x="182" y="40"/>
                    </a:lnTo>
                    <a:cubicBezTo>
                      <a:pt x="115" y="19"/>
                      <a:pt x="29" y="0"/>
                      <a:pt x="5" y="30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BC456909-A6B0-794B-8432-82E305C99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2762" y="4781303"/>
                <a:ext cx="440685" cy="440687"/>
              </a:xfrm>
              <a:custGeom>
                <a:avLst/>
                <a:gdLst>
                  <a:gd name="T0" fmla="*/ 663 w 675"/>
                  <a:gd name="T1" fmla="*/ 356 h 676"/>
                  <a:gd name="T2" fmla="*/ 663 w 675"/>
                  <a:gd name="T3" fmla="*/ 356 h 676"/>
                  <a:gd name="T4" fmla="*/ 317 w 675"/>
                  <a:gd name="T5" fmla="*/ 663 h 676"/>
                  <a:gd name="T6" fmla="*/ 317 w 675"/>
                  <a:gd name="T7" fmla="*/ 663 h 676"/>
                  <a:gd name="T8" fmla="*/ 10 w 675"/>
                  <a:gd name="T9" fmla="*/ 318 h 676"/>
                  <a:gd name="T10" fmla="*/ 10 w 675"/>
                  <a:gd name="T11" fmla="*/ 318 h 676"/>
                  <a:gd name="T12" fmla="*/ 356 w 675"/>
                  <a:gd name="T13" fmla="*/ 10 h 676"/>
                  <a:gd name="T14" fmla="*/ 356 w 675"/>
                  <a:gd name="T15" fmla="*/ 10 h 676"/>
                  <a:gd name="T16" fmla="*/ 663 w 675"/>
                  <a:gd name="T17" fmla="*/ 356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5" h="676">
                    <a:moveTo>
                      <a:pt x="663" y="356"/>
                    </a:moveTo>
                    <a:lnTo>
                      <a:pt x="663" y="356"/>
                    </a:lnTo>
                    <a:cubicBezTo>
                      <a:pt x="653" y="537"/>
                      <a:pt x="497" y="675"/>
                      <a:pt x="317" y="663"/>
                    </a:cubicBezTo>
                    <a:lnTo>
                      <a:pt x="317" y="663"/>
                    </a:lnTo>
                    <a:cubicBezTo>
                      <a:pt x="137" y="653"/>
                      <a:pt x="0" y="499"/>
                      <a:pt x="10" y="318"/>
                    </a:cubicBezTo>
                    <a:lnTo>
                      <a:pt x="10" y="318"/>
                    </a:lnTo>
                    <a:cubicBezTo>
                      <a:pt x="21" y="137"/>
                      <a:pt x="176" y="0"/>
                      <a:pt x="356" y="10"/>
                    </a:cubicBezTo>
                    <a:lnTo>
                      <a:pt x="356" y="10"/>
                    </a:lnTo>
                    <a:cubicBezTo>
                      <a:pt x="536" y="21"/>
                      <a:pt x="674" y="176"/>
                      <a:pt x="663" y="356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9EA46370-F9BA-AC43-9EA4-70661506E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7449" y="5907503"/>
                <a:ext cx="161297" cy="581821"/>
              </a:xfrm>
              <a:custGeom>
                <a:avLst/>
                <a:gdLst>
                  <a:gd name="T0" fmla="*/ 0 w 249"/>
                  <a:gd name="T1" fmla="*/ 0 h 891"/>
                  <a:gd name="T2" fmla="*/ 37 w 249"/>
                  <a:gd name="T3" fmla="*/ 877 h 891"/>
                  <a:gd name="T4" fmla="*/ 165 w 249"/>
                  <a:gd name="T5" fmla="*/ 890 h 891"/>
                  <a:gd name="T6" fmla="*/ 248 w 249"/>
                  <a:gd name="T7" fmla="*/ 101 h 891"/>
                  <a:gd name="T8" fmla="*/ 0 w 249"/>
                  <a:gd name="T9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891">
                    <a:moveTo>
                      <a:pt x="0" y="0"/>
                    </a:moveTo>
                    <a:lnTo>
                      <a:pt x="37" y="877"/>
                    </a:lnTo>
                    <a:lnTo>
                      <a:pt x="165" y="890"/>
                    </a:lnTo>
                    <a:lnTo>
                      <a:pt x="248" y="10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71279ED-F4D7-E94D-A5D8-80D4FD6D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54507" y="5466815"/>
                <a:ext cx="135373" cy="691273"/>
              </a:xfrm>
              <a:custGeom>
                <a:avLst/>
                <a:gdLst>
                  <a:gd name="T0" fmla="*/ 162 w 206"/>
                  <a:gd name="T1" fmla="*/ 601 h 1058"/>
                  <a:gd name="T2" fmla="*/ 162 w 206"/>
                  <a:gd name="T3" fmla="*/ 601 h 1058"/>
                  <a:gd name="T4" fmla="*/ 36 w 206"/>
                  <a:gd name="T5" fmla="*/ 0 h 1058"/>
                  <a:gd name="T6" fmla="*/ 0 w 206"/>
                  <a:gd name="T7" fmla="*/ 411 h 1058"/>
                  <a:gd name="T8" fmla="*/ 0 w 206"/>
                  <a:gd name="T9" fmla="*/ 411 h 1058"/>
                  <a:gd name="T10" fmla="*/ 75 w 206"/>
                  <a:gd name="T11" fmla="*/ 710 h 1058"/>
                  <a:gd name="T12" fmla="*/ 75 w 206"/>
                  <a:gd name="T13" fmla="*/ 710 h 1058"/>
                  <a:gd name="T14" fmla="*/ 55 w 206"/>
                  <a:gd name="T15" fmla="*/ 1056 h 1058"/>
                  <a:gd name="T16" fmla="*/ 55 w 206"/>
                  <a:gd name="T17" fmla="*/ 1057 h 1058"/>
                  <a:gd name="T18" fmla="*/ 55 w 206"/>
                  <a:gd name="T19" fmla="*/ 1057 h 1058"/>
                  <a:gd name="T20" fmla="*/ 162 w 206"/>
                  <a:gd name="T21" fmla="*/ 601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58">
                    <a:moveTo>
                      <a:pt x="162" y="601"/>
                    </a:moveTo>
                    <a:lnTo>
                      <a:pt x="162" y="601"/>
                    </a:lnTo>
                    <a:cubicBezTo>
                      <a:pt x="119" y="413"/>
                      <a:pt x="36" y="0"/>
                      <a:pt x="36" y="0"/>
                    </a:cubicBezTo>
                    <a:lnTo>
                      <a:pt x="0" y="411"/>
                    </a:lnTo>
                    <a:lnTo>
                      <a:pt x="0" y="411"/>
                    </a:lnTo>
                    <a:cubicBezTo>
                      <a:pt x="41" y="533"/>
                      <a:pt x="77" y="645"/>
                      <a:pt x="75" y="710"/>
                    </a:cubicBezTo>
                    <a:lnTo>
                      <a:pt x="75" y="710"/>
                    </a:lnTo>
                    <a:cubicBezTo>
                      <a:pt x="73" y="817"/>
                      <a:pt x="65" y="937"/>
                      <a:pt x="55" y="1056"/>
                    </a:cubicBezTo>
                    <a:lnTo>
                      <a:pt x="55" y="1057"/>
                    </a:lnTo>
                    <a:lnTo>
                      <a:pt x="55" y="1057"/>
                    </a:lnTo>
                    <a:cubicBezTo>
                      <a:pt x="55" y="1057"/>
                      <a:pt x="205" y="787"/>
                      <a:pt x="162" y="60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758FD8D-805D-2541-B53C-53C038BA4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38483" y="5368885"/>
                <a:ext cx="253467" cy="717196"/>
              </a:xfrm>
              <a:custGeom>
                <a:avLst/>
                <a:gdLst>
                  <a:gd name="T0" fmla="*/ 261 w 387"/>
                  <a:gd name="T1" fmla="*/ 0 h 1097"/>
                  <a:gd name="T2" fmla="*/ 261 w 387"/>
                  <a:gd name="T3" fmla="*/ 0 h 1097"/>
                  <a:gd name="T4" fmla="*/ 101 w 387"/>
                  <a:gd name="T5" fmla="*/ 354 h 1097"/>
                  <a:gd name="T6" fmla="*/ 101 w 387"/>
                  <a:gd name="T7" fmla="*/ 354 h 1097"/>
                  <a:gd name="T8" fmla="*/ 103 w 387"/>
                  <a:gd name="T9" fmla="*/ 1024 h 1097"/>
                  <a:gd name="T10" fmla="*/ 103 w 387"/>
                  <a:gd name="T11" fmla="*/ 1024 h 1097"/>
                  <a:gd name="T12" fmla="*/ 323 w 387"/>
                  <a:gd name="T13" fmla="*/ 1011 h 1097"/>
                  <a:gd name="T14" fmla="*/ 323 w 387"/>
                  <a:gd name="T15" fmla="*/ 1011 h 1097"/>
                  <a:gd name="T16" fmla="*/ 376 w 387"/>
                  <a:gd name="T17" fmla="*/ 376 h 1097"/>
                  <a:gd name="T18" fmla="*/ 376 w 387"/>
                  <a:gd name="T19" fmla="*/ 376 h 1097"/>
                  <a:gd name="T20" fmla="*/ 261 w 387"/>
                  <a:gd name="T21" fmla="*/ 0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7" h="1097">
                    <a:moveTo>
                      <a:pt x="261" y="0"/>
                    </a:moveTo>
                    <a:lnTo>
                      <a:pt x="261" y="0"/>
                    </a:lnTo>
                    <a:cubicBezTo>
                      <a:pt x="261" y="0"/>
                      <a:pt x="159" y="40"/>
                      <a:pt x="101" y="354"/>
                    </a:cubicBezTo>
                    <a:lnTo>
                      <a:pt x="101" y="354"/>
                    </a:lnTo>
                    <a:cubicBezTo>
                      <a:pt x="43" y="669"/>
                      <a:pt x="0" y="983"/>
                      <a:pt x="103" y="1024"/>
                    </a:cubicBezTo>
                    <a:lnTo>
                      <a:pt x="103" y="1024"/>
                    </a:lnTo>
                    <a:cubicBezTo>
                      <a:pt x="207" y="1065"/>
                      <a:pt x="293" y="1096"/>
                      <a:pt x="323" y="1011"/>
                    </a:cubicBezTo>
                    <a:lnTo>
                      <a:pt x="323" y="1011"/>
                    </a:lnTo>
                    <a:cubicBezTo>
                      <a:pt x="353" y="927"/>
                      <a:pt x="372" y="522"/>
                      <a:pt x="376" y="376"/>
                    </a:cubicBezTo>
                    <a:lnTo>
                      <a:pt x="376" y="376"/>
                    </a:lnTo>
                    <a:cubicBezTo>
                      <a:pt x="380" y="231"/>
                      <a:pt x="386" y="29"/>
                      <a:pt x="261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CE863AF5-433B-F24A-B7A8-73D341CB2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400" y="6074560"/>
                <a:ext cx="273628" cy="236185"/>
              </a:xfrm>
              <a:custGeom>
                <a:avLst/>
                <a:gdLst>
                  <a:gd name="T0" fmla="*/ 200 w 420"/>
                  <a:gd name="T1" fmla="*/ 32 h 360"/>
                  <a:gd name="T2" fmla="*/ 200 w 420"/>
                  <a:gd name="T3" fmla="*/ 32 h 360"/>
                  <a:gd name="T4" fmla="*/ 295 w 420"/>
                  <a:gd name="T5" fmla="*/ 96 h 360"/>
                  <a:gd name="T6" fmla="*/ 295 w 420"/>
                  <a:gd name="T7" fmla="*/ 96 h 360"/>
                  <a:gd name="T8" fmla="*/ 360 w 420"/>
                  <a:gd name="T9" fmla="*/ 183 h 360"/>
                  <a:gd name="T10" fmla="*/ 360 w 420"/>
                  <a:gd name="T11" fmla="*/ 183 h 360"/>
                  <a:gd name="T12" fmla="*/ 400 w 420"/>
                  <a:gd name="T13" fmla="*/ 347 h 360"/>
                  <a:gd name="T14" fmla="*/ 400 w 420"/>
                  <a:gd name="T15" fmla="*/ 347 h 360"/>
                  <a:gd name="T16" fmla="*/ 251 w 420"/>
                  <a:gd name="T17" fmla="*/ 217 h 360"/>
                  <a:gd name="T18" fmla="*/ 251 w 420"/>
                  <a:gd name="T19" fmla="*/ 217 h 360"/>
                  <a:gd name="T20" fmla="*/ 228 w 420"/>
                  <a:gd name="T21" fmla="*/ 301 h 360"/>
                  <a:gd name="T22" fmla="*/ 228 w 420"/>
                  <a:gd name="T23" fmla="*/ 301 h 360"/>
                  <a:gd name="T24" fmla="*/ 63 w 420"/>
                  <a:gd name="T25" fmla="*/ 57 h 360"/>
                  <a:gd name="T26" fmla="*/ 63 w 420"/>
                  <a:gd name="T27" fmla="*/ 57 h 360"/>
                  <a:gd name="T28" fmla="*/ 200 w 420"/>
                  <a:gd name="T29" fmla="*/ 3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0" h="360">
                    <a:moveTo>
                      <a:pt x="200" y="32"/>
                    </a:moveTo>
                    <a:lnTo>
                      <a:pt x="200" y="32"/>
                    </a:lnTo>
                    <a:cubicBezTo>
                      <a:pt x="200" y="32"/>
                      <a:pt x="255" y="52"/>
                      <a:pt x="295" y="96"/>
                    </a:cubicBezTo>
                    <a:lnTo>
                      <a:pt x="295" y="96"/>
                    </a:lnTo>
                    <a:cubicBezTo>
                      <a:pt x="328" y="132"/>
                      <a:pt x="346" y="162"/>
                      <a:pt x="360" y="183"/>
                    </a:cubicBezTo>
                    <a:lnTo>
                      <a:pt x="360" y="183"/>
                    </a:lnTo>
                    <a:cubicBezTo>
                      <a:pt x="393" y="231"/>
                      <a:pt x="419" y="334"/>
                      <a:pt x="400" y="347"/>
                    </a:cubicBezTo>
                    <a:lnTo>
                      <a:pt x="400" y="347"/>
                    </a:lnTo>
                    <a:cubicBezTo>
                      <a:pt x="380" y="359"/>
                      <a:pt x="269" y="174"/>
                      <a:pt x="251" y="217"/>
                    </a:cubicBezTo>
                    <a:lnTo>
                      <a:pt x="251" y="217"/>
                    </a:lnTo>
                    <a:cubicBezTo>
                      <a:pt x="234" y="260"/>
                      <a:pt x="252" y="300"/>
                      <a:pt x="228" y="301"/>
                    </a:cubicBezTo>
                    <a:lnTo>
                      <a:pt x="228" y="301"/>
                    </a:lnTo>
                    <a:cubicBezTo>
                      <a:pt x="205" y="301"/>
                      <a:pt x="125" y="115"/>
                      <a:pt x="63" y="57"/>
                    </a:cubicBezTo>
                    <a:lnTo>
                      <a:pt x="63" y="57"/>
                    </a:lnTo>
                    <a:cubicBezTo>
                      <a:pt x="0" y="0"/>
                      <a:pt x="200" y="32"/>
                      <a:pt x="200" y="3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114FEF8F-D0C2-B245-BF31-699F00928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9819" y="6690944"/>
                <a:ext cx="77767" cy="1264452"/>
              </a:xfrm>
              <a:custGeom>
                <a:avLst/>
                <a:gdLst>
                  <a:gd name="T0" fmla="*/ 0 w 120"/>
                  <a:gd name="T1" fmla="*/ 1933 h 1934"/>
                  <a:gd name="T2" fmla="*/ 0 w 120"/>
                  <a:gd name="T3" fmla="*/ 1933 h 1934"/>
                  <a:gd name="T4" fmla="*/ 70 w 120"/>
                  <a:gd name="T5" fmla="*/ 1926 h 1934"/>
                  <a:gd name="T6" fmla="*/ 119 w 120"/>
                  <a:gd name="T7" fmla="*/ 0 h 1934"/>
                  <a:gd name="T8" fmla="*/ 0 w 120"/>
                  <a:gd name="T9" fmla="*/ 1933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934">
                    <a:moveTo>
                      <a:pt x="0" y="1933"/>
                    </a:moveTo>
                    <a:lnTo>
                      <a:pt x="0" y="1933"/>
                    </a:lnTo>
                    <a:cubicBezTo>
                      <a:pt x="0" y="1933"/>
                      <a:pt x="31" y="1933"/>
                      <a:pt x="70" y="1926"/>
                    </a:cubicBezTo>
                    <a:lnTo>
                      <a:pt x="119" y="0"/>
                    </a:lnTo>
                    <a:lnTo>
                      <a:pt x="0" y="1933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43508CAC-42B8-404A-9F78-0DAEE1777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601984" cy="818006"/>
              </a:xfrm>
              <a:custGeom>
                <a:avLst/>
                <a:gdLst>
                  <a:gd name="T0" fmla="*/ 867 w 922"/>
                  <a:gd name="T1" fmla="*/ 1250 h 1251"/>
                  <a:gd name="T2" fmla="*/ 799 w 922"/>
                  <a:gd name="T3" fmla="*/ 1162 h 1251"/>
                  <a:gd name="T4" fmla="*/ 82 w 922"/>
                  <a:gd name="T5" fmla="*/ 746 h 1251"/>
                  <a:gd name="T6" fmla="*/ 82 w 922"/>
                  <a:gd name="T7" fmla="*/ 746 h 1251"/>
                  <a:gd name="T8" fmla="*/ 41 w 922"/>
                  <a:gd name="T9" fmla="*/ 667 h 1251"/>
                  <a:gd name="T10" fmla="*/ 41 w 922"/>
                  <a:gd name="T11" fmla="*/ 80 h 1251"/>
                  <a:gd name="T12" fmla="*/ 0 w 922"/>
                  <a:gd name="T13" fmla="*/ 28 h 1251"/>
                  <a:gd name="T14" fmla="*/ 39 w 922"/>
                  <a:gd name="T15" fmla="*/ 5 h 1251"/>
                  <a:gd name="T16" fmla="*/ 39 w 922"/>
                  <a:gd name="T17" fmla="*/ 5 h 1251"/>
                  <a:gd name="T18" fmla="*/ 39 w 922"/>
                  <a:gd name="T19" fmla="*/ 5 h 1251"/>
                  <a:gd name="T20" fmla="*/ 67 w 922"/>
                  <a:gd name="T21" fmla="*/ 7 h 1251"/>
                  <a:gd name="T22" fmla="*/ 879 w 922"/>
                  <a:gd name="T23" fmla="*/ 476 h 1251"/>
                  <a:gd name="T24" fmla="*/ 879 w 922"/>
                  <a:gd name="T25" fmla="*/ 476 h 1251"/>
                  <a:gd name="T26" fmla="*/ 921 w 922"/>
                  <a:gd name="T27" fmla="*/ 556 h 1251"/>
                  <a:gd name="T28" fmla="*/ 920 w 922"/>
                  <a:gd name="T29" fmla="*/ 1195 h 1251"/>
                  <a:gd name="T30" fmla="*/ 920 w 922"/>
                  <a:gd name="T31" fmla="*/ 1195 h 1251"/>
                  <a:gd name="T32" fmla="*/ 905 w 922"/>
                  <a:gd name="T33" fmla="*/ 1228 h 1251"/>
                  <a:gd name="T34" fmla="*/ 867 w 922"/>
                  <a:gd name="T35" fmla="*/ 1250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2" h="1251">
                    <a:moveTo>
                      <a:pt x="867" y="1250"/>
                    </a:moveTo>
                    <a:lnTo>
                      <a:pt x="799" y="1162"/>
                    </a:lnTo>
                    <a:lnTo>
                      <a:pt x="82" y="746"/>
                    </a:lnTo>
                    <a:lnTo>
                      <a:pt x="82" y="746"/>
                    </a:lnTo>
                    <a:cubicBezTo>
                      <a:pt x="59" y="733"/>
                      <a:pt x="40" y="698"/>
                      <a:pt x="41" y="667"/>
                    </a:cubicBez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902" y="489"/>
                      <a:pt x="921" y="525"/>
                      <a:pt x="921" y="556"/>
                    </a:cubicBezTo>
                    <a:lnTo>
                      <a:pt x="920" y="1195"/>
                    </a:lnTo>
                    <a:lnTo>
                      <a:pt x="920" y="1195"/>
                    </a:lnTo>
                    <a:cubicBezTo>
                      <a:pt x="920" y="1211"/>
                      <a:pt x="914" y="1224"/>
                      <a:pt x="905" y="1228"/>
                    </a:cubicBezTo>
                    <a:lnTo>
                      <a:pt x="867" y="125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528A0501-66D6-C943-9888-CC2FA6B95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40"/>
                <a:ext cx="596224" cy="596224"/>
              </a:xfrm>
              <a:custGeom>
                <a:avLst/>
                <a:gdLst>
                  <a:gd name="T0" fmla="*/ 372 w 911"/>
                  <a:gd name="T1" fmla="*/ 914 h 915"/>
                  <a:gd name="T2" fmla="*/ 321 w 911"/>
                  <a:gd name="T3" fmla="*/ 884 h 915"/>
                  <a:gd name="T4" fmla="*/ 41 w 911"/>
                  <a:gd name="T5" fmla="*/ 399 h 915"/>
                  <a:gd name="T6" fmla="*/ 41 w 911"/>
                  <a:gd name="T7" fmla="*/ 80 h 915"/>
                  <a:gd name="T8" fmla="*/ 0 w 911"/>
                  <a:gd name="T9" fmla="*/ 28 h 915"/>
                  <a:gd name="T10" fmla="*/ 39 w 911"/>
                  <a:gd name="T11" fmla="*/ 5 h 915"/>
                  <a:gd name="T12" fmla="*/ 39 w 911"/>
                  <a:gd name="T13" fmla="*/ 5 h 915"/>
                  <a:gd name="T14" fmla="*/ 39 w 911"/>
                  <a:gd name="T15" fmla="*/ 5 h 915"/>
                  <a:gd name="T16" fmla="*/ 67 w 911"/>
                  <a:gd name="T17" fmla="*/ 7 h 915"/>
                  <a:gd name="T18" fmla="*/ 879 w 911"/>
                  <a:gd name="T19" fmla="*/ 476 h 915"/>
                  <a:gd name="T20" fmla="*/ 879 w 911"/>
                  <a:gd name="T21" fmla="*/ 476 h 915"/>
                  <a:gd name="T22" fmla="*/ 910 w 911"/>
                  <a:gd name="T23" fmla="*/ 512 h 915"/>
                  <a:gd name="T24" fmla="*/ 372 w 911"/>
                  <a:gd name="T25" fmla="*/ 914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1" h="915">
                    <a:moveTo>
                      <a:pt x="372" y="914"/>
                    </a:moveTo>
                    <a:lnTo>
                      <a:pt x="321" y="884"/>
                    </a:lnTo>
                    <a:lnTo>
                      <a:pt x="41" y="399"/>
                    </a:lnTo>
                    <a:lnTo>
                      <a:pt x="41" y="80"/>
                    </a:ln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79" y="476"/>
                    </a:lnTo>
                    <a:lnTo>
                      <a:pt x="879" y="476"/>
                    </a:lnTo>
                    <a:cubicBezTo>
                      <a:pt x="891" y="483"/>
                      <a:pt x="902" y="496"/>
                      <a:pt x="910" y="512"/>
                    </a:cubicBezTo>
                    <a:lnTo>
                      <a:pt x="372" y="91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729B084B-D1EE-E044-AAC5-9F8F1DA0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1426" y="6457639"/>
                <a:ext cx="54727" cy="34564"/>
              </a:xfrm>
              <a:custGeom>
                <a:avLst/>
                <a:gdLst>
                  <a:gd name="T0" fmla="*/ 19 w 82"/>
                  <a:gd name="T1" fmla="*/ 51 h 52"/>
                  <a:gd name="T2" fmla="*/ 0 w 82"/>
                  <a:gd name="T3" fmla="*/ 28 h 52"/>
                  <a:gd name="T4" fmla="*/ 39 w 82"/>
                  <a:gd name="T5" fmla="*/ 5 h 52"/>
                  <a:gd name="T6" fmla="*/ 39 w 82"/>
                  <a:gd name="T7" fmla="*/ 5 h 52"/>
                  <a:gd name="T8" fmla="*/ 39 w 82"/>
                  <a:gd name="T9" fmla="*/ 5 h 52"/>
                  <a:gd name="T10" fmla="*/ 67 w 82"/>
                  <a:gd name="T11" fmla="*/ 7 h 52"/>
                  <a:gd name="T12" fmla="*/ 81 w 82"/>
                  <a:gd name="T13" fmla="*/ 15 h 52"/>
                  <a:gd name="T14" fmla="*/ 19 w 82"/>
                  <a:gd name="T15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52">
                    <a:moveTo>
                      <a:pt x="19" y="51"/>
                    </a:moveTo>
                    <a:lnTo>
                      <a:pt x="0" y="28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5"/>
                    </a:lnTo>
                    <a:cubicBezTo>
                      <a:pt x="46" y="0"/>
                      <a:pt x="56" y="1"/>
                      <a:pt x="67" y="7"/>
                    </a:cubicBezTo>
                    <a:lnTo>
                      <a:pt x="81" y="15"/>
                    </a:lnTo>
                    <a:lnTo>
                      <a:pt x="19" y="5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AB8692D3-6694-B14A-A085-98B180BD8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5642" y="6771594"/>
                <a:ext cx="77769" cy="74888"/>
              </a:xfrm>
              <a:custGeom>
                <a:avLst/>
                <a:gdLst>
                  <a:gd name="T0" fmla="*/ 83 w 118"/>
                  <a:gd name="T1" fmla="*/ 0 h 115"/>
                  <a:gd name="T2" fmla="*/ 83 w 118"/>
                  <a:gd name="T3" fmla="*/ 0 h 115"/>
                  <a:gd name="T4" fmla="*/ 117 w 118"/>
                  <a:gd name="T5" fmla="*/ 69 h 115"/>
                  <a:gd name="T6" fmla="*/ 38 w 118"/>
                  <a:gd name="T7" fmla="*/ 114 h 115"/>
                  <a:gd name="T8" fmla="*/ 0 w 118"/>
                  <a:gd name="T9" fmla="*/ 49 h 115"/>
                  <a:gd name="T10" fmla="*/ 83 w 118"/>
                  <a:gd name="T1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5">
                    <a:moveTo>
                      <a:pt x="83" y="0"/>
                    </a:moveTo>
                    <a:lnTo>
                      <a:pt x="83" y="0"/>
                    </a:lnTo>
                    <a:cubicBezTo>
                      <a:pt x="101" y="15"/>
                      <a:pt x="116" y="43"/>
                      <a:pt x="117" y="69"/>
                    </a:cubicBezTo>
                    <a:lnTo>
                      <a:pt x="38" y="114"/>
                    </a:lnTo>
                    <a:lnTo>
                      <a:pt x="0" y="49"/>
                    </a:lnTo>
                    <a:lnTo>
                      <a:pt x="83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44764631-A6AE-7640-B484-541E23F44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62786" y="6469161"/>
                <a:ext cx="584700" cy="815126"/>
              </a:xfrm>
              <a:custGeom>
                <a:avLst/>
                <a:gdLst>
                  <a:gd name="T0" fmla="*/ 854 w 897"/>
                  <a:gd name="T1" fmla="*/ 482 h 1246"/>
                  <a:gd name="T2" fmla="*/ 42 w 897"/>
                  <a:gd name="T3" fmla="*/ 13 h 1246"/>
                  <a:gd name="T4" fmla="*/ 42 w 897"/>
                  <a:gd name="T5" fmla="*/ 13 h 1246"/>
                  <a:gd name="T6" fmla="*/ 1 w 897"/>
                  <a:gd name="T7" fmla="*/ 45 h 1246"/>
                  <a:gd name="T8" fmla="*/ 0 w 897"/>
                  <a:gd name="T9" fmla="*/ 683 h 1246"/>
                  <a:gd name="T10" fmla="*/ 0 w 897"/>
                  <a:gd name="T11" fmla="*/ 683 h 1246"/>
                  <a:gd name="T12" fmla="*/ 42 w 897"/>
                  <a:gd name="T13" fmla="*/ 762 h 1246"/>
                  <a:gd name="T14" fmla="*/ 854 w 897"/>
                  <a:gd name="T15" fmla="*/ 1232 h 1246"/>
                  <a:gd name="T16" fmla="*/ 854 w 897"/>
                  <a:gd name="T17" fmla="*/ 1232 h 1246"/>
                  <a:gd name="T18" fmla="*/ 895 w 897"/>
                  <a:gd name="T19" fmla="*/ 1201 h 1246"/>
                  <a:gd name="T20" fmla="*/ 896 w 897"/>
                  <a:gd name="T21" fmla="*/ 562 h 1246"/>
                  <a:gd name="T22" fmla="*/ 896 w 897"/>
                  <a:gd name="T23" fmla="*/ 562 h 1246"/>
                  <a:gd name="T24" fmla="*/ 854 w 897"/>
                  <a:gd name="T25" fmla="*/ 482 h 1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7" h="1246">
                    <a:moveTo>
                      <a:pt x="854" y="482"/>
                    </a:moveTo>
                    <a:lnTo>
                      <a:pt x="42" y="13"/>
                    </a:lnTo>
                    <a:lnTo>
                      <a:pt x="42" y="13"/>
                    </a:lnTo>
                    <a:cubicBezTo>
                      <a:pt x="19" y="0"/>
                      <a:pt x="1" y="14"/>
                      <a:pt x="1" y="45"/>
                    </a:cubicBezTo>
                    <a:lnTo>
                      <a:pt x="0" y="683"/>
                    </a:lnTo>
                    <a:lnTo>
                      <a:pt x="0" y="683"/>
                    </a:lnTo>
                    <a:cubicBezTo>
                      <a:pt x="0" y="713"/>
                      <a:pt x="19" y="749"/>
                      <a:pt x="42" y="762"/>
                    </a:cubicBezTo>
                    <a:lnTo>
                      <a:pt x="854" y="1232"/>
                    </a:lnTo>
                    <a:lnTo>
                      <a:pt x="854" y="1232"/>
                    </a:lnTo>
                    <a:cubicBezTo>
                      <a:pt x="877" y="1245"/>
                      <a:pt x="895" y="1231"/>
                      <a:pt x="895" y="1201"/>
                    </a:cubicBezTo>
                    <a:lnTo>
                      <a:pt x="896" y="562"/>
                    </a:lnTo>
                    <a:lnTo>
                      <a:pt x="896" y="562"/>
                    </a:lnTo>
                    <a:cubicBezTo>
                      <a:pt x="896" y="531"/>
                      <a:pt x="877" y="496"/>
                      <a:pt x="854" y="48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06BC7F56-BB1F-3843-88F7-5715046CF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0328" y="6362590"/>
                <a:ext cx="141136" cy="403242"/>
              </a:xfrm>
              <a:custGeom>
                <a:avLst/>
                <a:gdLst>
                  <a:gd name="T0" fmla="*/ 34 w 215"/>
                  <a:gd name="T1" fmla="*/ 174 h 618"/>
                  <a:gd name="T2" fmla="*/ 34 w 215"/>
                  <a:gd name="T3" fmla="*/ 174 h 618"/>
                  <a:gd name="T4" fmla="*/ 5 w 215"/>
                  <a:gd name="T5" fmla="*/ 443 h 618"/>
                  <a:gd name="T6" fmla="*/ 5 w 215"/>
                  <a:gd name="T7" fmla="*/ 443 h 618"/>
                  <a:gd name="T8" fmla="*/ 72 w 215"/>
                  <a:gd name="T9" fmla="*/ 614 h 618"/>
                  <a:gd name="T10" fmla="*/ 72 w 215"/>
                  <a:gd name="T11" fmla="*/ 614 h 618"/>
                  <a:gd name="T12" fmla="*/ 120 w 215"/>
                  <a:gd name="T13" fmla="*/ 377 h 618"/>
                  <a:gd name="T14" fmla="*/ 120 w 215"/>
                  <a:gd name="T15" fmla="*/ 377 h 618"/>
                  <a:gd name="T16" fmla="*/ 192 w 215"/>
                  <a:gd name="T17" fmla="*/ 432 h 618"/>
                  <a:gd name="T18" fmla="*/ 192 w 215"/>
                  <a:gd name="T19" fmla="*/ 432 h 618"/>
                  <a:gd name="T20" fmla="*/ 171 w 215"/>
                  <a:gd name="T21" fmla="*/ 97 h 618"/>
                  <a:gd name="T22" fmla="*/ 171 w 215"/>
                  <a:gd name="T23" fmla="*/ 97 h 618"/>
                  <a:gd name="T24" fmla="*/ 34 w 215"/>
                  <a:gd name="T25" fmla="*/ 17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5" h="618">
                    <a:moveTo>
                      <a:pt x="34" y="174"/>
                    </a:moveTo>
                    <a:lnTo>
                      <a:pt x="34" y="174"/>
                    </a:lnTo>
                    <a:cubicBezTo>
                      <a:pt x="34" y="174"/>
                      <a:pt x="0" y="377"/>
                      <a:pt x="5" y="443"/>
                    </a:cubicBezTo>
                    <a:lnTo>
                      <a:pt x="5" y="443"/>
                    </a:lnTo>
                    <a:cubicBezTo>
                      <a:pt x="10" y="508"/>
                      <a:pt x="45" y="617"/>
                      <a:pt x="72" y="614"/>
                    </a:cubicBezTo>
                    <a:lnTo>
                      <a:pt x="72" y="614"/>
                    </a:lnTo>
                    <a:cubicBezTo>
                      <a:pt x="99" y="612"/>
                      <a:pt x="73" y="351"/>
                      <a:pt x="120" y="377"/>
                    </a:cubicBezTo>
                    <a:lnTo>
                      <a:pt x="120" y="377"/>
                    </a:lnTo>
                    <a:cubicBezTo>
                      <a:pt x="166" y="403"/>
                      <a:pt x="171" y="447"/>
                      <a:pt x="192" y="432"/>
                    </a:cubicBezTo>
                    <a:lnTo>
                      <a:pt x="192" y="432"/>
                    </a:lnTo>
                    <a:cubicBezTo>
                      <a:pt x="214" y="416"/>
                      <a:pt x="155" y="194"/>
                      <a:pt x="171" y="97"/>
                    </a:cubicBezTo>
                    <a:lnTo>
                      <a:pt x="171" y="97"/>
                    </a:lnTo>
                    <a:cubicBezTo>
                      <a:pt x="186" y="0"/>
                      <a:pt x="34" y="174"/>
                      <a:pt x="34" y="174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A97D26C-2931-FE45-A260-1F164C23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537" y="4908036"/>
                <a:ext cx="288030" cy="149776"/>
              </a:xfrm>
              <a:custGeom>
                <a:avLst/>
                <a:gdLst>
                  <a:gd name="T0" fmla="*/ 236 w 441"/>
                  <a:gd name="T1" fmla="*/ 172 h 231"/>
                  <a:gd name="T2" fmla="*/ 236 w 441"/>
                  <a:gd name="T3" fmla="*/ 172 h 231"/>
                  <a:gd name="T4" fmla="*/ 434 w 441"/>
                  <a:gd name="T5" fmla="*/ 192 h 231"/>
                  <a:gd name="T6" fmla="*/ 434 w 441"/>
                  <a:gd name="T7" fmla="*/ 192 h 231"/>
                  <a:gd name="T8" fmla="*/ 437 w 441"/>
                  <a:gd name="T9" fmla="*/ 162 h 231"/>
                  <a:gd name="T10" fmla="*/ 437 w 441"/>
                  <a:gd name="T11" fmla="*/ 162 h 231"/>
                  <a:gd name="T12" fmla="*/ 427 w 441"/>
                  <a:gd name="T13" fmla="*/ 58 h 231"/>
                  <a:gd name="T14" fmla="*/ 0 w 441"/>
                  <a:gd name="T15" fmla="*/ 0 h 231"/>
                  <a:gd name="T16" fmla="*/ 0 w 441"/>
                  <a:gd name="T17" fmla="*/ 0 h 231"/>
                  <a:gd name="T18" fmla="*/ 236 w 441"/>
                  <a:gd name="T19" fmla="*/ 17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1" h="231">
                    <a:moveTo>
                      <a:pt x="236" y="172"/>
                    </a:moveTo>
                    <a:lnTo>
                      <a:pt x="236" y="172"/>
                    </a:lnTo>
                    <a:cubicBezTo>
                      <a:pt x="401" y="230"/>
                      <a:pt x="432" y="195"/>
                      <a:pt x="434" y="192"/>
                    </a:cubicBezTo>
                    <a:lnTo>
                      <a:pt x="434" y="192"/>
                    </a:lnTo>
                    <a:cubicBezTo>
                      <a:pt x="435" y="182"/>
                      <a:pt x="437" y="172"/>
                      <a:pt x="437" y="162"/>
                    </a:cubicBezTo>
                    <a:lnTo>
                      <a:pt x="437" y="162"/>
                    </a:lnTo>
                    <a:cubicBezTo>
                      <a:pt x="440" y="126"/>
                      <a:pt x="435" y="91"/>
                      <a:pt x="427" y="58"/>
                    </a:cubicBez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68" y="112"/>
                      <a:pt x="236" y="172"/>
                    </a:cubicBez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3AFA5A73-F083-EC41-86F9-49C9F94F48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35156" y="4674733"/>
                <a:ext cx="601982" cy="561658"/>
              </a:xfrm>
              <a:custGeom>
                <a:avLst/>
                <a:gdLst>
                  <a:gd name="T0" fmla="*/ 765 w 923"/>
                  <a:gd name="T1" fmla="*/ 197 h 859"/>
                  <a:gd name="T2" fmla="*/ 765 w 923"/>
                  <a:gd name="T3" fmla="*/ 197 h 859"/>
                  <a:gd name="T4" fmla="*/ 337 w 923"/>
                  <a:gd name="T5" fmla="*/ 39 h 859"/>
                  <a:gd name="T6" fmla="*/ 337 w 923"/>
                  <a:gd name="T7" fmla="*/ 39 h 859"/>
                  <a:gd name="T8" fmla="*/ 20 w 923"/>
                  <a:gd name="T9" fmla="*/ 413 h 859"/>
                  <a:gd name="T10" fmla="*/ 20 w 923"/>
                  <a:gd name="T11" fmla="*/ 413 h 859"/>
                  <a:gd name="T12" fmla="*/ 171 w 923"/>
                  <a:gd name="T13" fmla="*/ 858 h 859"/>
                  <a:gd name="T14" fmla="*/ 171 w 923"/>
                  <a:gd name="T15" fmla="*/ 858 h 859"/>
                  <a:gd name="T16" fmla="*/ 188 w 923"/>
                  <a:gd name="T17" fmla="*/ 849 h 859"/>
                  <a:gd name="T18" fmla="*/ 188 w 923"/>
                  <a:gd name="T19" fmla="*/ 849 h 859"/>
                  <a:gd name="T20" fmla="*/ 258 w 923"/>
                  <a:gd name="T21" fmla="*/ 785 h 859"/>
                  <a:gd name="T22" fmla="*/ 272 w 923"/>
                  <a:gd name="T23" fmla="*/ 660 h 859"/>
                  <a:gd name="T24" fmla="*/ 272 w 923"/>
                  <a:gd name="T25" fmla="*/ 660 h 859"/>
                  <a:gd name="T26" fmla="*/ 241 w 923"/>
                  <a:gd name="T27" fmla="*/ 626 h 859"/>
                  <a:gd name="T28" fmla="*/ 241 w 923"/>
                  <a:gd name="T29" fmla="*/ 626 h 859"/>
                  <a:gd name="T30" fmla="*/ 194 w 923"/>
                  <a:gd name="T31" fmla="*/ 598 h 859"/>
                  <a:gd name="T32" fmla="*/ 194 w 923"/>
                  <a:gd name="T33" fmla="*/ 598 h 859"/>
                  <a:gd name="T34" fmla="*/ 247 w 923"/>
                  <a:gd name="T35" fmla="*/ 475 h 859"/>
                  <a:gd name="T36" fmla="*/ 247 w 923"/>
                  <a:gd name="T37" fmla="*/ 475 h 859"/>
                  <a:gd name="T38" fmla="*/ 304 w 923"/>
                  <a:gd name="T39" fmla="*/ 434 h 859"/>
                  <a:gd name="T40" fmla="*/ 304 w 923"/>
                  <a:gd name="T41" fmla="*/ 434 h 859"/>
                  <a:gd name="T42" fmla="*/ 343 w 923"/>
                  <a:gd name="T43" fmla="*/ 414 h 859"/>
                  <a:gd name="T44" fmla="*/ 343 w 923"/>
                  <a:gd name="T45" fmla="*/ 414 h 859"/>
                  <a:gd name="T46" fmla="*/ 756 w 923"/>
                  <a:gd name="T47" fmla="*/ 471 h 859"/>
                  <a:gd name="T48" fmla="*/ 756 w 923"/>
                  <a:gd name="T49" fmla="*/ 471 h 859"/>
                  <a:gd name="T50" fmla="*/ 765 w 923"/>
                  <a:gd name="T51" fmla="*/ 19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3" h="859">
                    <a:moveTo>
                      <a:pt x="765" y="197"/>
                    </a:moveTo>
                    <a:lnTo>
                      <a:pt x="765" y="197"/>
                    </a:lnTo>
                    <a:cubicBezTo>
                      <a:pt x="727" y="164"/>
                      <a:pt x="587" y="0"/>
                      <a:pt x="337" y="39"/>
                    </a:cubicBezTo>
                    <a:lnTo>
                      <a:pt x="337" y="39"/>
                    </a:lnTo>
                    <a:cubicBezTo>
                      <a:pt x="181" y="63"/>
                      <a:pt x="48" y="170"/>
                      <a:pt x="20" y="413"/>
                    </a:cubicBezTo>
                    <a:lnTo>
                      <a:pt x="20" y="413"/>
                    </a:lnTo>
                    <a:cubicBezTo>
                      <a:pt x="0" y="577"/>
                      <a:pt x="60" y="738"/>
                      <a:pt x="171" y="858"/>
                    </a:cubicBezTo>
                    <a:lnTo>
                      <a:pt x="171" y="858"/>
                    </a:lnTo>
                    <a:cubicBezTo>
                      <a:pt x="176" y="854"/>
                      <a:pt x="183" y="852"/>
                      <a:pt x="188" y="849"/>
                    </a:cubicBezTo>
                    <a:lnTo>
                      <a:pt x="188" y="849"/>
                    </a:lnTo>
                    <a:cubicBezTo>
                      <a:pt x="251" y="808"/>
                      <a:pt x="258" y="785"/>
                      <a:pt x="258" y="785"/>
                    </a:cubicBezTo>
                    <a:lnTo>
                      <a:pt x="272" y="660"/>
                    </a:lnTo>
                    <a:lnTo>
                      <a:pt x="272" y="660"/>
                    </a:lnTo>
                    <a:cubicBezTo>
                      <a:pt x="271" y="642"/>
                      <a:pt x="258" y="627"/>
                      <a:pt x="241" y="626"/>
                    </a:cubicBezTo>
                    <a:lnTo>
                      <a:pt x="241" y="626"/>
                    </a:lnTo>
                    <a:cubicBezTo>
                      <a:pt x="227" y="625"/>
                      <a:pt x="211" y="618"/>
                      <a:pt x="194" y="598"/>
                    </a:cubicBezTo>
                    <a:lnTo>
                      <a:pt x="194" y="598"/>
                    </a:lnTo>
                    <a:cubicBezTo>
                      <a:pt x="159" y="551"/>
                      <a:pt x="175" y="477"/>
                      <a:pt x="247" y="475"/>
                    </a:cubicBezTo>
                    <a:lnTo>
                      <a:pt x="247" y="475"/>
                    </a:lnTo>
                    <a:cubicBezTo>
                      <a:pt x="284" y="474"/>
                      <a:pt x="299" y="454"/>
                      <a:pt x="304" y="434"/>
                    </a:cubicBezTo>
                    <a:lnTo>
                      <a:pt x="304" y="434"/>
                    </a:lnTo>
                    <a:cubicBezTo>
                      <a:pt x="309" y="417"/>
                      <a:pt x="327" y="408"/>
                      <a:pt x="343" y="414"/>
                    </a:cubicBezTo>
                    <a:lnTo>
                      <a:pt x="343" y="414"/>
                    </a:lnTo>
                    <a:cubicBezTo>
                      <a:pt x="425" y="444"/>
                      <a:pt x="626" y="507"/>
                      <a:pt x="756" y="471"/>
                    </a:cubicBezTo>
                    <a:lnTo>
                      <a:pt x="756" y="471"/>
                    </a:lnTo>
                    <a:cubicBezTo>
                      <a:pt x="922" y="424"/>
                      <a:pt x="804" y="230"/>
                      <a:pt x="765" y="197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876E177-C567-264C-81D2-125FFB7C8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9107" y="5101018"/>
                <a:ext cx="129615" cy="74888"/>
              </a:xfrm>
              <a:custGeom>
                <a:avLst/>
                <a:gdLst>
                  <a:gd name="T0" fmla="*/ 98 w 199"/>
                  <a:gd name="T1" fmla="*/ 28 h 115"/>
                  <a:gd name="T2" fmla="*/ 198 w 199"/>
                  <a:gd name="T3" fmla="*/ 0 h 115"/>
                  <a:gd name="T4" fmla="*/ 198 w 199"/>
                  <a:gd name="T5" fmla="*/ 0 h 115"/>
                  <a:gd name="T6" fmla="*/ 80 w 199"/>
                  <a:gd name="T7" fmla="*/ 94 h 115"/>
                  <a:gd name="T8" fmla="*/ 80 w 199"/>
                  <a:gd name="T9" fmla="*/ 94 h 115"/>
                  <a:gd name="T10" fmla="*/ 0 w 199"/>
                  <a:gd name="T11" fmla="*/ 54 h 115"/>
                  <a:gd name="T12" fmla="*/ 98 w 199"/>
                  <a:gd name="T13" fmla="*/ 28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115">
                    <a:moveTo>
                      <a:pt x="98" y="28"/>
                    </a:moveTo>
                    <a:lnTo>
                      <a:pt x="198" y="0"/>
                    </a:lnTo>
                    <a:lnTo>
                      <a:pt x="198" y="0"/>
                    </a:lnTo>
                    <a:cubicBezTo>
                      <a:pt x="198" y="0"/>
                      <a:pt x="150" y="75"/>
                      <a:pt x="80" y="94"/>
                    </a:cubicBezTo>
                    <a:lnTo>
                      <a:pt x="80" y="94"/>
                    </a:lnTo>
                    <a:cubicBezTo>
                      <a:pt x="10" y="114"/>
                      <a:pt x="0" y="54"/>
                      <a:pt x="0" y="54"/>
                    </a:cubicBezTo>
                    <a:lnTo>
                      <a:pt x="98" y="2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31E42F9A-5322-864E-88F3-D34E2666A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8098" y="6607415"/>
                <a:ext cx="57606" cy="46085"/>
              </a:xfrm>
              <a:custGeom>
                <a:avLst/>
                <a:gdLst>
                  <a:gd name="T0" fmla="*/ 85 w 86"/>
                  <a:gd name="T1" fmla="*/ 50 h 70"/>
                  <a:gd name="T2" fmla="*/ 0 w 86"/>
                  <a:gd name="T3" fmla="*/ 0 h 70"/>
                  <a:gd name="T4" fmla="*/ 32 w 86"/>
                  <a:gd name="T5" fmla="*/ 53 h 70"/>
                  <a:gd name="T6" fmla="*/ 75 w 86"/>
                  <a:gd name="T7" fmla="*/ 69 h 70"/>
                  <a:gd name="T8" fmla="*/ 85 w 86"/>
                  <a:gd name="T9" fmla="*/ 5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0">
                    <a:moveTo>
                      <a:pt x="85" y="50"/>
                    </a:moveTo>
                    <a:lnTo>
                      <a:pt x="0" y="0"/>
                    </a:lnTo>
                    <a:lnTo>
                      <a:pt x="32" y="53"/>
                    </a:lnTo>
                    <a:lnTo>
                      <a:pt x="75" y="69"/>
                    </a:lnTo>
                    <a:lnTo>
                      <a:pt x="85" y="5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2" name="Freeform 191">
                <a:extLst>
                  <a:ext uri="{FF2B5EF4-FFF2-40B4-BE49-F238E27FC236}">
                    <a16:creationId xmlns:a16="http://schemas.microsoft.com/office/drawing/2014/main" id="{66F5D34D-AF30-C746-9010-2E047CA14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54105" y="7923714"/>
                <a:ext cx="1295483" cy="748226"/>
              </a:xfrm>
              <a:custGeom>
                <a:avLst/>
                <a:gdLst>
                  <a:gd name="connsiteX0" fmla="*/ 863765 w 1295483"/>
                  <a:gd name="connsiteY0" fmla="*/ 250584 h 748226"/>
                  <a:gd name="connsiteX1" fmla="*/ 1295483 w 1295483"/>
                  <a:gd name="connsiteY1" fmla="*/ 499405 h 748226"/>
                  <a:gd name="connsiteX2" fmla="*/ 863765 w 1295483"/>
                  <a:gd name="connsiteY2" fmla="*/ 748226 h 748226"/>
                  <a:gd name="connsiteX3" fmla="*/ 432045 w 1295483"/>
                  <a:gd name="connsiteY3" fmla="*/ 499405 h 748226"/>
                  <a:gd name="connsiteX4" fmla="*/ 431719 w 1295483"/>
                  <a:gd name="connsiteY4" fmla="*/ 0 h 748226"/>
                  <a:gd name="connsiteX5" fmla="*/ 863439 w 1295483"/>
                  <a:gd name="connsiteY5" fmla="*/ 248820 h 748226"/>
                  <a:gd name="connsiteX6" fmla="*/ 431719 w 1295483"/>
                  <a:gd name="connsiteY6" fmla="*/ 497640 h 748226"/>
                  <a:gd name="connsiteX7" fmla="*/ 0 w 1295483"/>
                  <a:gd name="connsiteY7" fmla="*/ 248820 h 748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95483" h="748226">
                    <a:moveTo>
                      <a:pt x="863765" y="250584"/>
                    </a:moveTo>
                    <a:lnTo>
                      <a:pt x="1295483" y="499405"/>
                    </a:lnTo>
                    <a:lnTo>
                      <a:pt x="863765" y="748226"/>
                    </a:lnTo>
                    <a:lnTo>
                      <a:pt x="432045" y="499405"/>
                    </a:lnTo>
                    <a:close/>
                    <a:moveTo>
                      <a:pt x="431719" y="0"/>
                    </a:moveTo>
                    <a:lnTo>
                      <a:pt x="863439" y="248820"/>
                    </a:lnTo>
                    <a:lnTo>
                      <a:pt x="431719" y="497640"/>
                    </a:lnTo>
                    <a:lnTo>
                      <a:pt x="0" y="2488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3" name="Freeform 32">
                <a:extLst>
                  <a:ext uri="{FF2B5EF4-FFF2-40B4-BE49-F238E27FC236}">
                    <a16:creationId xmlns:a16="http://schemas.microsoft.com/office/drawing/2014/main" id="{F649C4F5-0CA8-4046-825B-4712B4641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002018"/>
                <a:ext cx="368679" cy="959140"/>
              </a:xfrm>
              <a:custGeom>
                <a:avLst/>
                <a:gdLst>
                  <a:gd name="T0" fmla="*/ 0 w 563"/>
                  <a:gd name="T1" fmla="*/ 1469 h 1470"/>
                  <a:gd name="T2" fmla="*/ 0 w 563"/>
                  <a:gd name="T3" fmla="*/ 325 h 1470"/>
                  <a:gd name="T4" fmla="*/ 562 w 563"/>
                  <a:gd name="T5" fmla="*/ 0 h 1470"/>
                  <a:gd name="T6" fmla="*/ 562 w 563"/>
                  <a:gd name="T7" fmla="*/ 1144 h 1470"/>
                  <a:gd name="T8" fmla="*/ 0 w 563"/>
                  <a:gd name="T9" fmla="*/ 1469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470">
                    <a:moveTo>
                      <a:pt x="0" y="1469"/>
                    </a:moveTo>
                    <a:lnTo>
                      <a:pt x="0" y="325"/>
                    </a:lnTo>
                    <a:lnTo>
                      <a:pt x="562" y="0"/>
                    </a:lnTo>
                    <a:lnTo>
                      <a:pt x="562" y="1144"/>
                    </a:lnTo>
                    <a:lnTo>
                      <a:pt x="0" y="1469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4" name="Freeform 33">
                <a:extLst>
                  <a:ext uri="{FF2B5EF4-FFF2-40B4-BE49-F238E27FC236}">
                    <a16:creationId xmlns:a16="http://schemas.microsoft.com/office/drawing/2014/main" id="{8C7BF779-124B-074F-A88A-A3127C4A4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002018"/>
                <a:ext cx="368679" cy="959140"/>
              </a:xfrm>
              <a:custGeom>
                <a:avLst/>
                <a:gdLst>
                  <a:gd name="T0" fmla="*/ 563 w 564"/>
                  <a:gd name="T1" fmla="*/ 325 h 1470"/>
                  <a:gd name="T2" fmla="*/ 0 w 564"/>
                  <a:gd name="T3" fmla="*/ 0 h 1470"/>
                  <a:gd name="T4" fmla="*/ 0 w 564"/>
                  <a:gd name="T5" fmla="*/ 1144 h 1470"/>
                  <a:gd name="T6" fmla="*/ 563 w 564"/>
                  <a:gd name="T7" fmla="*/ 1469 h 1470"/>
                  <a:gd name="T8" fmla="*/ 563 w 564"/>
                  <a:gd name="T9" fmla="*/ 325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470">
                    <a:moveTo>
                      <a:pt x="563" y="325"/>
                    </a:moveTo>
                    <a:lnTo>
                      <a:pt x="0" y="0"/>
                    </a:lnTo>
                    <a:lnTo>
                      <a:pt x="0" y="1144"/>
                    </a:lnTo>
                    <a:lnTo>
                      <a:pt x="563" y="1469"/>
                    </a:lnTo>
                    <a:lnTo>
                      <a:pt x="563" y="325"/>
                    </a:lnTo>
                  </a:path>
                </a:pathLst>
              </a:custGeom>
              <a:solidFill>
                <a:srgbClr val="B45E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097BBDF3-0AE7-4E43-AFA4-ADFB6D0C1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791755"/>
                <a:ext cx="734476" cy="423405"/>
              </a:xfrm>
              <a:custGeom>
                <a:avLst/>
                <a:gdLst>
                  <a:gd name="T0" fmla="*/ 1125 w 1126"/>
                  <a:gd name="T1" fmla="*/ 324 h 650"/>
                  <a:gd name="T2" fmla="*/ 563 w 1126"/>
                  <a:gd name="T3" fmla="*/ 0 h 650"/>
                  <a:gd name="T4" fmla="*/ 0 w 1126"/>
                  <a:gd name="T5" fmla="*/ 324 h 650"/>
                  <a:gd name="T6" fmla="*/ 563 w 1126"/>
                  <a:gd name="T7" fmla="*/ 649 h 650"/>
                  <a:gd name="T8" fmla="*/ 1125 w 1126"/>
                  <a:gd name="T9" fmla="*/ 32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4"/>
                    </a:moveTo>
                    <a:lnTo>
                      <a:pt x="563" y="0"/>
                    </a:lnTo>
                    <a:lnTo>
                      <a:pt x="0" y="324"/>
                    </a:lnTo>
                    <a:lnTo>
                      <a:pt x="563" y="649"/>
                    </a:lnTo>
                    <a:lnTo>
                      <a:pt x="1125" y="324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6" name="Freeform 35">
                <a:extLst>
                  <a:ext uri="{FF2B5EF4-FFF2-40B4-BE49-F238E27FC236}">
                    <a16:creationId xmlns:a16="http://schemas.microsoft.com/office/drawing/2014/main" id="{2156F05B-0D14-0346-9565-9326BABF5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820023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7" name="Freeform 36">
                <a:extLst>
                  <a:ext uri="{FF2B5EF4-FFF2-40B4-BE49-F238E27FC236}">
                    <a16:creationId xmlns:a16="http://schemas.microsoft.com/office/drawing/2014/main" id="{774DBC1E-B24F-264B-A123-BF30AE000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8" name="Freeform 37">
                <a:extLst>
                  <a:ext uri="{FF2B5EF4-FFF2-40B4-BE49-F238E27FC236}">
                    <a16:creationId xmlns:a16="http://schemas.microsoft.com/office/drawing/2014/main" id="{7B879B73-8B55-704B-9B96-E8F5F1F10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99" name="Freeform 38">
                <a:extLst>
                  <a:ext uri="{FF2B5EF4-FFF2-40B4-BE49-F238E27FC236}">
                    <a16:creationId xmlns:a16="http://schemas.microsoft.com/office/drawing/2014/main" id="{DDA2058E-D9BA-5748-A2B5-C132CD6064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0" name="Freeform 39">
                <a:extLst>
                  <a:ext uri="{FF2B5EF4-FFF2-40B4-BE49-F238E27FC236}">
                    <a16:creationId xmlns:a16="http://schemas.microsoft.com/office/drawing/2014/main" id="{B4D7F784-E302-DF43-8D89-9A000799C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6832079"/>
                <a:ext cx="368679" cy="1342221"/>
              </a:xfrm>
              <a:custGeom>
                <a:avLst/>
                <a:gdLst>
                  <a:gd name="T0" fmla="*/ 0 w 564"/>
                  <a:gd name="T1" fmla="*/ 2055 h 2056"/>
                  <a:gd name="T2" fmla="*/ 0 w 564"/>
                  <a:gd name="T3" fmla="*/ 325 h 2056"/>
                  <a:gd name="T4" fmla="*/ 563 w 564"/>
                  <a:gd name="T5" fmla="*/ 0 h 2056"/>
                  <a:gd name="T6" fmla="*/ 563 w 564"/>
                  <a:gd name="T7" fmla="*/ 1731 h 2056"/>
                  <a:gd name="T8" fmla="*/ 0 w 564"/>
                  <a:gd name="T9" fmla="*/ 205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2056">
                    <a:moveTo>
                      <a:pt x="0" y="2055"/>
                    </a:moveTo>
                    <a:lnTo>
                      <a:pt x="0" y="325"/>
                    </a:lnTo>
                    <a:lnTo>
                      <a:pt x="563" y="0"/>
                    </a:lnTo>
                    <a:lnTo>
                      <a:pt x="563" y="1731"/>
                    </a:lnTo>
                    <a:lnTo>
                      <a:pt x="0" y="20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1" name="Freeform 40">
                <a:extLst>
                  <a:ext uri="{FF2B5EF4-FFF2-40B4-BE49-F238E27FC236}">
                    <a16:creationId xmlns:a16="http://schemas.microsoft.com/office/drawing/2014/main" id="{7D1445E0-231C-5F45-811F-D9F6E6A405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6" y="6832079"/>
                <a:ext cx="368679" cy="1342221"/>
              </a:xfrm>
              <a:custGeom>
                <a:avLst/>
                <a:gdLst>
                  <a:gd name="T0" fmla="*/ 562 w 563"/>
                  <a:gd name="T1" fmla="*/ 325 h 2056"/>
                  <a:gd name="T2" fmla="*/ 0 w 563"/>
                  <a:gd name="T3" fmla="*/ 0 h 2056"/>
                  <a:gd name="T4" fmla="*/ 0 w 563"/>
                  <a:gd name="T5" fmla="*/ 1731 h 2056"/>
                  <a:gd name="T6" fmla="*/ 562 w 563"/>
                  <a:gd name="T7" fmla="*/ 2055 h 2056"/>
                  <a:gd name="T8" fmla="*/ 562 w 563"/>
                  <a:gd name="T9" fmla="*/ 325 h 2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6">
                    <a:moveTo>
                      <a:pt x="562" y="325"/>
                    </a:moveTo>
                    <a:lnTo>
                      <a:pt x="0" y="0"/>
                    </a:lnTo>
                    <a:lnTo>
                      <a:pt x="0" y="1731"/>
                    </a:lnTo>
                    <a:lnTo>
                      <a:pt x="562" y="2055"/>
                    </a:lnTo>
                    <a:lnTo>
                      <a:pt x="562" y="32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2" name="Freeform 41">
                <a:extLst>
                  <a:ext uri="{FF2B5EF4-FFF2-40B4-BE49-F238E27FC236}">
                    <a16:creationId xmlns:a16="http://schemas.microsoft.com/office/drawing/2014/main" id="{F908A6FD-F1B2-3844-BA54-7F8FDEB32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49967" y="6618936"/>
                <a:ext cx="734478" cy="426285"/>
              </a:xfrm>
              <a:custGeom>
                <a:avLst/>
                <a:gdLst>
                  <a:gd name="T0" fmla="*/ 1125 w 1126"/>
                  <a:gd name="T1" fmla="*/ 325 h 651"/>
                  <a:gd name="T2" fmla="*/ 562 w 1126"/>
                  <a:gd name="T3" fmla="*/ 0 h 651"/>
                  <a:gd name="T4" fmla="*/ 0 w 1126"/>
                  <a:gd name="T5" fmla="*/ 325 h 651"/>
                  <a:gd name="T6" fmla="*/ 562 w 1126"/>
                  <a:gd name="T7" fmla="*/ 650 h 651"/>
                  <a:gd name="T8" fmla="*/ 1125 w 1126"/>
                  <a:gd name="T9" fmla="*/ 32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1">
                    <a:moveTo>
                      <a:pt x="1125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50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3" name="Freeform 42">
                <a:extLst>
                  <a:ext uri="{FF2B5EF4-FFF2-40B4-BE49-F238E27FC236}">
                    <a16:creationId xmlns:a16="http://schemas.microsoft.com/office/drawing/2014/main" id="{F11AE11D-29B5-C94E-9582-70ABC3EFF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4444" y="7537753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4" name="Freeform 43">
                <a:extLst>
                  <a:ext uri="{FF2B5EF4-FFF2-40B4-BE49-F238E27FC236}">
                    <a16:creationId xmlns:a16="http://schemas.microsoft.com/office/drawing/2014/main" id="{A6D40976-775D-0847-AA5A-84AF725266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537753"/>
                <a:ext cx="368679" cy="849688"/>
              </a:xfrm>
              <a:custGeom>
                <a:avLst/>
                <a:gdLst>
                  <a:gd name="T0" fmla="*/ 563 w 564"/>
                  <a:gd name="T1" fmla="*/ 324 h 1299"/>
                  <a:gd name="T2" fmla="*/ 0 w 564"/>
                  <a:gd name="T3" fmla="*/ 0 h 1299"/>
                  <a:gd name="T4" fmla="*/ 0 w 564"/>
                  <a:gd name="T5" fmla="*/ 973 h 1299"/>
                  <a:gd name="T6" fmla="*/ 563 w 564"/>
                  <a:gd name="T7" fmla="*/ 1298 h 1299"/>
                  <a:gd name="T8" fmla="*/ 563 w 564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1299">
                    <a:moveTo>
                      <a:pt x="563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3" y="1298"/>
                    </a:lnTo>
                    <a:lnTo>
                      <a:pt x="563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5" name="Freeform 44">
                <a:extLst>
                  <a:ext uri="{FF2B5EF4-FFF2-40B4-BE49-F238E27FC236}">
                    <a16:creationId xmlns:a16="http://schemas.microsoft.com/office/drawing/2014/main" id="{18CA1D85-35B1-CF4E-A33E-7A3DFDD959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15765" y="7324611"/>
                <a:ext cx="734476" cy="423404"/>
              </a:xfrm>
              <a:custGeom>
                <a:avLst/>
                <a:gdLst>
                  <a:gd name="T0" fmla="*/ 1125 w 1126"/>
                  <a:gd name="T1" fmla="*/ 325 h 650"/>
                  <a:gd name="T2" fmla="*/ 563 w 1126"/>
                  <a:gd name="T3" fmla="*/ 0 h 650"/>
                  <a:gd name="T4" fmla="*/ 0 w 1126"/>
                  <a:gd name="T5" fmla="*/ 325 h 650"/>
                  <a:gd name="T6" fmla="*/ 563 w 1126"/>
                  <a:gd name="T7" fmla="*/ 649 h 650"/>
                  <a:gd name="T8" fmla="*/ 1125 w 1126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6" h="650">
                    <a:moveTo>
                      <a:pt x="1125" y="325"/>
                    </a:moveTo>
                    <a:lnTo>
                      <a:pt x="563" y="0"/>
                    </a:lnTo>
                    <a:lnTo>
                      <a:pt x="0" y="325"/>
                    </a:lnTo>
                    <a:lnTo>
                      <a:pt x="563" y="649"/>
                    </a:lnTo>
                    <a:lnTo>
                      <a:pt x="1125" y="325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6" name="Freeform 45">
                <a:extLst>
                  <a:ext uri="{FF2B5EF4-FFF2-40B4-BE49-F238E27FC236}">
                    <a16:creationId xmlns:a16="http://schemas.microsoft.com/office/drawing/2014/main" id="{7465CD13-7B2E-B24D-91D7-AB52F56DE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56885" y="3018558"/>
                <a:ext cx="60485" cy="1281735"/>
              </a:xfrm>
              <a:custGeom>
                <a:avLst/>
                <a:gdLst>
                  <a:gd name="T0" fmla="*/ 45 w 92"/>
                  <a:gd name="T1" fmla="*/ 1963 h 1964"/>
                  <a:gd name="T2" fmla="*/ 45 w 92"/>
                  <a:gd name="T3" fmla="*/ 1963 h 1964"/>
                  <a:gd name="T4" fmla="*/ 0 w 92"/>
                  <a:gd name="T5" fmla="*/ 1917 h 1964"/>
                  <a:gd name="T6" fmla="*/ 0 w 92"/>
                  <a:gd name="T7" fmla="*/ 46 h 1964"/>
                  <a:gd name="T8" fmla="*/ 0 w 92"/>
                  <a:gd name="T9" fmla="*/ 46 h 1964"/>
                  <a:gd name="T10" fmla="*/ 45 w 92"/>
                  <a:gd name="T11" fmla="*/ 0 h 1964"/>
                  <a:gd name="T12" fmla="*/ 45 w 92"/>
                  <a:gd name="T13" fmla="*/ 0 h 1964"/>
                  <a:gd name="T14" fmla="*/ 91 w 92"/>
                  <a:gd name="T15" fmla="*/ 46 h 1964"/>
                  <a:gd name="T16" fmla="*/ 91 w 92"/>
                  <a:gd name="T17" fmla="*/ 1917 h 1964"/>
                  <a:gd name="T18" fmla="*/ 91 w 92"/>
                  <a:gd name="T19" fmla="*/ 1917 h 1964"/>
                  <a:gd name="T20" fmla="*/ 45 w 92"/>
                  <a:gd name="T21" fmla="*/ 1963 h 1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4">
                    <a:moveTo>
                      <a:pt x="45" y="1963"/>
                    </a:moveTo>
                    <a:lnTo>
                      <a:pt x="45" y="1963"/>
                    </a:lnTo>
                    <a:cubicBezTo>
                      <a:pt x="20" y="1963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0" y="0"/>
                      <a:pt x="45" y="0"/>
                    </a:cubicBezTo>
                    <a:lnTo>
                      <a:pt x="45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3"/>
                      <a:pt x="45" y="1963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7" name="Freeform 206">
                <a:extLst>
                  <a:ext uri="{FF2B5EF4-FFF2-40B4-BE49-F238E27FC236}">
                    <a16:creationId xmlns:a16="http://schemas.microsoft.com/office/drawing/2014/main" id="{FA873BF9-A557-2A48-8029-392EA23E74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8021" y="2972473"/>
                <a:ext cx="213585" cy="520392"/>
              </a:xfrm>
              <a:custGeom>
                <a:avLst/>
                <a:gdLst>
                  <a:gd name="connsiteX0" fmla="*/ 1095 w 213585"/>
                  <a:gd name="connsiteY0" fmla="*/ 0 h 520392"/>
                  <a:gd name="connsiteX1" fmla="*/ 213585 w 213585"/>
                  <a:gd name="connsiteY1" fmla="*/ 0 h 520392"/>
                  <a:gd name="connsiteX2" fmla="*/ 213585 w 213585"/>
                  <a:gd name="connsiteY2" fmla="*/ 457318 h 520392"/>
                  <a:gd name="connsiteX3" fmla="*/ 211451 w 213585"/>
                  <a:gd name="connsiteY3" fmla="*/ 457318 h 520392"/>
                  <a:gd name="connsiteX4" fmla="*/ 211962 w 213585"/>
                  <a:gd name="connsiteY4" fmla="*/ 458836 h 520392"/>
                  <a:gd name="connsiteX5" fmla="*/ 181170 w 213585"/>
                  <a:gd name="connsiteY5" fmla="*/ 502245 h 520392"/>
                  <a:gd name="connsiteX6" fmla="*/ 31281 w 213585"/>
                  <a:gd name="connsiteY6" fmla="*/ 502245 h 520392"/>
                  <a:gd name="connsiteX7" fmla="*/ 0 w 213585"/>
                  <a:gd name="connsiteY7" fmla="*/ 458836 h 520392"/>
                  <a:gd name="connsiteX8" fmla="*/ 1095 w 213585"/>
                  <a:gd name="connsiteY8" fmla="*/ 455630 h 52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5" h="520392">
                    <a:moveTo>
                      <a:pt x="1095" y="0"/>
                    </a:moveTo>
                    <a:lnTo>
                      <a:pt x="213585" y="0"/>
                    </a:lnTo>
                    <a:lnTo>
                      <a:pt x="213585" y="457318"/>
                    </a:lnTo>
                    <a:lnTo>
                      <a:pt x="211451" y="457318"/>
                    </a:lnTo>
                    <a:lnTo>
                      <a:pt x="211962" y="458836"/>
                    </a:lnTo>
                    <a:cubicBezTo>
                      <a:pt x="211962" y="474450"/>
                      <a:pt x="201698" y="490146"/>
                      <a:pt x="181170" y="502245"/>
                    </a:cubicBezTo>
                    <a:cubicBezTo>
                      <a:pt x="140113" y="526442"/>
                      <a:pt x="72989" y="526442"/>
                      <a:pt x="31281" y="502245"/>
                    </a:cubicBezTo>
                    <a:cubicBezTo>
                      <a:pt x="10427" y="490146"/>
                      <a:pt x="0" y="474450"/>
                      <a:pt x="0" y="458836"/>
                    </a:cubicBezTo>
                    <a:lnTo>
                      <a:pt x="1095" y="45563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8" name="Freeform 207">
                <a:extLst>
                  <a:ext uri="{FF2B5EF4-FFF2-40B4-BE49-F238E27FC236}">
                    <a16:creationId xmlns:a16="http://schemas.microsoft.com/office/drawing/2014/main" id="{BEF34C95-968D-D843-B183-2466E1068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9116" y="3018559"/>
                <a:ext cx="213142" cy="213142"/>
              </a:xfrm>
              <a:custGeom>
                <a:avLst/>
                <a:gdLst>
                  <a:gd name="T0" fmla="*/ 0 w 327"/>
                  <a:gd name="T1" fmla="*/ 44 h 326"/>
                  <a:gd name="T2" fmla="*/ 0 w 327"/>
                  <a:gd name="T3" fmla="*/ 281 h 326"/>
                  <a:gd name="T4" fmla="*/ 0 w 327"/>
                  <a:gd name="T5" fmla="*/ 281 h 326"/>
                  <a:gd name="T6" fmla="*/ 326 w 327"/>
                  <a:gd name="T7" fmla="*/ 281 h 326"/>
                  <a:gd name="T8" fmla="*/ 326 w 327"/>
                  <a:gd name="T9" fmla="*/ 44 h 326"/>
                  <a:gd name="T10" fmla="*/ 326 w 327"/>
                  <a:gd name="T11" fmla="*/ 44 h 326"/>
                  <a:gd name="T12" fmla="*/ 0 w 327"/>
                  <a:gd name="T13" fmla="*/ 4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326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6" y="325"/>
                      <a:pt x="230" y="325"/>
                      <a:pt x="326" y="281"/>
                    </a:cubicBezTo>
                    <a:lnTo>
                      <a:pt x="326" y="44"/>
                    </a:lnTo>
                    <a:lnTo>
                      <a:pt x="326" y="44"/>
                    </a:lnTo>
                    <a:cubicBezTo>
                      <a:pt x="230" y="0"/>
                      <a:pt x="96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09" name="Freeform 208">
                <a:extLst>
                  <a:ext uri="{FF2B5EF4-FFF2-40B4-BE49-F238E27FC236}">
                    <a16:creationId xmlns:a16="http://schemas.microsoft.com/office/drawing/2014/main" id="{38EF2316-520B-4244-8994-02EACEC3F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2368" y="2333047"/>
                <a:ext cx="345482" cy="819071"/>
              </a:xfrm>
              <a:custGeom>
                <a:avLst/>
                <a:gdLst>
                  <a:gd name="connsiteX0" fmla="*/ 501 w 345482"/>
                  <a:gd name="connsiteY0" fmla="*/ 0 h 819071"/>
                  <a:gd name="connsiteX1" fmla="*/ 345482 w 345482"/>
                  <a:gd name="connsiteY1" fmla="*/ 0 h 819071"/>
                  <a:gd name="connsiteX2" fmla="*/ 345482 w 345482"/>
                  <a:gd name="connsiteY2" fmla="*/ 719422 h 819071"/>
                  <a:gd name="connsiteX3" fmla="*/ 343023 w 345482"/>
                  <a:gd name="connsiteY3" fmla="*/ 719422 h 819071"/>
                  <a:gd name="connsiteX4" fmla="*/ 343106 w 345482"/>
                  <a:gd name="connsiteY4" fmla="*/ 719666 h 819071"/>
                  <a:gd name="connsiteX5" fmla="*/ 292764 w 345482"/>
                  <a:gd name="connsiteY5" fmla="*/ 789666 h 819071"/>
                  <a:gd name="connsiteX6" fmla="*/ 50341 w 345482"/>
                  <a:gd name="connsiteY6" fmla="*/ 789666 h 819071"/>
                  <a:gd name="connsiteX7" fmla="*/ 0 w 345482"/>
                  <a:gd name="connsiteY7" fmla="*/ 719666 h 819071"/>
                  <a:gd name="connsiteX8" fmla="*/ 501 w 345482"/>
                  <a:gd name="connsiteY8" fmla="*/ 718175 h 81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5482" h="819071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9422"/>
                    </a:lnTo>
                    <a:lnTo>
                      <a:pt x="343023" y="719422"/>
                    </a:lnTo>
                    <a:lnTo>
                      <a:pt x="343106" y="719666"/>
                    </a:lnTo>
                    <a:cubicBezTo>
                      <a:pt x="343106" y="745069"/>
                      <a:pt x="326325" y="770390"/>
                      <a:pt x="292764" y="789666"/>
                    </a:cubicBezTo>
                    <a:cubicBezTo>
                      <a:pt x="225642" y="828873"/>
                      <a:pt x="117464" y="828873"/>
                      <a:pt x="50341" y="789666"/>
                    </a:cubicBezTo>
                    <a:cubicBezTo>
                      <a:pt x="16780" y="770390"/>
                      <a:pt x="0" y="745069"/>
                      <a:pt x="0" y="719666"/>
                    </a:cubicBezTo>
                    <a:lnTo>
                      <a:pt x="501" y="7181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0" name="Freeform 209">
                <a:extLst>
                  <a:ext uri="{FF2B5EF4-FFF2-40B4-BE49-F238E27FC236}">
                    <a16:creationId xmlns:a16="http://schemas.microsoft.com/office/drawing/2014/main" id="{6D6837CA-6E07-D041-83B8-6104CB5D36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46448" y="3689670"/>
                <a:ext cx="60487" cy="1281734"/>
              </a:xfrm>
              <a:custGeom>
                <a:avLst/>
                <a:gdLst>
                  <a:gd name="T0" fmla="*/ 46 w 92"/>
                  <a:gd name="T1" fmla="*/ 1962 h 1963"/>
                  <a:gd name="T2" fmla="*/ 46 w 92"/>
                  <a:gd name="T3" fmla="*/ 1962 h 1963"/>
                  <a:gd name="T4" fmla="*/ 0 w 92"/>
                  <a:gd name="T5" fmla="*/ 1917 h 1963"/>
                  <a:gd name="T6" fmla="*/ 0 w 92"/>
                  <a:gd name="T7" fmla="*/ 46 h 1963"/>
                  <a:gd name="T8" fmla="*/ 0 w 92"/>
                  <a:gd name="T9" fmla="*/ 46 h 1963"/>
                  <a:gd name="T10" fmla="*/ 46 w 92"/>
                  <a:gd name="T11" fmla="*/ 0 h 1963"/>
                  <a:gd name="T12" fmla="*/ 46 w 92"/>
                  <a:gd name="T13" fmla="*/ 0 h 1963"/>
                  <a:gd name="T14" fmla="*/ 91 w 92"/>
                  <a:gd name="T15" fmla="*/ 46 h 1963"/>
                  <a:gd name="T16" fmla="*/ 91 w 92"/>
                  <a:gd name="T17" fmla="*/ 1917 h 1963"/>
                  <a:gd name="T18" fmla="*/ 91 w 92"/>
                  <a:gd name="T19" fmla="*/ 1917 h 1963"/>
                  <a:gd name="T20" fmla="*/ 46 w 92"/>
                  <a:gd name="T21" fmla="*/ 1962 h 1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2" h="1963">
                    <a:moveTo>
                      <a:pt x="46" y="1962"/>
                    </a:moveTo>
                    <a:lnTo>
                      <a:pt x="46" y="1962"/>
                    </a:lnTo>
                    <a:cubicBezTo>
                      <a:pt x="21" y="1962"/>
                      <a:pt x="0" y="1942"/>
                      <a:pt x="0" y="1917"/>
                    </a:cubicBezTo>
                    <a:lnTo>
                      <a:pt x="0" y="46"/>
                    </a:lnTo>
                    <a:lnTo>
                      <a:pt x="0" y="46"/>
                    </a:lnTo>
                    <a:cubicBezTo>
                      <a:pt x="0" y="21"/>
                      <a:pt x="21" y="0"/>
                      <a:pt x="46" y="0"/>
                    </a:cubicBezTo>
                    <a:lnTo>
                      <a:pt x="46" y="0"/>
                    </a:lnTo>
                    <a:cubicBezTo>
                      <a:pt x="70" y="0"/>
                      <a:pt x="91" y="21"/>
                      <a:pt x="91" y="46"/>
                    </a:cubicBezTo>
                    <a:lnTo>
                      <a:pt x="91" y="1917"/>
                    </a:lnTo>
                    <a:lnTo>
                      <a:pt x="91" y="1917"/>
                    </a:lnTo>
                    <a:cubicBezTo>
                      <a:pt x="91" y="1942"/>
                      <a:pt x="70" y="1962"/>
                      <a:pt x="46" y="196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1" name="Freeform 210">
                <a:extLst>
                  <a:ext uri="{FF2B5EF4-FFF2-40B4-BE49-F238E27FC236}">
                    <a16:creationId xmlns:a16="http://schemas.microsoft.com/office/drawing/2014/main" id="{F9F8FDA6-EA44-6145-B4AD-ED4965772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0466" y="3643583"/>
                <a:ext cx="213583" cy="517544"/>
              </a:xfrm>
              <a:custGeom>
                <a:avLst/>
                <a:gdLst>
                  <a:gd name="connsiteX0" fmla="*/ 1095 w 213583"/>
                  <a:gd name="connsiteY0" fmla="*/ 0 h 517544"/>
                  <a:gd name="connsiteX1" fmla="*/ 213583 w 213583"/>
                  <a:gd name="connsiteY1" fmla="*/ 0 h 517544"/>
                  <a:gd name="connsiteX2" fmla="*/ 213583 w 213583"/>
                  <a:gd name="connsiteY2" fmla="*/ 457316 h 517544"/>
                  <a:gd name="connsiteX3" fmla="*/ 211421 w 213583"/>
                  <a:gd name="connsiteY3" fmla="*/ 457316 h 517544"/>
                  <a:gd name="connsiteX4" fmla="*/ 203979 w 213583"/>
                  <a:gd name="connsiteY4" fmla="*/ 479186 h 517544"/>
                  <a:gd name="connsiteX5" fmla="*/ 180518 w 213583"/>
                  <a:gd name="connsiteY5" fmla="*/ 499484 h 517544"/>
                  <a:gd name="connsiteX6" fmla="*/ 31281 w 213583"/>
                  <a:gd name="connsiteY6" fmla="*/ 499484 h 517544"/>
                  <a:gd name="connsiteX7" fmla="*/ 0 w 213583"/>
                  <a:gd name="connsiteY7" fmla="*/ 456203 h 517544"/>
                  <a:gd name="connsiteX8" fmla="*/ 1095 w 213583"/>
                  <a:gd name="connsiteY8" fmla="*/ 452985 h 517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83" h="517544">
                    <a:moveTo>
                      <a:pt x="1095" y="0"/>
                    </a:moveTo>
                    <a:lnTo>
                      <a:pt x="213583" y="0"/>
                    </a:lnTo>
                    <a:lnTo>
                      <a:pt x="213583" y="457316"/>
                    </a:lnTo>
                    <a:lnTo>
                      <a:pt x="211421" y="457316"/>
                    </a:lnTo>
                    <a:lnTo>
                      <a:pt x="203979" y="479186"/>
                    </a:lnTo>
                    <a:cubicBezTo>
                      <a:pt x="198765" y="486549"/>
                      <a:pt x="190945" y="493464"/>
                      <a:pt x="180518" y="499484"/>
                    </a:cubicBezTo>
                    <a:cubicBezTo>
                      <a:pt x="139462" y="523565"/>
                      <a:pt x="72338" y="523565"/>
                      <a:pt x="31281" y="499484"/>
                    </a:cubicBezTo>
                    <a:cubicBezTo>
                      <a:pt x="10427" y="487444"/>
                      <a:pt x="0" y="471823"/>
                      <a:pt x="0" y="456203"/>
                    </a:cubicBezTo>
                    <a:lnTo>
                      <a:pt x="1095" y="4529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2" name="Freeform 55">
                <a:extLst>
                  <a:ext uri="{FF2B5EF4-FFF2-40B4-BE49-F238E27FC236}">
                    <a16:creationId xmlns:a16="http://schemas.microsoft.com/office/drawing/2014/main" id="{082F1023-B511-734B-A262-504846D3B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71561" y="3689670"/>
                <a:ext cx="213142" cy="213142"/>
              </a:xfrm>
              <a:custGeom>
                <a:avLst/>
                <a:gdLst>
                  <a:gd name="T0" fmla="*/ 0 w 326"/>
                  <a:gd name="T1" fmla="*/ 44 h 325"/>
                  <a:gd name="T2" fmla="*/ 0 w 326"/>
                  <a:gd name="T3" fmla="*/ 281 h 325"/>
                  <a:gd name="T4" fmla="*/ 0 w 326"/>
                  <a:gd name="T5" fmla="*/ 281 h 325"/>
                  <a:gd name="T6" fmla="*/ 325 w 326"/>
                  <a:gd name="T7" fmla="*/ 281 h 325"/>
                  <a:gd name="T8" fmla="*/ 325 w 326"/>
                  <a:gd name="T9" fmla="*/ 44 h 325"/>
                  <a:gd name="T10" fmla="*/ 325 w 326"/>
                  <a:gd name="T11" fmla="*/ 44 h 325"/>
                  <a:gd name="T12" fmla="*/ 0 w 326"/>
                  <a:gd name="T13" fmla="*/ 4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5">
                    <a:moveTo>
                      <a:pt x="0" y="44"/>
                    </a:moveTo>
                    <a:lnTo>
                      <a:pt x="0" y="281"/>
                    </a:lnTo>
                    <a:lnTo>
                      <a:pt x="0" y="281"/>
                    </a:lnTo>
                    <a:cubicBezTo>
                      <a:pt x="95" y="324"/>
                      <a:pt x="230" y="324"/>
                      <a:pt x="325" y="281"/>
                    </a:cubicBezTo>
                    <a:lnTo>
                      <a:pt x="325" y="44"/>
                    </a:lnTo>
                    <a:lnTo>
                      <a:pt x="325" y="44"/>
                    </a:lnTo>
                    <a:cubicBezTo>
                      <a:pt x="230" y="0"/>
                      <a:pt x="95" y="0"/>
                      <a:pt x="0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3" name="Freeform 212">
                <a:extLst>
                  <a:ext uri="{FF2B5EF4-FFF2-40B4-BE49-F238E27FC236}">
                    <a16:creationId xmlns:a16="http://schemas.microsoft.com/office/drawing/2014/main" id="{06B05781-DB23-0344-8BB4-79C5B6FD7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4813" y="3004158"/>
                <a:ext cx="345482" cy="819203"/>
              </a:xfrm>
              <a:custGeom>
                <a:avLst/>
                <a:gdLst>
                  <a:gd name="connsiteX0" fmla="*/ 501 w 345482"/>
                  <a:gd name="connsiteY0" fmla="*/ 0 h 819203"/>
                  <a:gd name="connsiteX1" fmla="*/ 345482 w 345482"/>
                  <a:gd name="connsiteY1" fmla="*/ 0 h 819203"/>
                  <a:gd name="connsiteX2" fmla="*/ 345482 w 345482"/>
                  <a:gd name="connsiteY2" fmla="*/ 716542 h 819203"/>
                  <a:gd name="connsiteX3" fmla="*/ 342032 w 345482"/>
                  <a:gd name="connsiteY3" fmla="*/ 716542 h 819203"/>
                  <a:gd name="connsiteX4" fmla="*/ 343106 w 345482"/>
                  <a:gd name="connsiteY4" fmla="*/ 719747 h 819203"/>
                  <a:gd name="connsiteX5" fmla="*/ 292764 w 345482"/>
                  <a:gd name="connsiteY5" fmla="*/ 790202 h 819203"/>
                  <a:gd name="connsiteX6" fmla="*/ 50341 w 345482"/>
                  <a:gd name="connsiteY6" fmla="*/ 790202 h 819203"/>
                  <a:gd name="connsiteX7" fmla="*/ 0 w 345482"/>
                  <a:gd name="connsiteY7" fmla="*/ 719747 h 819203"/>
                  <a:gd name="connsiteX8" fmla="*/ 1073 w 345482"/>
                  <a:gd name="connsiteY8" fmla="*/ 716542 h 819203"/>
                  <a:gd name="connsiteX9" fmla="*/ 501 w 345482"/>
                  <a:gd name="connsiteY9" fmla="*/ 716542 h 81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482" h="819203">
                    <a:moveTo>
                      <a:pt x="501" y="0"/>
                    </a:moveTo>
                    <a:lnTo>
                      <a:pt x="345482" y="0"/>
                    </a:lnTo>
                    <a:lnTo>
                      <a:pt x="345482" y="716542"/>
                    </a:lnTo>
                    <a:lnTo>
                      <a:pt x="342032" y="716542"/>
                    </a:lnTo>
                    <a:lnTo>
                      <a:pt x="343106" y="719747"/>
                    </a:lnTo>
                    <a:cubicBezTo>
                      <a:pt x="343105" y="745307"/>
                      <a:pt x="326325" y="770868"/>
                      <a:pt x="292764" y="790202"/>
                    </a:cubicBezTo>
                    <a:cubicBezTo>
                      <a:pt x="225642" y="828871"/>
                      <a:pt x="116812" y="828871"/>
                      <a:pt x="50341" y="790202"/>
                    </a:cubicBezTo>
                    <a:cubicBezTo>
                      <a:pt x="16780" y="770868"/>
                      <a:pt x="0" y="745307"/>
                      <a:pt x="0" y="719747"/>
                    </a:cubicBezTo>
                    <a:lnTo>
                      <a:pt x="1073" y="716542"/>
                    </a:lnTo>
                    <a:lnTo>
                      <a:pt x="501" y="71654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4" name="Freeform 213">
                <a:extLst>
                  <a:ext uri="{FF2B5EF4-FFF2-40B4-BE49-F238E27FC236}">
                    <a16:creationId xmlns:a16="http://schemas.microsoft.com/office/drawing/2014/main" id="{F0236A9E-EAAA-954E-880E-0DEBE742E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86221" y="326624"/>
                <a:ext cx="3945361" cy="3869324"/>
              </a:xfrm>
              <a:custGeom>
                <a:avLst/>
                <a:gdLst>
                  <a:gd name="connsiteX0" fmla="*/ 1228925 w 3945361"/>
                  <a:gd name="connsiteY0" fmla="*/ 698 h 3869324"/>
                  <a:gd name="connsiteX1" fmla="*/ 1491817 w 3945361"/>
                  <a:gd name="connsiteY1" fmla="*/ 51774 h 3869324"/>
                  <a:gd name="connsiteX2" fmla="*/ 1504408 w 3945361"/>
                  <a:gd name="connsiteY2" fmla="*/ 57687 h 3869324"/>
                  <a:gd name="connsiteX3" fmla="*/ 1507544 w 3945361"/>
                  <a:gd name="connsiteY3" fmla="*/ 58822 h 3869324"/>
                  <a:gd name="connsiteX4" fmla="*/ 1516877 w 3945361"/>
                  <a:gd name="connsiteY4" fmla="*/ 63542 h 3869324"/>
                  <a:gd name="connsiteX5" fmla="*/ 1563353 w 3945361"/>
                  <a:gd name="connsiteY5" fmla="*/ 85368 h 3869324"/>
                  <a:gd name="connsiteX6" fmla="*/ 1561810 w 3945361"/>
                  <a:gd name="connsiteY6" fmla="*/ 86269 h 3869324"/>
                  <a:gd name="connsiteX7" fmla="*/ 1603733 w 3945361"/>
                  <a:gd name="connsiteY7" fmla="*/ 107472 h 3869324"/>
                  <a:gd name="connsiteX8" fmla="*/ 2376653 w 3945361"/>
                  <a:gd name="connsiteY8" fmla="*/ 1348418 h 3869324"/>
                  <a:gd name="connsiteX9" fmla="*/ 2508386 w 3945361"/>
                  <a:gd name="connsiteY9" fmla="*/ 1375932 h 3869324"/>
                  <a:gd name="connsiteX10" fmla="*/ 2574281 w 3945361"/>
                  <a:gd name="connsiteY10" fmla="*/ 1402017 h 3869324"/>
                  <a:gd name="connsiteX11" fmla="*/ 2575067 w 3945361"/>
                  <a:gd name="connsiteY11" fmla="*/ 1401558 h 3869324"/>
                  <a:gd name="connsiteX12" fmla="*/ 2649509 w 3945361"/>
                  <a:gd name="connsiteY12" fmla="*/ 1440077 h 3869324"/>
                  <a:gd name="connsiteX13" fmla="*/ 2677427 w 3945361"/>
                  <a:gd name="connsiteY13" fmla="*/ 1459440 h 3869324"/>
                  <a:gd name="connsiteX14" fmla="*/ 2768983 w 3945361"/>
                  <a:gd name="connsiteY14" fmla="*/ 1521376 h 3869324"/>
                  <a:gd name="connsiteX15" fmla="*/ 2777370 w 3945361"/>
                  <a:gd name="connsiteY15" fmla="*/ 1528756 h 3869324"/>
                  <a:gd name="connsiteX16" fmla="*/ 2788150 w 3945361"/>
                  <a:gd name="connsiteY16" fmla="*/ 1536233 h 3869324"/>
                  <a:gd name="connsiteX17" fmla="*/ 2824413 w 3945361"/>
                  <a:gd name="connsiteY17" fmla="*/ 1570156 h 3869324"/>
                  <a:gd name="connsiteX18" fmla="*/ 2881003 w 3945361"/>
                  <a:gd name="connsiteY18" fmla="*/ 1619957 h 3869324"/>
                  <a:gd name="connsiteX19" fmla="*/ 2900198 w 3945361"/>
                  <a:gd name="connsiteY19" fmla="*/ 1641050 h 3869324"/>
                  <a:gd name="connsiteX20" fmla="*/ 2917241 w 3945361"/>
                  <a:gd name="connsiteY20" fmla="*/ 1656993 h 3869324"/>
                  <a:gd name="connsiteX21" fmla="*/ 2943943 w 3945361"/>
                  <a:gd name="connsiteY21" fmla="*/ 1689122 h 3869324"/>
                  <a:gd name="connsiteX22" fmla="*/ 2984754 w 3945361"/>
                  <a:gd name="connsiteY22" fmla="*/ 1733969 h 3869324"/>
                  <a:gd name="connsiteX23" fmla="*/ 3013929 w 3945361"/>
                  <a:gd name="connsiteY23" fmla="*/ 1773329 h 3869324"/>
                  <a:gd name="connsiteX24" fmla="*/ 3034087 w 3945361"/>
                  <a:gd name="connsiteY24" fmla="*/ 1797584 h 3869324"/>
                  <a:gd name="connsiteX25" fmla="*/ 3050595 w 3945361"/>
                  <a:gd name="connsiteY25" fmla="*/ 1822796 h 3869324"/>
                  <a:gd name="connsiteX26" fmla="*/ 3078521 w 3945361"/>
                  <a:gd name="connsiteY26" fmla="*/ 1860472 h 3869324"/>
                  <a:gd name="connsiteX27" fmla="*/ 3116645 w 3945361"/>
                  <a:gd name="connsiteY27" fmla="*/ 1923676 h 3869324"/>
                  <a:gd name="connsiteX28" fmla="*/ 3135997 w 3945361"/>
                  <a:gd name="connsiteY28" fmla="*/ 1953232 h 3869324"/>
                  <a:gd name="connsiteX29" fmla="*/ 3134872 w 3945361"/>
                  <a:gd name="connsiteY29" fmla="*/ 1953893 h 3869324"/>
                  <a:gd name="connsiteX30" fmla="*/ 3160589 w 3945361"/>
                  <a:gd name="connsiteY30" fmla="*/ 1996527 h 3869324"/>
                  <a:gd name="connsiteX31" fmla="*/ 3319446 w 3945361"/>
                  <a:gd name="connsiteY31" fmla="*/ 2432614 h 3869324"/>
                  <a:gd name="connsiteX32" fmla="*/ 3479518 w 3945361"/>
                  <a:gd name="connsiteY32" fmla="*/ 2491396 h 3869324"/>
                  <a:gd name="connsiteX33" fmla="*/ 3945361 w 3945361"/>
                  <a:gd name="connsiteY33" fmla="*/ 3298664 h 3869324"/>
                  <a:gd name="connsiteX34" fmla="*/ 3808973 w 3945361"/>
                  <a:gd name="connsiteY34" fmla="*/ 3600491 h 3869324"/>
                  <a:gd name="connsiteX35" fmla="*/ 3798425 w 3945361"/>
                  <a:gd name="connsiteY35" fmla="*/ 3604458 h 3869324"/>
                  <a:gd name="connsiteX36" fmla="*/ 3348264 w 3945361"/>
                  <a:gd name="connsiteY36" fmla="*/ 3869324 h 3869324"/>
                  <a:gd name="connsiteX37" fmla="*/ 3282814 w 3945361"/>
                  <a:gd name="connsiteY37" fmla="*/ 3427379 h 3869324"/>
                  <a:gd name="connsiteX38" fmla="*/ 1168598 w 3945361"/>
                  <a:gd name="connsiteY38" fmla="*/ 1918601 h 3869324"/>
                  <a:gd name="connsiteX39" fmla="*/ 559886 w 3945361"/>
                  <a:gd name="connsiteY39" fmla="*/ 995075 h 3869324"/>
                  <a:gd name="connsiteX40" fmla="*/ 552753 w 3945361"/>
                  <a:gd name="connsiteY40" fmla="*/ 909487 h 3869324"/>
                  <a:gd name="connsiteX41" fmla="*/ 497341 w 3945361"/>
                  <a:gd name="connsiteY41" fmla="*/ 926665 h 3869324"/>
                  <a:gd name="connsiteX42" fmla="*/ 286061 w 3945361"/>
                  <a:gd name="connsiteY42" fmla="*/ 991901 h 3869324"/>
                  <a:gd name="connsiteX43" fmla="*/ 0 w 3945361"/>
                  <a:gd name="connsiteY43" fmla="*/ 860448 h 3869324"/>
                  <a:gd name="connsiteX44" fmla="*/ 736704 w 3945361"/>
                  <a:gd name="connsiteY44" fmla="*/ 436658 h 3869324"/>
                  <a:gd name="connsiteX45" fmla="*/ 736699 w 3945361"/>
                  <a:gd name="connsiteY45" fmla="*/ 436733 h 3869324"/>
                  <a:gd name="connsiteX46" fmla="*/ 756547 w 3945361"/>
                  <a:gd name="connsiteY46" fmla="*/ 424954 h 3869324"/>
                  <a:gd name="connsiteX47" fmla="*/ 614553 w 3945361"/>
                  <a:gd name="connsiteY47" fmla="*/ 312555 h 3869324"/>
                  <a:gd name="connsiteX48" fmla="*/ 615315 w 3945361"/>
                  <a:gd name="connsiteY48" fmla="*/ 312106 h 3869324"/>
                  <a:gd name="connsiteX49" fmla="*/ 613106 w 3945361"/>
                  <a:gd name="connsiteY49" fmla="*/ 310358 h 3869324"/>
                  <a:gd name="connsiteX50" fmla="*/ 1047113 w 3945361"/>
                  <a:gd name="connsiteY50" fmla="*/ 54718 h 3869324"/>
                  <a:gd name="connsiteX51" fmla="*/ 1057555 w 3945361"/>
                  <a:gd name="connsiteY51" fmla="*/ 48848 h 3869324"/>
                  <a:gd name="connsiteX52" fmla="*/ 1064735 w 3945361"/>
                  <a:gd name="connsiteY52" fmla="*/ 44283 h 3869324"/>
                  <a:gd name="connsiteX53" fmla="*/ 1064735 w 3945361"/>
                  <a:gd name="connsiteY53" fmla="*/ 44935 h 3869324"/>
                  <a:gd name="connsiteX54" fmla="*/ 1228925 w 3945361"/>
                  <a:gd name="connsiteY54" fmla="*/ 698 h 386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45361" h="3869324">
                    <a:moveTo>
                      <a:pt x="1228925" y="698"/>
                    </a:moveTo>
                    <a:cubicBezTo>
                      <a:pt x="1308996" y="-3709"/>
                      <a:pt x="1397715" y="12691"/>
                      <a:pt x="1491817" y="51774"/>
                    </a:cubicBezTo>
                    <a:lnTo>
                      <a:pt x="1504408" y="57687"/>
                    </a:lnTo>
                    <a:lnTo>
                      <a:pt x="1507544" y="58822"/>
                    </a:lnTo>
                    <a:lnTo>
                      <a:pt x="1516877" y="63542"/>
                    </a:lnTo>
                    <a:lnTo>
                      <a:pt x="1563353" y="85368"/>
                    </a:lnTo>
                    <a:lnTo>
                      <a:pt x="1561810" y="86269"/>
                    </a:lnTo>
                    <a:lnTo>
                      <a:pt x="1603733" y="107472"/>
                    </a:lnTo>
                    <a:cubicBezTo>
                      <a:pt x="2003587" y="338027"/>
                      <a:pt x="2332225" y="875553"/>
                      <a:pt x="2376653" y="1348418"/>
                    </a:cubicBezTo>
                    <a:cubicBezTo>
                      <a:pt x="2418468" y="1351684"/>
                      <a:pt x="2462569" y="1360665"/>
                      <a:pt x="2508386" y="1375932"/>
                    </a:cubicBezTo>
                    <a:lnTo>
                      <a:pt x="2574281" y="1402017"/>
                    </a:lnTo>
                    <a:lnTo>
                      <a:pt x="2575067" y="1401558"/>
                    </a:lnTo>
                    <a:cubicBezTo>
                      <a:pt x="2599228" y="1412657"/>
                      <a:pt x="2624042" y="1425714"/>
                      <a:pt x="2649509" y="1440077"/>
                    </a:cubicBezTo>
                    <a:lnTo>
                      <a:pt x="2677427" y="1459440"/>
                    </a:lnTo>
                    <a:lnTo>
                      <a:pt x="2768983" y="1521376"/>
                    </a:lnTo>
                    <a:lnTo>
                      <a:pt x="2777370" y="1528756"/>
                    </a:lnTo>
                    <a:lnTo>
                      <a:pt x="2788150" y="1536233"/>
                    </a:lnTo>
                    <a:lnTo>
                      <a:pt x="2824413" y="1570156"/>
                    </a:lnTo>
                    <a:lnTo>
                      <a:pt x="2881003" y="1619957"/>
                    </a:lnTo>
                    <a:lnTo>
                      <a:pt x="2900198" y="1641050"/>
                    </a:lnTo>
                    <a:lnTo>
                      <a:pt x="2917241" y="1656993"/>
                    </a:lnTo>
                    <a:lnTo>
                      <a:pt x="2943943" y="1689122"/>
                    </a:lnTo>
                    <a:lnTo>
                      <a:pt x="2984754" y="1733969"/>
                    </a:lnTo>
                    <a:lnTo>
                      <a:pt x="3013929" y="1773329"/>
                    </a:lnTo>
                    <a:lnTo>
                      <a:pt x="3034087" y="1797584"/>
                    </a:lnTo>
                    <a:lnTo>
                      <a:pt x="3050595" y="1822796"/>
                    </a:lnTo>
                    <a:lnTo>
                      <a:pt x="3078521" y="1860472"/>
                    </a:lnTo>
                    <a:lnTo>
                      <a:pt x="3116645" y="1923676"/>
                    </a:lnTo>
                    <a:lnTo>
                      <a:pt x="3135997" y="1953232"/>
                    </a:lnTo>
                    <a:lnTo>
                      <a:pt x="3134872" y="1953893"/>
                    </a:lnTo>
                    <a:lnTo>
                      <a:pt x="3160589" y="1996527"/>
                    </a:lnTo>
                    <a:cubicBezTo>
                      <a:pt x="3236235" y="2136379"/>
                      <a:pt x="3291760" y="2286150"/>
                      <a:pt x="3319446" y="2432614"/>
                    </a:cubicBezTo>
                    <a:cubicBezTo>
                      <a:pt x="3369101" y="2439798"/>
                      <a:pt x="3423329" y="2458739"/>
                      <a:pt x="3479518" y="2491396"/>
                    </a:cubicBezTo>
                    <a:cubicBezTo>
                      <a:pt x="3736941" y="2639656"/>
                      <a:pt x="3945361" y="3001490"/>
                      <a:pt x="3945361" y="3298664"/>
                    </a:cubicBezTo>
                    <a:cubicBezTo>
                      <a:pt x="3945361" y="3447251"/>
                      <a:pt x="3893257" y="3551752"/>
                      <a:pt x="3808973" y="3600491"/>
                    </a:cubicBezTo>
                    <a:lnTo>
                      <a:pt x="3798425" y="3604458"/>
                    </a:lnTo>
                    <a:lnTo>
                      <a:pt x="3348264" y="3869324"/>
                    </a:lnTo>
                    <a:lnTo>
                      <a:pt x="3282814" y="3427379"/>
                    </a:lnTo>
                    <a:lnTo>
                      <a:pt x="1168598" y="1918601"/>
                    </a:lnTo>
                    <a:cubicBezTo>
                      <a:pt x="868463" y="1745439"/>
                      <a:pt x="617850" y="1354756"/>
                      <a:pt x="559886" y="995075"/>
                    </a:cubicBezTo>
                    <a:lnTo>
                      <a:pt x="552753" y="909487"/>
                    </a:lnTo>
                    <a:lnTo>
                      <a:pt x="497341" y="926665"/>
                    </a:lnTo>
                    <a:cubicBezTo>
                      <a:pt x="391701" y="959365"/>
                      <a:pt x="286061" y="991901"/>
                      <a:pt x="286061" y="991901"/>
                    </a:cubicBezTo>
                    <a:lnTo>
                      <a:pt x="0" y="860448"/>
                    </a:lnTo>
                    <a:lnTo>
                      <a:pt x="736704" y="436658"/>
                    </a:lnTo>
                    <a:lnTo>
                      <a:pt x="736699" y="436733"/>
                    </a:lnTo>
                    <a:lnTo>
                      <a:pt x="756547" y="424954"/>
                    </a:lnTo>
                    <a:lnTo>
                      <a:pt x="614553" y="312555"/>
                    </a:lnTo>
                    <a:lnTo>
                      <a:pt x="615315" y="312106"/>
                    </a:lnTo>
                    <a:lnTo>
                      <a:pt x="613106" y="310358"/>
                    </a:lnTo>
                    <a:lnTo>
                      <a:pt x="1047113" y="54718"/>
                    </a:lnTo>
                    <a:cubicBezTo>
                      <a:pt x="1050376" y="52761"/>
                      <a:pt x="1054292" y="50805"/>
                      <a:pt x="1057555" y="48848"/>
                    </a:cubicBezTo>
                    <a:lnTo>
                      <a:pt x="1064735" y="44283"/>
                    </a:lnTo>
                    <a:lnTo>
                      <a:pt x="1064735" y="44935"/>
                    </a:lnTo>
                    <a:cubicBezTo>
                      <a:pt x="1113683" y="19013"/>
                      <a:pt x="1168872" y="4003"/>
                      <a:pt x="1228925" y="69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5" name="Freeform 214">
                <a:extLst>
                  <a:ext uri="{FF2B5EF4-FFF2-40B4-BE49-F238E27FC236}">
                    <a16:creationId xmlns:a16="http://schemas.microsoft.com/office/drawing/2014/main" id="{21337775-239D-B642-A6ED-61A607E622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4228" y="345638"/>
                <a:ext cx="2384237" cy="2375596"/>
              </a:xfrm>
              <a:custGeom>
                <a:avLst/>
                <a:gdLst>
                  <a:gd name="connsiteX0" fmla="*/ 2236666 w 2384237"/>
                  <a:gd name="connsiteY0" fmla="*/ 1808829 h 2375596"/>
                  <a:gd name="connsiteX1" fmla="*/ 2384237 w 2384237"/>
                  <a:gd name="connsiteY1" fmla="*/ 2064788 h 2375596"/>
                  <a:gd name="connsiteX2" fmla="*/ 1857942 w 2384237"/>
                  <a:gd name="connsiteY2" fmla="*/ 2375596 h 2375596"/>
                  <a:gd name="connsiteX3" fmla="*/ 1656174 w 2384237"/>
                  <a:gd name="connsiteY3" fmla="*/ 2150979 h 2375596"/>
                  <a:gd name="connsiteX4" fmla="*/ 577449 w 2384237"/>
                  <a:gd name="connsiteY4" fmla="*/ 0 h 2375596"/>
                  <a:gd name="connsiteX5" fmla="*/ 784755 w 2384237"/>
                  <a:gd name="connsiteY5" fmla="*/ 86762 h 2375596"/>
                  <a:gd name="connsiteX6" fmla="*/ 918163 w 2384237"/>
                  <a:gd name="connsiteY6" fmla="*/ 177438 h 2375596"/>
                  <a:gd name="connsiteX7" fmla="*/ 324365 w 2384237"/>
                  <a:gd name="connsiteY7" fmla="*/ 526444 h 2375596"/>
                  <a:gd name="connsiteX8" fmla="*/ 0 w 2384237"/>
                  <a:gd name="connsiteY8" fmla="*/ 339220 h 2375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84237" h="2375596">
                    <a:moveTo>
                      <a:pt x="2236666" y="1808829"/>
                    </a:moveTo>
                    <a:cubicBezTo>
                      <a:pt x="2292821" y="1889796"/>
                      <a:pt x="2343100" y="1975986"/>
                      <a:pt x="2384237" y="2064788"/>
                    </a:cubicBezTo>
                    <a:lnTo>
                      <a:pt x="1857942" y="2375596"/>
                    </a:lnTo>
                    <a:lnTo>
                      <a:pt x="1656174" y="2150979"/>
                    </a:lnTo>
                    <a:close/>
                    <a:moveTo>
                      <a:pt x="577449" y="0"/>
                    </a:moveTo>
                    <a:cubicBezTo>
                      <a:pt x="643499" y="17613"/>
                      <a:pt x="712819" y="45664"/>
                      <a:pt x="784755" y="86762"/>
                    </a:cubicBezTo>
                    <a:cubicBezTo>
                      <a:pt x="830532" y="113508"/>
                      <a:pt x="875002" y="143516"/>
                      <a:pt x="918163" y="177438"/>
                    </a:cubicBezTo>
                    <a:lnTo>
                      <a:pt x="324365" y="526444"/>
                    </a:lnTo>
                    <a:lnTo>
                      <a:pt x="0" y="33922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6" name="Freeform 64">
                <a:extLst>
                  <a:ext uri="{FF2B5EF4-FFF2-40B4-BE49-F238E27FC236}">
                    <a16:creationId xmlns:a16="http://schemas.microsoft.com/office/drawing/2014/main" id="{4D780B11-6829-EE41-9F0B-4818CBF347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9002" y="455089"/>
                <a:ext cx="3675266" cy="3856726"/>
              </a:xfrm>
              <a:custGeom>
                <a:avLst/>
                <a:gdLst>
                  <a:gd name="T0" fmla="*/ 4915 w 5629"/>
                  <a:gd name="T1" fmla="*/ 4029 h 5905"/>
                  <a:gd name="T2" fmla="*/ 4915 w 5629"/>
                  <a:gd name="T3" fmla="*/ 4029 h 5905"/>
                  <a:gd name="T4" fmla="*/ 4671 w 5629"/>
                  <a:gd name="T5" fmla="*/ 3939 h 5905"/>
                  <a:gd name="T6" fmla="*/ 4671 w 5629"/>
                  <a:gd name="T7" fmla="*/ 3939 h 5905"/>
                  <a:gd name="T8" fmla="*/ 3646 w 5629"/>
                  <a:gd name="T9" fmla="*/ 2421 h 5905"/>
                  <a:gd name="T10" fmla="*/ 3646 w 5629"/>
                  <a:gd name="T11" fmla="*/ 2421 h 5905"/>
                  <a:gd name="T12" fmla="*/ 3227 w 5629"/>
                  <a:gd name="T13" fmla="*/ 2279 h 5905"/>
                  <a:gd name="T14" fmla="*/ 3227 w 5629"/>
                  <a:gd name="T15" fmla="*/ 2279 h 5905"/>
                  <a:gd name="T16" fmla="*/ 2044 w 5629"/>
                  <a:gd name="T17" fmla="*/ 380 h 5905"/>
                  <a:gd name="T18" fmla="*/ 2044 w 5629"/>
                  <a:gd name="T19" fmla="*/ 380 h 5905"/>
                  <a:gd name="T20" fmla="*/ 854 w 5629"/>
                  <a:gd name="T21" fmla="*/ 1067 h 5905"/>
                  <a:gd name="T22" fmla="*/ 854 w 5629"/>
                  <a:gd name="T23" fmla="*/ 1067 h 5905"/>
                  <a:gd name="T24" fmla="*/ 857 w 5629"/>
                  <a:gd name="T25" fmla="*/ 1144 h 5905"/>
                  <a:gd name="T26" fmla="*/ 857 w 5629"/>
                  <a:gd name="T27" fmla="*/ 1144 h 5905"/>
                  <a:gd name="T28" fmla="*/ 0 w 5629"/>
                  <a:gd name="T29" fmla="*/ 1742 h 5905"/>
                  <a:gd name="T30" fmla="*/ 0 w 5629"/>
                  <a:gd name="T31" fmla="*/ 1742 h 5905"/>
                  <a:gd name="T32" fmla="*/ 950 w 5629"/>
                  <a:gd name="T33" fmla="*/ 3388 h 5905"/>
                  <a:gd name="T34" fmla="*/ 4915 w 5629"/>
                  <a:gd name="T35" fmla="*/ 5677 h 5905"/>
                  <a:gd name="T36" fmla="*/ 4915 w 5629"/>
                  <a:gd name="T37" fmla="*/ 5677 h 5905"/>
                  <a:gd name="T38" fmla="*/ 5628 w 5629"/>
                  <a:gd name="T39" fmla="*/ 5265 h 5905"/>
                  <a:gd name="T40" fmla="*/ 5628 w 5629"/>
                  <a:gd name="T41" fmla="*/ 5265 h 5905"/>
                  <a:gd name="T42" fmla="*/ 4915 w 5629"/>
                  <a:gd name="T43" fmla="*/ 4029 h 5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29" h="5905">
                    <a:moveTo>
                      <a:pt x="4915" y="4029"/>
                    </a:moveTo>
                    <a:lnTo>
                      <a:pt x="4915" y="4029"/>
                    </a:lnTo>
                    <a:cubicBezTo>
                      <a:pt x="4829" y="3979"/>
                      <a:pt x="4747" y="3950"/>
                      <a:pt x="4671" y="3939"/>
                    </a:cubicBezTo>
                    <a:lnTo>
                      <a:pt x="4671" y="3939"/>
                    </a:lnTo>
                    <a:cubicBezTo>
                      <a:pt x="4557" y="3341"/>
                      <a:pt x="4141" y="2707"/>
                      <a:pt x="3646" y="2421"/>
                    </a:cubicBezTo>
                    <a:lnTo>
                      <a:pt x="3646" y="2421"/>
                    </a:lnTo>
                    <a:cubicBezTo>
                      <a:pt x="3497" y="2335"/>
                      <a:pt x="3356" y="2289"/>
                      <a:pt x="3227" y="2279"/>
                    </a:cubicBezTo>
                    <a:lnTo>
                      <a:pt x="3227" y="2279"/>
                    </a:lnTo>
                    <a:cubicBezTo>
                      <a:pt x="3159" y="1555"/>
                      <a:pt x="2656" y="733"/>
                      <a:pt x="2044" y="380"/>
                    </a:cubicBezTo>
                    <a:lnTo>
                      <a:pt x="2044" y="380"/>
                    </a:lnTo>
                    <a:cubicBezTo>
                      <a:pt x="1387" y="0"/>
                      <a:pt x="854" y="308"/>
                      <a:pt x="854" y="1067"/>
                    </a:cubicBezTo>
                    <a:lnTo>
                      <a:pt x="854" y="1067"/>
                    </a:lnTo>
                    <a:cubicBezTo>
                      <a:pt x="854" y="1092"/>
                      <a:pt x="855" y="1118"/>
                      <a:pt x="857" y="1144"/>
                    </a:cubicBezTo>
                    <a:lnTo>
                      <a:pt x="857" y="1144"/>
                    </a:lnTo>
                    <a:cubicBezTo>
                      <a:pt x="375" y="921"/>
                      <a:pt x="0" y="1173"/>
                      <a:pt x="0" y="1742"/>
                    </a:cubicBezTo>
                    <a:lnTo>
                      <a:pt x="0" y="1742"/>
                    </a:lnTo>
                    <a:cubicBezTo>
                      <a:pt x="0" y="2348"/>
                      <a:pt x="425" y="3085"/>
                      <a:pt x="950" y="3388"/>
                    </a:cubicBezTo>
                    <a:lnTo>
                      <a:pt x="4915" y="5677"/>
                    </a:lnTo>
                    <a:lnTo>
                      <a:pt x="4915" y="5677"/>
                    </a:lnTo>
                    <a:cubicBezTo>
                      <a:pt x="5309" y="5904"/>
                      <a:pt x="5628" y="5720"/>
                      <a:pt x="5628" y="5265"/>
                    </a:cubicBezTo>
                    <a:lnTo>
                      <a:pt x="5628" y="5265"/>
                    </a:lnTo>
                    <a:cubicBezTo>
                      <a:pt x="5628" y="4810"/>
                      <a:pt x="5309" y="4257"/>
                      <a:pt x="4915" y="402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7" name="Freeform 216">
                <a:extLst>
                  <a:ext uri="{FF2B5EF4-FFF2-40B4-BE49-F238E27FC236}">
                    <a16:creationId xmlns:a16="http://schemas.microsoft.com/office/drawing/2014/main" id="{986C2E80-F802-4048-BCB9-28AC44DAD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0135" y="558351"/>
                <a:ext cx="3570922" cy="3582873"/>
              </a:xfrm>
              <a:custGeom>
                <a:avLst/>
                <a:gdLst>
                  <a:gd name="connsiteX0" fmla="*/ 232326 w 3570922"/>
                  <a:gd name="connsiteY0" fmla="*/ 556197 h 3582873"/>
                  <a:gd name="connsiteX1" fmla="*/ 415035 w 3570922"/>
                  <a:gd name="connsiteY1" fmla="*/ 592467 h 3582873"/>
                  <a:gd name="connsiteX2" fmla="*/ 415035 w 3570922"/>
                  <a:gd name="connsiteY2" fmla="*/ 594424 h 3582873"/>
                  <a:gd name="connsiteX3" fmla="*/ 416992 w 3570922"/>
                  <a:gd name="connsiteY3" fmla="*/ 644639 h 3582873"/>
                  <a:gd name="connsiteX4" fmla="*/ 0 w 3570922"/>
                  <a:gd name="connsiteY4" fmla="*/ 662247 h 3582873"/>
                  <a:gd name="connsiteX5" fmla="*/ 232326 w 3570922"/>
                  <a:gd name="connsiteY5" fmla="*/ 556197 h 3582873"/>
                  <a:gd name="connsiteX6" fmla="*/ 861169 w 3570922"/>
                  <a:gd name="connsiteY6" fmla="*/ 541 h 3582873"/>
                  <a:gd name="connsiteX7" fmla="*/ 1230740 w 3570922"/>
                  <a:gd name="connsiteY7" fmla="*/ 106286 h 3582873"/>
                  <a:gd name="connsiteX8" fmla="*/ 2002530 w 3570922"/>
                  <a:gd name="connsiteY8" fmla="*/ 1347457 h 3582873"/>
                  <a:gd name="connsiteX9" fmla="*/ 2276117 w 3570922"/>
                  <a:gd name="connsiteY9" fmla="*/ 1439566 h 3582873"/>
                  <a:gd name="connsiteX10" fmla="*/ 2945394 w 3570922"/>
                  <a:gd name="connsiteY10" fmla="*/ 2431196 h 3582873"/>
                  <a:gd name="connsiteX11" fmla="*/ 3104061 w 3570922"/>
                  <a:gd name="connsiteY11" fmla="*/ 2489989 h 3582873"/>
                  <a:gd name="connsiteX12" fmla="*/ 3570922 w 3570922"/>
                  <a:gd name="connsiteY12" fmla="*/ 3298057 h 3582873"/>
                  <a:gd name="connsiteX13" fmla="*/ 3457961 w 3570922"/>
                  <a:gd name="connsiteY13" fmla="*/ 3582873 h 3582873"/>
                  <a:gd name="connsiteX14" fmla="*/ 3532398 w 3570922"/>
                  <a:gd name="connsiteY14" fmla="*/ 3334639 h 3582873"/>
                  <a:gd name="connsiteX15" fmla="*/ 3066843 w 3570922"/>
                  <a:gd name="connsiteY15" fmla="*/ 2527224 h 3582873"/>
                  <a:gd name="connsiteX16" fmla="*/ 2907522 w 3570922"/>
                  <a:gd name="connsiteY16" fmla="*/ 2468431 h 3582873"/>
                  <a:gd name="connsiteX17" fmla="*/ 2238246 w 3570922"/>
                  <a:gd name="connsiteY17" fmla="*/ 1476801 h 3582873"/>
                  <a:gd name="connsiteX18" fmla="*/ 1964659 w 3570922"/>
                  <a:gd name="connsiteY18" fmla="*/ 1384039 h 3582873"/>
                  <a:gd name="connsiteX19" fmla="*/ 1192216 w 3570922"/>
                  <a:gd name="connsiteY19" fmla="*/ 143521 h 3582873"/>
                  <a:gd name="connsiteX20" fmla="*/ 587582 w 3570922"/>
                  <a:gd name="connsiteY20" fmla="*/ 128496 h 3582873"/>
                  <a:gd name="connsiteX21" fmla="*/ 861169 w 3570922"/>
                  <a:gd name="connsiteY21" fmla="*/ 541 h 358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0922" h="3582873">
                    <a:moveTo>
                      <a:pt x="232326" y="556197"/>
                    </a:moveTo>
                    <a:cubicBezTo>
                      <a:pt x="288732" y="555264"/>
                      <a:pt x="350186" y="567034"/>
                      <a:pt x="415035" y="592467"/>
                    </a:cubicBezTo>
                    <a:cubicBezTo>
                      <a:pt x="415035" y="592467"/>
                      <a:pt x="415035" y="593119"/>
                      <a:pt x="415035" y="594424"/>
                    </a:cubicBezTo>
                    <a:cubicBezTo>
                      <a:pt x="415035" y="610727"/>
                      <a:pt x="415687" y="627683"/>
                      <a:pt x="416992" y="644639"/>
                    </a:cubicBezTo>
                    <a:cubicBezTo>
                      <a:pt x="248629" y="567686"/>
                      <a:pt x="101148" y="578120"/>
                      <a:pt x="0" y="662247"/>
                    </a:cubicBezTo>
                    <a:cubicBezTo>
                      <a:pt x="58324" y="594587"/>
                      <a:pt x="138315" y="557751"/>
                      <a:pt x="232326" y="556197"/>
                    </a:cubicBezTo>
                    <a:close/>
                    <a:moveTo>
                      <a:pt x="861169" y="541"/>
                    </a:moveTo>
                    <a:cubicBezTo>
                      <a:pt x="971029" y="-4766"/>
                      <a:pt x="1096885" y="28876"/>
                      <a:pt x="1230740" y="106286"/>
                    </a:cubicBezTo>
                    <a:cubicBezTo>
                      <a:pt x="1629041" y="336883"/>
                      <a:pt x="1958129" y="873853"/>
                      <a:pt x="2002530" y="1347457"/>
                    </a:cubicBezTo>
                    <a:cubicBezTo>
                      <a:pt x="2086108" y="1353990"/>
                      <a:pt x="2178827" y="1383386"/>
                      <a:pt x="2276117" y="1439566"/>
                    </a:cubicBezTo>
                    <a:cubicBezTo>
                      <a:pt x="2599329" y="1627048"/>
                      <a:pt x="2870957" y="2040554"/>
                      <a:pt x="2945394" y="2431196"/>
                    </a:cubicBezTo>
                    <a:cubicBezTo>
                      <a:pt x="2995018" y="2439035"/>
                      <a:pt x="3048560" y="2457979"/>
                      <a:pt x="3104061" y="2489989"/>
                    </a:cubicBezTo>
                    <a:cubicBezTo>
                      <a:pt x="3361977" y="2638929"/>
                      <a:pt x="3570922" y="3000175"/>
                      <a:pt x="3570922" y="3298057"/>
                    </a:cubicBezTo>
                    <a:cubicBezTo>
                      <a:pt x="3570922" y="3431319"/>
                      <a:pt x="3527827" y="3528653"/>
                      <a:pt x="3457961" y="3582873"/>
                    </a:cubicBezTo>
                    <a:cubicBezTo>
                      <a:pt x="3504974" y="3525387"/>
                      <a:pt x="3532398" y="3441771"/>
                      <a:pt x="3532398" y="3334639"/>
                    </a:cubicBezTo>
                    <a:cubicBezTo>
                      <a:pt x="3532398" y="3037411"/>
                      <a:pt x="3324106" y="2676164"/>
                      <a:pt x="3066843" y="2527224"/>
                    </a:cubicBezTo>
                    <a:cubicBezTo>
                      <a:pt x="3010689" y="2494561"/>
                      <a:pt x="2957147" y="2475617"/>
                      <a:pt x="2907522" y="2468431"/>
                    </a:cubicBezTo>
                    <a:cubicBezTo>
                      <a:pt x="2833086" y="2077789"/>
                      <a:pt x="2561458" y="1663630"/>
                      <a:pt x="2238246" y="1476801"/>
                    </a:cubicBezTo>
                    <a:cubicBezTo>
                      <a:pt x="2140956" y="1420621"/>
                      <a:pt x="2048890" y="1390572"/>
                      <a:pt x="1964659" y="1384039"/>
                    </a:cubicBezTo>
                    <a:cubicBezTo>
                      <a:pt x="1920258" y="911088"/>
                      <a:pt x="1591823" y="374118"/>
                      <a:pt x="1192216" y="143521"/>
                    </a:cubicBezTo>
                    <a:cubicBezTo>
                      <a:pt x="948012" y="1766"/>
                      <a:pt x="729926" y="6339"/>
                      <a:pt x="587582" y="128496"/>
                    </a:cubicBezTo>
                    <a:cubicBezTo>
                      <a:pt x="657448" y="50107"/>
                      <a:pt x="751310" y="5849"/>
                      <a:pt x="861169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8" name="Freeform 67">
                <a:extLst>
                  <a:ext uri="{FF2B5EF4-FFF2-40B4-BE49-F238E27FC236}">
                    <a16:creationId xmlns:a16="http://schemas.microsoft.com/office/drawing/2014/main" id="{E9E42323-CE0F-4E4D-9BED-A5B15361C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8616" y="699915"/>
                <a:ext cx="3416039" cy="3410278"/>
              </a:xfrm>
              <a:custGeom>
                <a:avLst/>
                <a:gdLst>
                  <a:gd name="T0" fmla="*/ 574 w 5231"/>
                  <a:gd name="T1" fmla="*/ 949 h 5220"/>
                  <a:gd name="T2" fmla="*/ 871 w 5231"/>
                  <a:gd name="T3" fmla="*/ 1087 h 5220"/>
                  <a:gd name="T4" fmla="*/ 856 w 5231"/>
                  <a:gd name="T5" fmla="*/ 759 h 5220"/>
                  <a:gd name="T6" fmla="*/ 856 w 5231"/>
                  <a:gd name="T7" fmla="*/ 759 h 5220"/>
                  <a:gd name="T8" fmla="*/ 854 w 5231"/>
                  <a:gd name="T9" fmla="*/ 691 h 5220"/>
                  <a:gd name="T10" fmla="*/ 854 w 5231"/>
                  <a:gd name="T11" fmla="*/ 691 h 5220"/>
                  <a:gd name="T12" fmla="*/ 1103 w 5231"/>
                  <a:gd name="T13" fmla="*/ 93 h 5220"/>
                  <a:gd name="T14" fmla="*/ 1103 w 5231"/>
                  <a:gd name="T15" fmla="*/ 93 h 5220"/>
                  <a:gd name="T16" fmla="*/ 1746 w 5231"/>
                  <a:gd name="T17" fmla="*/ 176 h 5220"/>
                  <a:gd name="T18" fmla="*/ 1746 w 5231"/>
                  <a:gd name="T19" fmla="*/ 176 h 5220"/>
                  <a:gd name="T20" fmla="*/ 2829 w 5231"/>
                  <a:gd name="T21" fmla="*/ 1922 h 5220"/>
                  <a:gd name="T22" fmla="*/ 2845 w 5231"/>
                  <a:gd name="T23" fmla="*/ 2089 h 5220"/>
                  <a:gd name="T24" fmla="*/ 3013 w 5231"/>
                  <a:gd name="T25" fmla="*/ 2101 h 5220"/>
                  <a:gd name="T26" fmla="*/ 3013 w 5231"/>
                  <a:gd name="T27" fmla="*/ 2101 h 5220"/>
                  <a:gd name="T28" fmla="*/ 3347 w 5231"/>
                  <a:gd name="T29" fmla="*/ 2218 h 5220"/>
                  <a:gd name="T30" fmla="*/ 3347 w 5231"/>
                  <a:gd name="T31" fmla="*/ 2218 h 5220"/>
                  <a:gd name="T32" fmla="*/ 4276 w 5231"/>
                  <a:gd name="T33" fmla="*/ 3600 h 5220"/>
                  <a:gd name="T34" fmla="*/ 4302 w 5231"/>
                  <a:gd name="T35" fmla="*/ 3738 h 5220"/>
                  <a:gd name="T36" fmla="*/ 4441 w 5231"/>
                  <a:gd name="T37" fmla="*/ 3760 h 5220"/>
                  <a:gd name="T38" fmla="*/ 4441 w 5231"/>
                  <a:gd name="T39" fmla="*/ 3760 h 5220"/>
                  <a:gd name="T40" fmla="*/ 4616 w 5231"/>
                  <a:gd name="T41" fmla="*/ 3825 h 5220"/>
                  <a:gd name="T42" fmla="*/ 4616 w 5231"/>
                  <a:gd name="T43" fmla="*/ 3825 h 5220"/>
                  <a:gd name="T44" fmla="*/ 5230 w 5231"/>
                  <a:gd name="T45" fmla="*/ 4889 h 5220"/>
                  <a:gd name="T46" fmla="*/ 5230 w 5231"/>
                  <a:gd name="T47" fmla="*/ 4889 h 5220"/>
                  <a:gd name="T48" fmla="*/ 5121 w 5231"/>
                  <a:gd name="T49" fmla="*/ 5179 h 5220"/>
                  <a:gd name="T50" fmla="*/ 5121 w 5231"/>
                  <a:gd name="T51" fmla="*/ 5179 h 5220"/>
                  <a:gd name="T52" fmla="*/ 4815 w 5231"/>
                  <a:gd name="T53" fmla="*/ 5129 h 5220"/>
                  <a:gd name="T54" fmla="*/ 851 w 5231"/>
                  <a:gd name="T55" fmla="*/ 2840 h 5220"/>
                  <a:gd name="T56" fmla="*/ 851 w 5231"/>
                  <a:gd name="T57" fmla="*/ 2840 h 5220"/>
                  <a:gd name="T58" fmla="*/ 0 w 5231"/>
                  <a:gd name="T59" fmla="*/ 1366 h 5220"/>
                  <a:gd name="T60" fmla="*/ 0 w 5231"/>
                  <a:gd name="T61" fmla="*/ 1366 h 5220"/>
                  <a:gd name="T62" fmla="*/ 170 w 5231"/>
                  <a:gd name="T63" fmla="*/ 929 h 5220"/>
                  <a:gd name="T64" fmla="*/ 170 w 5231"/>
                  <a:gd name="T65" fmla="*/ 929 h 5220"/>
                  <a:gd name="T66" fmla="*/ 327 w 5231"/>
                  <a:gd name="T67" fmla="*/ 887 h 5220"/>
                  <a:gd name="T68" fmla="*/ 327 w 5231"/>
                  <a:gd name="T69" fmla="*/ 887 h 5220"/>
                  <a:gd name="T70" fmla="*/ 574 w 5231"/>
                  <a:gd name="T71" fmla="*/ 949 h 5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231" h="5220">
                    <a:moveTo>
                      <a:pt x="574" y="949"/>
                    </a:moveTo>
                    <a:lnTo>
                      <a:pt x="871" y="1087"/>
                    </a:lnTo>
                    <a:lnTo>
                      <a:pt x="856" y="759"/>
                    </a:lnTo>
                    <a:lnTo>
                      <a:pt x="856" y="759"/>
                    </a:lnTo>
                    <a:cubicBezTo>
                      <a:pt x="855" y="736"/>
                      <a:pt x="854" y="714"/>
                      <a:pt x="854" y="691"/>
                    </a:cubicBezTo>
                    <a:lnTo>
                      <a:pt x="854" y="691"/>
                    </a:lnTo>
                    <a:cubicBezTo>
                      <a:pt x="854" y="398"/>
                      <a:pt x="943" y="186"/>
                      <a:pt x="1103" y="93"/>
                    </a:cubicBezTo>
                    <a:lnTo>
                      <a:pt x="1103" y="93"/>
                    </a:lnTo>
                    <a:cubicBezTo>
                      <a:pt x="1264" y="0"/>
                      <a:pt x="1492" y="29"/>
                      <a:pt x="1746" y="176"/>
                    </a:cubicBezTo>
                    <a:lnTo>
                      <a:pt x="1746" y="176"/>
                    </a:lnTo>
                    <a:cubicBezTo>
                      <a:pt x="2291" y="491"/>
                      <a:pt x="2767" y="1257"/>
                      <a:pt x="2829" y="1922"/>
                    </a:cubicBezTo>
                    <a:lnTo>
                      <a:pt x="2845" y="2089"/>
                    </a:lnTo>
                    <a:lnTo>
                      <a:pt x="3013" y="2101"/>
                    </a:lnTo>
                    <a:lnTo>
                      <a:pt x="3013" y="2101"/>
                    </a:lnTo>
                    <a:cubicBezTo>
                      <a:pt x="3116" y="2110"/>
                      <a:pt x="3228" y="2148"/>
                      <a:pt x="3347" y="2218"/>
                    </a:cubicBezTo>
                    <a:lnTo>
                      <a:pt x="3347" y="2218"/>
                    </a:lnTo>
                    <a:cubicBezTo>
                      <a:pt x="3781" y="2468"/>
                      <a:pt x="4171" y="3049"/>
                      <a:pt x="4276" y="3600"/>
                    </a:cubicBezTo>
                    <a:lnTo>
                      <a:pt x="4302" y="3738"/>
                    </a:lnTo>
                    <a:lnTo>
                      <a:pt x="4441" y="3760"/>
                    </a:lnTo>
                    <a:lnTo>
                      <a:pt x="4441" y="3760"/>
                    </a:lnTo>
                    <a:cubicBezTo>
                      <a:pt x="4496" y="3768"/>
                      <a:pt x="4555" y="3790"/>
                      <a:pt x="4616" y="3825"/>
                    </a:cubicBezTo>
                    <a:lnTo>
                      <a:pt x="4616" y="3825"/>
                    </a:lnTo>
                    <a:cubicBezTo>
                      <a:pt x="4949" y="4018"/>
                      <a:pt x="5230" y="4505"/>
                      <a:pt x="5230" y="4889"/>
                    </a:cubicBezTo>
                    <a:lnTo>
                      <a:pt x="5230" y="4889"/>
                    </a:lnTo>
                    <a:cubicBezTo>
                      <a:pt x="5230" y="5033"/>
                      <a:pt x="5191" y="5139"/>
                      <a:pt x="5121" y="5179"/>
                    </a:cubicBezTo>
                    <a:lnTo>
                      <a:pt x="5121" y="5179"/>
                    </a:lnTo>
                    <a:cubicBezTo>
                      <a:pt x="5051" y="5219"/>
                      <a:pt x="4940" y="5200"/>
                      <a:pt x="4815" y="5129"/>
                    </a:cubicBezTo>
                    <a:lnTo>
                      <a:pt x="851" y="2840"/>
                    </a:lnTo>
                    <a:lnTo>
                      <a:pt x="851" y="2840"/>
                    </a:lnTo>
                    <a:cubicBezTo>
                      <a:pt x="390" y="2574"/>
                      <a:pt x="0" y="1899"/>
                      <a:pt x="0" y="1366"/>
                    </a:cubicBezTo>
                    <a:lnTo>
                      <a:pt x="0" y="1366"/>
                    </a:lnTo>
                    <a:cubicBezTo>
                      <a:pt x="0" y="1157"/>
                      <a:pt x="62" y="998"/>
                      <a:pt x="170" y="929"/>
                    </a:cubicBezTo>
                    <a:lnTo>
                      <a:pt x="170" y="929"/>
                    </a:lnTo>
                    <a:cubicBezTo>
                      <a:pt x="213" y="901"/>
                      <a:pt x="267" y="887"/>
                      <a:pt x="327" y="887"/>
                    </a:cubicBezTo>
                    <a:lnTo>
                      <a:pt x="327" y="887"/>
                    </a:lnTo>
                    <a:cubicBezTo>
                      <a:pt x="401" y="887"/>
                      <a:pt x="484" y="908"/>
                      <a:pt x="574" y="949"/>
                    </a:cubicBezTo>
                  </a:path>
                </a:pathLst>
              </a:custGeom>
              <a:solidFill>
                <a:srgbClr val="943639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19" name="Freeform 218">
                <a:extLst>
                  <a:ext uri="{FF2B5EF4-FFF2-40B4-BE49-F238E27FC236}">
                    <a16:creationId xmlns:a16="http://schemas.microsoft.com/office/drawing/2014/main" id="{CE442995-1602-8748-AC15-ABE336CDAF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00346" y="1985294"/>
                <a:ext cx="766265" cy="957723"/>
              </a:xfrm>
              <a:custGeom>
                <a:avLst/>
                <a:gdLst>
                  <a:gd name="connsiteX0" fmla="*/ 368972 w 766265"/>
                  <a:gd name="connsiteY0" fmla="*/ 207 h 957723"/>
                  <a:gd name="connsiteX1" fmla="*/ 412710 w 766265"/>
                  <a:gd name="connsiteY1" fmla="*/ 36556 h 957723"/>
                  <a:gd name="connsiteX2" fmla="*/ 759672 w 766265"/>
                  <a:gd name="connsiteY2" fmla="*/ 671010 h 957723"/>
                  <a:gd name="connsiteX3" fmla="*/ 754619 w 766265"/>
                  <a:gd name="connsiteY3" fmla="*/ 709470 h 957723"/>
                  <a:gd name="connsiteX4" fmla="*/ 753720 w 766265"/>
                  <a:gd name="connsiteY4" fmla="*/ 709232 h 957723"/>
                  <a:gd name="connsiteX5" fmla="*/ 688918 w 766265"/>
                  <a:gd name="connsiteY5" fmla="*/ 741706 h 957723"/>
                  <a:gd name="connsiteX6" fmla="*/ 655029 w 766265"/>
                  <a:gd name="connsiteY6" fmla="*/ 655752 h 957723"/>
                  <a:gd name="connsiteX7" fmla="*/ 575675 w 766265"/>
                  <a:gd name="connsiteY7" fmla="*/ 609233 h 957723"/>
                  <a:gd name="connsiteX8" fmla="*/ 574650 w 766265"/>
                  <a:gd name="connsiteY8" fmla="*/ 902355 h 957723"/>
                  <a:gd name="connsiteX9" fmla="*/ 566050 w 766265"/>
                  <a:gd name="connsiteY9" fmla="*/ 923458 h 957723"/>
                  <a:gd name="connsiteX10" fmla="*/ 563891 w 766265"/>
                  <a:gd name="connsiteY10" fmla="*/ 923306 h 957723"/>
                  <a:gd name="connsiteX11" fmla="*/ 495965 w 766265"/>
                  <a:gd name="connsiteY11" fmla="*/ 957723 h 957723"/>
                  <a:gd name="connsiteX12" fmla="*/ 496455 w 766265"/>
                  <a:gd name="connsiteY12" fmla="*/ 893295 h 957723"/>
                  <a:gd name="connsiteX13" fmla="*/ 220798 w 766265"/>
                  <a:gd name="connsiteY13" fmla="*/ 730917 h 957723"/>
                  <a:gd name="connsiteX14" fmla="*/ 190655 w 766265"/>
                  <a:gd name="connsiteY14" fmla="*/ 676607 h 957723"/>
                  <a:gd name="connsiteX15" fmla="*/ 191680 w 766265"/>
                  <a:gd name="connsiteY15" fmla="*/ 383365 h 957723"/>
                  <a:gd name="connsiteX16" fmla="*/ 26543 w 766265"/>
                  <a:gd name="connsiteY16" fmla="*/ 285899 h 957723"/>
                  <a:gd name="connsiteX17" fmla="*/ 6287 w 766265"/>
                  <a:gd name="connsiteY17" fmla="*/ 227806 h 957723"/>
                  <a:gd name="connsiteX18" fmla="*/ 305473 w 766265"/>
                  <a:gd name="connsiteY18" fmla="*/ 35075 h 957723"/>
                  <a:gd name="connsiteX19" fmla="*/ 288583 w 766265"/>
                  <a:gd name="connsiteY19" fmla="*/ 34759 h 957723"/>
                  <a:gd name="connsiteX20" fmla="*/ 355716 w 766265"/>
                  <a:gd name="connsiteY20" fmla="*/ 2115 h 957723"/>
                  <a:gd name="connsiteX21" fmla="*/ 355739 w 766265"/>
                  <a:gd name="connsiteY21" fmla="*/ 2694 h 957723"/>
                  <a:gd name="connsiteX22" fmla="*/ 355863 w 766265"/>
                  <a:gd name="connsiteY22" fmla="*/ 2614 h 957723"/>
                  <a:gd name="connsiteX23" fmla="*/ 368972 w 766265"/>
                  <a:gd name="connsiteY23" fmla="*/ 207 h 957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766265" h="957723">
                    <a:moveTo>
                      <a:pt x="368972" y="207"/>
                    </a:moveTo>
                    <a:cubicBezTo>
                      <a:pt x="383551" y="2043"/>
                      <a:pt x="401438" y="15995"/>
                      <a:pt x="412710" y="36556"/>
                    </a:cubicBezTo>
                    <a:lnTo>
                      <a:pt x="759672" y="671010"/>
                    </a:lnTo>
                    <a:cubicBezTo>
                      <a:pt x="770944" y="691082"/>
                      <a:pt x="766778" y="707848"/>
                      <a:pt x="754619" y="709470"/>
                    </a:cubicBezTo>
                    <a:lnTo>
                      <a:pt x="753720" y="709232"/>
                    </a:lnTo>
                    <a:lnTo>
                      <a:pt x="688918" y="741706"/>
                    </a:lnTo>
                    <a:lnTo>
                      <a:pt x="655029" y="655752"/>
                    </a:lnTo>
                    <a:lnTo>
                      <a:pt x="575675" y="609233"/>
                    </a:lnTo>
                    <a:lnTo>
                      <a:pt x="574650" y="902355"/>
                    </a:lnTo>
                    <a:cubicBezTo>
                      <a:pt x="574650" y="912498"/>
                      <a:pt x="571374" y="919859"/>
                      <a:pt x="566050" y="923458"/>
                    </a:cubicBezTo>
                    <a:lnTo>
                      <a:pt x="563891" y="923306"/>
                    </a:lnTo>
                    <a:lnTo>
                      <a:pt x="495965" y="957723"/>
                    </a:lnTo>
                    <a:lnTo>
                      <a:pt x="496455" y="893295"/>
                    </a:lnTo>
                    <a:lnTo>
                      <a:pt x="220798" y="730917"/>
                    </a:lnTo>
                    <a:cubicBezTo>
                      <a:pt x="204416" y="721757"/>
                      <a:pt x="190655" y="696892"/>
                      <a:pt x="190655" y="676607"/>
                    </a:cubicBezTo>
                    <a:lnTo>
                      <a:pt x="191680" y="383365"/>
                    </a:lnTo>
                    <a:lnTo>
                      <a:pt x="26543" y="285899"/>
                    </a:lnTo>
                    <a:cubicBezTo>
                      <a:pt x="3673" y="272192"/>
                      <a:pt x="-8088" y="236945"/>
                      <a:pt x="6287" y="227806"/>
                    </a:cubicBezTo>
                    <a:lnTo>
                      <a:pt x="305473" y="35075"/>
                    </a:lnTo>
                    <a:lnTo>
                      <a:pt x="288583" y="34759"/>
                    </a:lnTo>
                    <a:lnTo>
                      <a:pt x="355716" y="2115"/>
                    </a:lnTo>
                    <a:lnTo>
                      <a:pt x="355739" y="2694"/>
                    </a:lnTo>
                    <a:lnTo>
                      <a:pt x="355863" y="2614"/>
                    </a:lnTo>
                    <a:cubicBezTo>
                      <a:pt x="359620" y="330"/>
                      <a:pt x="364112" y="-405"/>
                      <a:pt x="368972" y="20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0" name="Freeform 219">
                <a:extLst>
                  <a:ext uri="{FF2B5EF4-FFF2-40B4-BE49-F238E27FC236}">
                    <a16:creationId xmlns:a16="http://schemas.microsoft.com/office/drawing/2014/main" id="{DD539C2D-E93F-E64F-BF34-AA795EAA88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1437" y="2020187"/>
                <a:ext cx="766046" cy="925374"/>
              </a:xfrm>
              <a:custGeom>
                <a:avLst/>
                <a:gdLst>
                  <a:gd name="connsiteX0" fmla="*/ 368753 w 766046"/>
                  <a:gd name="connsiteY0" fmla="*/ 146 h 925374"/>
                  <a:gd name="connsiteX1" fmla="*/ 412491 w 766046"/>
                  <a:gd name="connsiteY1" fmla="*/ 36188 h 925374"/>
                  <a:gd name="connsiteX2" fmla="*/ 759453 w 766046"/>
                  <a:gd name="connsiteY2" fmla="*/ 670071 h 925374"/>
                  <a:gd name="connsiteX3" fmla="*/ 739851 w 766046"/>
                  <a:gd name="connsiteY3" fmla="*/ 705287 h 925374"/>
                  <a:gd name="connsiteX4" fmla="*/ 575457 w 766046"/>
                  <a:gd name="connsiteY4" fmla="*/ 608526 h 925374"/>
                  <a:gd name="connsiteX5" fmla="*/ 574430 w 766046"/>
                  <a:gd name="connsiteY5" fmla="*/ 902058 h 925374"/>
                  <a:gd name="connsiteX6" fmla="*/ 544942 w 766046"/>
                  <a:gd name="connsiteY6" fmla="*/ 921014 h 925374"/>
                  <a:gd name="connsiteX7" fmla="*/ 220578 w 766046"/>
                  <a:gd name="connsiteY7" fmla="*/ 730797 h 925374"/>
                  <a:gd name="connsiteX8" fmla="*/ 191090 w 766046"/>
                  <a:gd name="connsiteY8" fmla="*/ 675889 h 925374"/>
                  <a:gd name="connsiteX9" fmla="*/ 191604 w 766046"/>
                  <a:gd name="connsiteY9" fmla="*/ 382590 h 925374"/>
                  <a:gd name="connsiteX10" fmla="*/ 26324 w 766046"/>
                  <a:gd name="connsiteY10" fmla="*/ 285307 h 925374"/>
                  <a:gd name="connsiteX11" fmla="*/ 6721 w 766046"/>
                  <a:gd name="connsiteY11" fmla="*/ 227266 h 925374"/>
                  <a:gd name="connsiteX12" fmla="*/ 355644 w 766046"/>
                  <a:gd name="connsiteY12" fmla="*/ 2928 h 925374"/>
                  <a:gd name="connsiteX13" fmla="*/ 368753 w 766046"/>
                  <a:gd name="connsiteY13" fmla="*/ 146 h 925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6046" h="925374">
                    <a:moveTo>
                      <a:pt x="368753" y="146"/>
                    </a:moveTo>
                    <a:cubicBezTo>
                      <a:pt x="383332" y="1705"/>
                      <a:pt x="401219" y="15645"/>
                      <a:pt x="412491" y="36188"/>
                    </a:cubicBezTo>
                    <a:lnTo>
                      <a:pt x="759453" y="670071"/>
                    </a:lnTo>
                    <a:cubicBezTo>
                      <a:pt x="774482" y="696809"/>
                      <a:pt x="762067" y="718330"/>
                      <a:pt x="739851" y="705287"/>
                    </a:cubicBezTo>
                    <a:lnTo>
                      <a:pt x="575457" y="608526"/>
                    </a:lnTo>
                    <a:lnTo>
                      <a:pt x="574430" y="902058"/>
                    </a:lnTo>
                    <a:cubicBezTo>
                      <a:pt x="574430" y="922321"/>
                      <a:pt x="561325" y="931472"/>
                      <a:pt x="544942" y="921014"/>
                    </a:cubicBezTo>
                    <a:lnTo>
                      <a:pt x="220578" y="730797"/>
                    </a:lnTo>
                    <a:cubicBezTo>
                      <a:pt x="203541" y="720992"/>
                      <a:pt x="190435" y="696153"/>
                      <a:pt x="191090" y="675889"/>
                    </a:cubicBezTo>
                    <a:lnTo>
                      <a:pt x="191604" y="382590"/>
                    </a:lnTo>
                    <a:lnTo>
                      <a:pt x="26324" y="285307"/>
                    </a:lnTo>
                    <a:cubicBezTo>
                      <a:pt x="3454" y="272264"/>
                      <a:pt x="-8307" y="237048"/>
                      <a:pt x="6721" y="227266"/>
                    </a:cubicBezTo>
                    <a:lnTo>
                      <a:pt x="355644" y="2928"/>
                    </a:lnTo>
                    <a:cubicBezTo>
                      <a:pt x="359401" y="483"/>
                      <a:pt x="363893" y="-373"/>
                      <a:pt x="368753" y="14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1" name="Freeform 220">
                <a:extLst>
                  <a:ext uri="{FF2B5EF4-FFF2-40B4-BE49-F238E27FC236}">
                    <a16:creationId xmlns:a16="http://schemas.microsoft.com/office/drawing/2014/main" id="{95CCD8BA-EAA9-F148-90F6-315BE3C9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87757" y="3289171"/>
                <a:ext cx="1258042" cy="765428"/>
              </a:xfrm>
              <a:custGeom>
                <a:avLst/>
                <a:gdLst>
                  <a:gd name="connsiteX0" fmla="*/ 1201862 w 1258042"/>
                  <a:gd name="connsiteY0" fmla="*/ 682370 h 765428"/>
                  <a:gd name="connsiteX1" fmla="*/ 1224919 w 1258042"/>
                  <a:gd name="connsiteY1" fmla="*/ 684573 h 765428"/>
                  <a:gd name="connsiteX2" fmla="*/ 1258042 w 1258042"/>
                  <a:gd name="connsiteY2" fmla="*/ 742025 h 765428"/>
                  <a:gd name="connsiteX3" fmla="*/ 1224919 w 1258042"/>
                  <a:gd name="connsiteY3" fmla="*/ 760958 h 765428"/>
                  <a:gd name="connsiteX4" fmla="*/ 1192445 w 1258042"/>
                  <a:gd name="connsiteY4" fmla="*/ 704159 h 765428"/>
                  <a:gd name="connsiteX5" fmla="*/ 1201862 w 1258042"/>
                  <a:gd name="connsiteY5" fmla="*/ 682370 h 765428"/>
                  <a:gd name="connsiteX6" fmla="*/ 9661 w 1258042"/>
                  <a:gd name="connsiteY6" fmla="*/ 2211 h 765428"/>
                  <a:gd name="connsiteX7" fmla="*/ 32474 w 1258042"/>
                  <a:gd name="connsiteY7" fmla="*/ 4169 h 765428"/>
                  <a:gd name="connsiteX8" fmla="*/ 65597 w 1258042"/>
                  <a:gd name="connsiteY8" fmla="*/ 61621 h 765428"/>
                  <a:gd name="connsiteX9" fmla="*/ 32474 w 1258042"/>
                  <a:gd name="connsiteY9" fmla="*/ 80555 h 765428"/>
                  <a:gd name="connsiteX10" fmla="*/ 0 w 1258042"/>
                  <a:gd name="connsiteY10" fmla="*/ 23755 h 765428"/>
                  <a:gd name="connsiteX11" fmla="*/ 9661 w 1258042"/>
                  <a:gd name="connsiteY11" fmla="*/ 2211 h 76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8042" h="765428">
                    <a:moveTo>
                      <a:pt x="1201862" y="682370"/>
                    </a:moveTo>
                    <a:cubicBezTo>
                      <a:pt x="1207708" y="678860"/>
                      <a:pt x="1215826" y="679350"/>
                      <a:pt x="1224919" y="684573"/>
                    </a:cubicBezTo>
                    <a:cubicBezTo>
                      <a:pt x="1243753" y="695019"/>
                      <a:pt x="1258042" y="721134"/>
                      <a:pt x="1258042" y="742025"/>
                    </a:cubicBezTo>
                    <a:cubicBezTo>
                      <a:pt x="1258042" y="762917"/>
                      <a:pt x="1243753" y="771404"/>
                      <a:pt x="1224919" y="760958"/>
                    </a:cubicBezTo>
                    <a:cubicBezTo>
                      <a:pt x="1206733" y="750513"/>
                      <a:pt x="1192445" y="724398"/>
                      <a:pt x="1192445" y="704159"/>
                    </a:cubicBezTo>
                    <a:cubicBezTo>
                      <a:pt x="1192445" y="693387"/>
                      <a:pt x="1196017" y="685879"/>
                      <a:pt x="1201862" y="682370"/>
                    </a:cubicBezTo>
                    <a:close/>
                    <a:moveTo>
                      <a:pt x="9661" y="2211"/>
                    </a:moveTo>
                    <a:cubicBezTo>
                      <a:pt x="15588" y="-1217"/>
                      <a:pt x="23706" y="-727"/>
                      <a:pt x="32474" y="4169"/>
                    </a:cubicBezTo>
                    <a:cubicBezTo>
                      <a:pt x="51308" y="15268"/>
                      <a:pt x="65597" y="40730"/>
                      <a:pt x="65597" y="61621"/>
                    </a:cubicBezTo>
                    <a:cubicBezTo>
                      <a:pt x="65597" y="82513"/>
                      <a:pt x="51308" y="91653"/>
                      <a:pt x="32474" y="80555"/>
                    </a:cubicBezTo>
                    <a:cubicBezTo>
                      <a:pt x="14938" y="70109"/>
                      <a:pt x="0" y="44647"/>
                      <a:pt x="0" y="23755"/>
                    </a:cubicBezTo>
                    <a:cubicBezTo>
                      <a:pt x="0" y="12983"/>
                      <a:pt x="3735" y="5638"/>
                      <a:pt x="9661" y="221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2" name="Freeform 77">
                <a:extLst>
                  <a:ext uri="{FF2B5EF4-FFF2-40B4-BE49-F238E27FC236}">
                    <a16:creationId xmlns:a16="http://schemas.microsoft.com/office/drawing/2014/main" id="{08E1A5AB-2C56-2A4C-B022-05221311F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5261" y="7120109"/>
                <a:ext cx="2724766" cy="1564005"/>
              </a:xfrm>
              <a:custGeom>
                <a:avLst/>
                <a:gdLst>
                  <a:gd name="T0" fmla="*/ 2400 w 4173"/>
                  <a:gd name="T1" fmla="*/ 2344 h 2393"/>
                  <a:gd name="T2" fmla="*/ 85 w 4173"/>
                  <a:gd name="T3" fmla="*/ 1023 h 2393"/>
                  <a:gd name="T4" fmla="*/ 85 w 4173"/>
                  <a:gd name="T5" fmla="*/ 1023 h 2393"/>
                  <a:gd name="T6" fmla="*/ 108 w 4173"/>
                  <a:gd name="T7" fmla="*/ 832 h 2393"/>
                  <a:gd name="T8" fmla="*/ 1440 w 4173"/>
                  <a:gd name="T9" fmla="*/ 62 h 2393"/>
                  <a:gd name="T10" fmla="*/ 1440 w 4173"/>
                  <a:gd name="T11" fmla="*/ 62 h 2393"/>
                  <a:gd name="T12" fmla="*/ 1771 w 4173"/>
                  <a:gd name="T13" fmla="*/ 48 h 2393"/>
                  <a:gd name="T14" fmla="*/ 4087 w 4173"/>
                  <a:gd name="T15" fmla="*/ 1369 h 2393"/>
                  <a:gd name="T16" fmla="*/ 4087 w 4173"/>
                  <a:gd name="T17" fmla="*/ 1369 h 2393"/>
                  <a:gd name="T18" fmla="*/ 4064 w 4173"/>
                  <a:gd name="T19" fmla="*/ 1560 h 2393"/>
                  <a:gd name="T20" fmla="*/ 2731 w 4173"/>
                  <a:gd name="T21" fmla="*/ 2330 h 2393"/>
                  <a:gd name="T22" fmla="*/ 2731 w 4173"/>
                  <a:gd name="T23" fmla="*/ 2330 h 2393"/>
                  <a:gd name="T24" fmla="*/ 2400 w 4173"/>
                  <a:gd name="T25" fmla="*/ 2344 h 2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3" h="2393">
                    <a:moveTo>
                      <a:pt x="2400" y="2344"/>
                    </a:moveTo>
                    <a:lnTo>
                      <a:pt x="85" y="1023"/>
                    </a:lnTo>
                    <a:lnTo>
                      <a:pt x="85" y="1023"/>
                    </a:lnTo>
                    <a:cubicBezTo>
                      <a:pt x="0" y="973"/>
                      <a:pt x="10" y="888"/>
                      <a:pt x="108" y="832"/>
                    </a:cubicBezTo>
                    <a:lnTo>
                      <a:pt x="1440" y="62"/>
                    </a:lnTo>
                    <a:lnTo>
                      <a:pt x="1440" y="62"/>
                    </a:lnTo>
                    <a:cubicBezTo>
                      <a:pt x="1538" y="5"/>
                      <a:pt x="1686" y="0"/>
                      <a:pt x="1771" y="48"/>
                    </a:cubicBezTo>
                    <a:lnTo>
                      <a:pt x="4087" y="1369"/>
                    </a:lnTo>
                    <a:lnTo>
                      <a:pt x="4087" y="1369"/>
                    </a:lnTo>
                    <a:cubicBezTo>
                      <a:pt x="4172" y="1418"/>
                      <a:pt x="4162" y="1504"/>
                      <a:pt x="4064" y="1560"/>
                    </a:cubicBezTo>
                    <a:lnTo>
                      <a:pt x="2731" y="2330"/>
                    </a:lnTo>
                    <a:lnTo>
                      <a:pt x="2731" y="2330"/>
                    </a:lnTo>
                    <a:cubicBezTo>
                      <a:pt x="2633" y="2387"/>
                      <a:pt x="2485" y="2392"/>
                      <a:pt x="2400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3" name="Freeform 78">
                <a:extLst>
                  <a:ext uri="{FF2B5EF4-FFF2-40B4-BE49-F238E27FC236}">
                    <a16:creationId xmlns:a16="http://schemas.microsoft.com/office/drawing/2014/main" id="{F3C83DDC-1D24-A24C-A423-0DB1305A0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40703"/>
                <a:ext cx="2886063" cy="4746738"/>
              </a:xfrm>
              <a:custGeom>
                <a:avLst/>
                <a:gdLst>
                  <a:gd name="T0" fmla="*/ 4416 w 4420"/>
                  <a:gd name="T1" fmla="*/ 6252 h 7268"/>
                  <a:gd name="T2" fmla="*/ 4416 w 4420"/>
                  <a:gd name="T3" fmla="*/ 6252 h 7268"/>
                  <a:gd name="T4" fmla="*/ 4416 w 4420"/>
                  <a:gd name="T5" fmla="*/ 844 h 7268"/>
                  <a:gd name="T6" fmla="*/ 2266 w 4420"/>
                  <a:gd name="T7" fmla="*/ 281 h 7268"/>
                  <a:gd name="T8" fmla="*/ 1869 w 4420"/>
                  <a:gd name="T9" fmla="*/ 53 h 7268"/>
                  <a:gd name="T10" fmla="*/ 1869 w 4420"/>
                  <a:gd name="T11" fmla="*/ 53 h 7268"/>
                  <a:gd name="T12" fmla="*/ 1515 w 4420"/>
                  <a:gd name="T13" fmla="*/ 67 h 7268"/>
                  <a:gd name="T14" fmla="*/ 1146 w 4420"/>
                  <a:gd name="T15" fmla="*/ 281 h 7268"/>
                  <a:gd name="T16" fmla="*/ 0 w 4420"/>
                  <a:gd name="T17" fmla="*/ 280 h 7268"/>
                  <a:gd name="T18" fmla="*/ 339 w 4420"/>
                  <a:gd name="T19" fmla="*/ 5500 h 7268"/>
                  <a:gd name="T20" fmla="*/ 339 w 4420"/>
                  <a:gd name="T21" fmla="*/ 5500 h 7268"/>
                  <a:gd name="T22" fmla="*/ 400 w 4420"/>
                  <a:gd name="T23" fmla="*/ 5595 h 7268"/>
                  <a:gd name="T24" fmla="*/ 2545 w 4420"/>
                  <a:gd name="T25" fmla="*/ 7214 h 7268"/>
                  <a:gd name="T26" fmla="*/ 2545 w 4420"/>
                  <a:gd name="T27" fmla="*/ 7214 h 7268"/>
                  <a:gd name="T28" fmla="*/ 2900 w 4420"/>
                  <a:gd name="T29" fmla="*/ 7200 h 7268"/>
                  <a:gd name="T30" fmla="*/ 4330 w 4420"/>
                  <a:gd name="T31" fmla="*/ 6374 h 7268"/>
                  <a:gd name="T32" fmla="*/ 4330 w 4420"/>
                  <a:gd name="T33" fmla="*/ 6374 h 7268"/>
                  <a:gd name="T34" fmla="*/ 4416 w 4420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0" h="7268">
                    <a:moveTo>
                      <a:pt x="4416" y="6252"/>
                    </a:moveTo>
                    <a:lnTo>
                      <a:pt x="4416" y="6252"/>
                    </a:lnTo>
                    <a:lnTo>
                      <a:pt x="4416" y="844"/>
                    </a:lnTo>
                    <a:lnTo>
                      <a:pt x="2266" y="281"/>
                    </a:lnTo>
                    <a:lnTo>
                      <a:pt x="1869" y="53"/>
                    </a:lnTo>
                    <a:lnTo>
                      <a:pt x="1869" y="53"/>
                    </a:lnTo>
                    <a:cubicBezTo>
                      <a:pt x="1779" y="0"/>
                      <a:pt x="1620" y="7"/>
                      <a:pt x="1515" y="67"/>
                    </a:cubicBezTo>
                    <a:lnTo>
                      <a:pt x="1146" y="281"/>
                    </a:lnTo>
                    <a:lnTo>
                      <a:pt x="0" y="280"/>
                    </a:lnTo>
                    <a:lnTo>
                      <a:pt x="339" y="5500"/>
                    </a:lnTo>
                    <a:lnTo>
                      <a:pt x="339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5" y="7214"/>
                    </a:lnTo>
                    <a:lnTo>
                      <a:pt x="2545" y="7214"/>
                    </a:lnTo>
                    <a:cubicBezTo>
                      <a:pt x="2636" y="7267"/>
                      <a:pt x="2795" y="7260"/>
                      <a:pt x="2900" y="7200"/>
                    </a:cubicBezTo>
                    <a:lnTo>
                      <a:pt x="4330" y="6374"/>
                    </a:lnTo>
                    <a:lnTo>
                      <a:pt x="4330" y="6374"/>
                    </a:lnTo>
                    <a:cubicBezTo>
                      <a:pt x="4390" y="6339"/>
                      <a:pt x="4419" y="6294"/>
                      <a:pt x="4416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4" name="Freeform 79">
                <a:extLst>
                  <a:ext uri="{FF2B5EF4-FFF2-40B4-BE49-F238E27FC236}">
                    <a16:creationId xmlns:a16="http://schemas.microsoft.com/office/drawing/2014/main" id="{983645FF-ED07-6F4D-A55A-22F9DACC4D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64613" y="3652224"/>
                <a:ext cx="1788667" cy="4723696"/>
              </a:xfrm>
              <a:custGeom>
                <a:avLst/>
                <a:gdLst>
                  <a:gd name="T0" fmla="*/ 1708 w 2739"/>
                  <a:gd name="T1" fmla="*/ 0 h 7234"/>
                  <a:gd name="T2" fmla="*/ 1708 w 2739"/>
                  <a:gd name="T3" fmla="*/ 0 h 7234"/>
                  <a:gd name="T4" fmla="*/ 1518 w 2739"/>
                  <a:gd name="T5" fmla="*/ 49 h 7234"/>
                  <a:gd name="T6" fmla="*/ 1149 w 2739"/>
                  <a:gd name="T7" fmla="*/ 263 h 7234"/>
                  <a:gd name="T8" fmla="*/ 3 w 2739"/>
                  <a:gd name="T9" fmla="*/ 262 h 7234"/>
                  <a:gd name="T10" fmla="*/ 3 w 2739"/>
                  <a:gd name="T11" fmla="*/ 5684 h 7234"/>
                  <a:gd name="T12" fmla="*/ 3 w 2739"/>
                  <a:gd name="T13" fmla="*/ 5684 h 7234"/>
                  <a:gd name="T14" fmla="*/ 64 w 2739"/>
                  <a:gd name="T15" fmla="*/ 5779 h 7234"/>
                  <a:gd name="T16" fmla="*/ 2548 w 2739"/>
                  <a:gd name="T17" fmla="*/ 7196 h 7234"/>
                  <a:gd name="T18" fmla="*/ 2548 w 2739"/>
                  <a:gd name="T19" fmla="*/ 7196 h 7234"/>
                  <a:gd name="T20" fmla="*/ 2712 w 2739"/>
                  <a:gd name="T21" fmla="*/ 7232 h 7234"/>
                  <a:gd name="T22" fmla="*/ 2738 w 2739"/>
                  <a:gd name="T23" fmla="*/ 1776 h 7234"/>
                  <a:gd name="T24" fmla="*/ 1708 w 2739"/>
                  <a:gd name="T25" fmla="*/ 0 h 7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39" h="7234">
                    <a:moveTo>
                      <a:pt x="1708" y="0"/>
                    </a:moveTo>
                    <a:lnTo>
                      <a:pt x="1708" y="0"/>
                    </a:lnTo>
                    <a:cubicBezTo>
                      <a:pt x="1642" y="1"/>
                      <a:pt x="1573" y="18"/>
                      <a:pt x="1518" y="49"/>
                    </a:cubicBezTo>
                    <a:lnTo>
                      <a:pt x="1149" y="263"/>
                    </a:lnTo>
                    <a:lnTo>
                      <a:pt x="3" y="262"/>
                    </a:lnTo>
                    <a:lnTo>
                      <a:pt x="3" y="5684"/>
                    </a:lnTo>
                    <a:lnTo>
                      <a:pt x="3" y="5684"/>
                    </a:lnTo>
                    <a:cubicBezTo>
                      <a:pt x="0" y="5720"/>
                      <a:pt x="20" y="5754"/>
                      <a:pt x="64" y="5779"/>
                    </a:cubicBezTo>
                    <a:lnTo>
                      <a:pt x="2548" y="7196"/>
                    </a:lnTo>
                    <a:lnTo>
                      <a:pt x="2548" y="7196"/>
                    </a:lnTo>
                    <a:cubicBezTo>
                      <a:pt x="2592" y="7222"/>
                      <a:pt x="2651" y="7233"/>
                      <a:pt x="2712" y="7232"/>
                    </a:cubicBezTo>
                    <a:lnTo>
                      <a:pt x="2738" y="1776"/>
                    </a:lnTo>
                    <a:lnTo>
                      <a:pt x="1708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5" name="Freeform 80">
                <a:extLst>
                  <a:ext uri="{FF2B5EF4-FFF2-40B4-BE49-F238E27FC236}">
                    <a16:creationId xmlns:a16="http://schemas.microsoft.com/office/drawing/2014/main" id="{80D806B6-A2F0-8B48-8DDC-9927DFC60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43827" y="4769783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6" name="Freeform 81">
                <a:extLst>
                  <a:ext uri="{FF2B5EF4-FFF2-40B4-BE49-F238E27FC236}">
                    <a16:creationId xmlns:a16="http://schemas.microsoft.com/office/drawing/2014/main" id="{E8E9E6B9-1BFE-E34A-A52E-309A0B54C2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47330" y="3171216"/>
                <a:ext cx="2923506" cy="1676336"/>
              </a:xfrm>
              <a:custGeom>
                <a:avLst/>
                <a:gdLst>
                  <a:gd name="T0" fmla="*/ 2575 w 4477"/>
                  <a:gd name="T1" fmla="*/ 2515 h 2568"/>
                  <a:gd name="T2" fmla="*/ 91 w 4477"/>
                  <a:gd name="T3" fmla="*/ 1098 h 2568"/>
                  <a:gd name="T4" fmla="*/ 91 w 4477"/>
                  <a:gd name="T5" fmla="*/ 1098 h 2568"/>
                  <a:gd name="T6" fmla="*/ 116 w 4477"/>
                  <a:gd name="T7" fmla="*/ 893 h 2568"/>
                  <a:gd name="T8" fmla="*/ 1545 w 4477"/>
                  <a:gd name="T9" fmla="*/ 68 h 2568"/>
                  <a:gd name="T10" fmla="*/ 1545 w 4477"/>
                  <a:gd name="T11" fmla="*/ 68 h 2568"/>
                  <a:gd name="T12" fmla="*/ 1899 w 4477"/>
                  <a:gd name="T13" fmla="*/ 53 h 2568"/>
                  <a:gd name="T14" fmla="*/ 4385 w 4477"/>
                  <a:gd name="T15" fmla="*/ 1470 h 2568"/>
                  <a:gd name="T16" fmla="*/ 4385 w 4477"/>
                  <a:gd name="T17" fmla="*/ 1470 h 2568"/>
                  <a:gd name="T18" fmla="*/ 4360 w 4477"/>
                  <a:gd name="T19" fmla="*/ 1675 h 2568"/>
                  <a:gd name="T20" fmla="*/ 2930 w 4477"/>
                  <a:gd name="T21" fmla="*/ 2501 h 2568"/>
                  <a:gd name="T22" fmla="*/ 2930 w 4477"/>
                  <a:gd name="T23" fmla="*/ 2501 h 2568"/>
                  <a:gd name="T24" fmla="*/ 2575 w 4477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7" h="2568">
                    <a:moveTo>
                      <a:pt x="2575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6"/>
                      <a:pt x="11" y="954"/>
                      <a:pt x="116" y="893"/>
                    </a:cubicBezTo>
                    <a:lnTo>
                      <a:pt x="1545" y="68"/>
                    </a:lnTo>
                    <a:lnTo>
                      <a:pt x="1545" y="68"/>
                    </a:lnTo>
                    <a:cubicBezTo>
                      <a:pt x="1650" y="7"/>
                      <a:pt x="1809" y="0"/>
                      <a:pt x="1899" y="53"/>
                    </a:cubicBezTo>
                    <a:lnTo>
                      <a:pt x="4385" y="1470"/>
                    </a:lnTo>
                    <a:lnTo>
                      <a:pt x="4385" y="1470"/>
                    </a:lnTo>
                    <a:cubicBezTo>
                      <a:pt x="4476" y="1523"/>
                      <a:pt x="4464" y="1614"/>
                      <a:pt x="4360" y="1675"/>
                    </a:cubicBezTo>
                    <a:lnTo>
                      <a:pt x="2930" y="2501"/>
                    </a:lnTo>
                    <a:lnTo>
                      <a:pt x="2930" y="2501"/>
                    </a:lnTo>
                    <a:cubicBezTo>
                      <a:pt x="2825" y="2561"/>
                      <a:pt x="2666" y="2567"/>
                      <a:pt x="2575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7" name="Freeform 82">
                <a:extLst>
                  <a:ext uri="{FF2B5EF4-FFF2-40B4-BE49-F238E27FC236}">
                    <a16:creationId xmlns:a16="http://schemas.microsoft.com/office/drawing/2014/main" id="{F1116597-5108-374D-9801-10A8D1B6D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55971" y="3796240"/>
                <a:ext cx="2909105" cy="1051311"/>
              </a:xfrm>
              <a:custGeom>
                <a:avLst/>
                <a:gdLst>
                  <a:gd name="T0" fmla="*/ 4346 w 4453"/>
                  <a:gd name="T1" fmla="*/ 617 h 1611"/>
                  <a:gd name="T2" fmla="*/ 2916 w 4453"/>
                  <a:gd name="T3" fmla="*/ 1443 h 1611"/>
                  <a:gd name="T4" fmla="*/ 2916 w 4453"/>
                  <a:gd name="T5" fmla="*/ 1443 h 1611"/>
                  <a:gd name="T6" fmla="*/ 2561 w 4453"/>
                  <a:gd name="T7" fmla="*/ 1458 h 1611"/>
                  <a:gd name="T8" fmla="*/ 77 w 4453"/>
                  <a:gd name="T9" fmla="*/ 40 h 1611"/>
                  <a:gd name="T10" fmla="*/ 77 w 4453"/>
                  <a:gd name="T11" fmla="*/ 40 h 1611"/>
                  <a:gd name="T12" fmla="*/ 31 w 4453"/>
                  <a:gd name="T13" fmla="*/ 0 h 1611"/>
                  <a:gd name="T14" fmla="*/ 31 w 4453"/>
                  <a:gd name="T15" fmla="*/ 0 h 1611"/>
                  <a:gd name="T16" fmla="*/ 77 w 4453"/>
                  <a:gd name="T17" fmla="*/ 141 h 1611"/>
                  <a:gd name="T18" fmla="*/ 2561 w 4453"/>
                  <a:gd name="T19" fmla="*/ 1558 h 1611"/>
                  <a:gd name="T20" fmla="*/ 2561 w 4453"/>
                  <a:gd name="T21" fmla="*/ 1558 h 1611"/>
                  <a:gd name="T22" fmla="*/ 2916 w 4453"/>
                  <a:gd name="T23" fmla="*/ 1544 h 1611"/>
                  <a:gd name="T24" fmla="*/ 4346 w 4453"/>
                  <a:gd name="T25" fmla="*/ 718 h 1611"/>
                  <a:gd name="T26" fmla="*/ 4346 w 4453"/>
                  <a:gd name="T27" fmla="*/ 718 h 1611"/>
                  <a:gd name="T28" fmla="*/ 4416 w 4453"/>
                  <a:gd name="T29" fmla="*/ 553 h 1611"/>
                  <a:gd name="T30" fmla="*/ 4416 w 4453"/>
                  <a:gd name="T31" fmla="*/ 553 h 1611"/>
                  <a:gd name="T32" fmla="*/ 4346 w 4453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3" h="1611">
                    <a:moveTo>
                      <a:pt x="4346" y="617"/>
                    </a:moveTo>
                    <a:lnTo>
                      <a:pt x="2916" y="1443"/>
                    </a:lnTo>
                    <a:lnTo>
                      <a:pt x="2916" y="1443"/>
                    </a:lnTo>
                    <a:cubicBezTo>
                      <a:pt x="2811" y="1504"/>
                      <a:pt x="2652" y="1510"/>
                      <a:pt x="2561" y="1458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2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4" y="105"/>
                      <a:pt x="77" y="141"/>
                    </a:cubicBezTo>
                    <a:lnTo>
                      <a:pt x="2561" y="1558"/>
                    </a:lnTo>
                    <a:lnTo>
                      <a:pt x="2561" y="1558"/>
                    </a:lnTo>
                    <a:cubicBezTo>
                      <a:pt x="2652" y="1610"/>
                      <a:pt x="2811" y="1604"/>
                      <a:pt x="2916" y="1544"/>
                    </a:cubicBezTo>
                    <a:lnTo>
                      <a:pt x="4346" y="718"/>
                    </a:lnTo>
                    <a:lnTo>
                      <a:pt x="4346" y="718"/>
                    </a:lnTo>
                    <a:cubicBezTo>
                      <a:pt x="4427" y="671"/>
                      <a:pt x="4452" y="605"/>
                      <a:pt x="4416" y="553"/>
                    </a:cubicBezTo>
                    <a:lnTo>
                      <a:pt x="4416" y="553"/>
                    </a:lnTo>
                    <a:cubicBezTo>
                      <a:pt x="4402" y="576"/>
                      <a:pt x="4379" y="598"/>
                      <a:pt x="4346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8" name="Freeform 83">
                <a:extLst>
                  <a:ext uri="{FF2B5EF4-FFF2-40B4-BE49-F238E27FC236}">
                    <a16:creationId xmlns:a16="http://schemas.microsoft.com/office/drawing/2014/main" id="{FB54E8A4-A991-D940-85AB-945F2B068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90738" cy="979303"/>
              </a:xfrm>
              <a:custGeom>
                <a:avLst/>
                <a:gdLst>
                  <a:gd name="T0" fmla="*/ 1697 w 2588"/>
                  <a:gd name="T1" fmla="*/ 1473 h 1499"/>
                  <a:gd name="T2" fmla="*/ 43 w 2588"/>
                  <a:gd name="T3" fmla="*/ 514 h 1499"/>
                  <a:gd name="T4" fmla="*/ 43 w 2588"/>
                  <a:gd name="T5" fmla="*/ 514 h 1499"/>
                  <a:gd name="T6" fmla="*/ 55 w 2588"/>
                  <a:gd name="T7" fmla="*/ 418 h 1499"/>
                  <a:gd name="T8" fmla="*/ 724 w 2588"/>
                  <a:gd name="T9" fmla="*/ 31 h 1499"/>
                  <a:gd name="T10" fmla="*/ 724 w 2588"/>
                  <a:gd name="T11" fmla="*/ 31 h 1499"/>
                  <a:gd name="T12" fmla="*/ 890 w 2588"/>
                  <a:gd name="T13" fmla="*/ 24 h 1499"/>
                  <a:gd name="T14" fmla="*/ 2544 w 2588"/>
                  <a:gd name="T15" fmla="*/ 984 h 1499"/>
                  <a:gd name="T16" fmla="*/ 2544 w 2588"/>
                  <a:gd name="T17" fmla="*/ 984 h 1499"/>
                  <a:gd name="T18" fmla="*/ 2533 w 2588"/>
                  <a:gd name="T19" fmla="*/ 1079 h 1499"/>
                  <a:gd name="T20" fmla="*/ 1863 w 2588"/>
                  <a:gd name="T21" fmla="*/ 1466 h 1499"/>
                  <a:gd name="T22" fmla="*/ 1863 w 2588"/>
                  <a:gd name="T23" fmla="*/ 1466 h 1499"/>
                  <a:gd name="T24" fmla="*/ 1697 w 2588"/>
                  <a:gd name="T25" fmla="*/ 1473 h 1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9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5" y="446"/>
                      <a:pt x="55" y="418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4"/>
                    </a:lnTo>
                    <a:lnTo>
                      <a:pt x="2544" y="984"/>
                    </a:lnTo>
                    <a:cubicBezTo>
                      <a:pt x="2587" y="1008"/>
                      <a:pt x="2581" y="1051"/>
                      <a:pt x="2533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8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29" name="Freeform 228">
                <a:extLst>
                  <a:ext uri="{FF2B5EF4-FFF2-40B4-BE49-F238E27FC236}">
                    <a16:creationId xmlns:a16="http://schemas.microsoft.com/office/drawing/2014/main" id="{2D1C7EC6-1F84-E542-A546-CDA01C8CF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25522" y="3756813"/>
                <a:ext cx="771903" cy="446810"/>
              </a:xfrm>
              <a:custGeom>
                <a:avLst/>
                <a:gdLst>
                  <a:gd name="connsiteX0" fmla="*/ 706597 w 771903"/>
                  <a:gd name="connsiteY0" fmla="*/ 363999 h 446810"/>
                  <a:gd name="connsiteX1" fmla="*/ 769272 w 771903"/>
                  <a:gd name="connsiteY1" fmla="*/ 400937 h 446810"/>
                  <a:gd name="connsiteX2" fmla="*/ 768619 w 771903"/>
                  <a:gd name="connsiteY2" fmla="*/ 409512 h 446810"/>
                  <a:gd name="connsiteX3" fmla="*/ 707902 w 771903"/>
                  <a:gd name="connsiteY3" fmla="*/ 444472 h 446810"/>
                  <a:gd name="connsiteX4" fmla="*/ 692887 w 771903"/>
                  <a:gd name="connsiteY4" fmla="*/ 445131 h 446810"/>
                  <a:gd name="connsiteX5" fmla="*/ 630211 w 771903"/>
                  <a:gd name="connsiteY5" fmla="*/ 408852 h 446810"/>
                  <a:gd name="connsiteX6" fmla="*/ 631517 w 771903"/>
                  <a:gd name="connsiteY6" fmla="*/ 400278 h 446810"/>
                  <a:gd name="connsiteX7" fmla="*/ 691581 w 771903"/>
                  <a:gd name="connsiteY7" fmla="*/ 364659 h 446810"/>
                  <a:gd name="connsiteX8" fmla="*/ 706597 w 771903"/>
                  <a:gd name="connsiteY8" fmla="*/ 363999 h 446810"/>
                  <a:gd name="connsiteX9" fmla="*/ 496633 w 771903"/>
                  <a:gd name="connsiteY9" fmla="*/ 242973 h 446810"/>
                  <a:gd name="connsiteX10" fmla="*/ 559031 w 771903"/>
                  <a:gd name="connsiteY10" fmla="*/ 278313 h 446810"/>
                  <a:gd name="connsiteX11" fmla="*/ 557731 w 771903"/>
                  <a:gd name="connsiteY11" fmla="*/ 287309 h 446810"/>
                  <a:gd name="connsiteX12" fmla="*/ 497933 w 771903"/>
                  <a:gd name="connsiteY12" fmla="*/ 321363 h 446810"/>
                  <a:gd name="connsiteX13" fmla="*/ 482983 w 771903"/>
                  <a:gd name="connsiteY13" fmla="*/ 322006 h 446810"/>
                  <a:gd name="connsiteX14" fmla="*/ 420585 w 771903"/>
                  <a:gd name="connsiteY14" fmla="*/ 286666 h 446810"/>
                  <a:gd name="connsiteX15" fmla="*/ 421235 w 771903"/>
                  <a:gd name="connsiteY15" fmla="*/ 278313 h 446810"/>
                  <a:gd name="connsiteX16" fmla="*/ 481683 w 771903"/>
                  <a:gd name="connsiteY16" fmla="*/ 243616 h 446810"/>
                  <a:gd name="connsiteX17" fmla="*/ 496633 w 771903"/>
                  <a:gd name="connsiteY17" fmla="*/ 242973 h 446810"/>
                  <a:gd name="connsiteX18" fmla="*/ 289251 w 771903"/>
                  <a:gd name="connsiteY18" fmla="*/ 122001 h 446810"/>
                  <a:gd name="connsiteX19" fmla="*/ 351649 w 771903"/>
                  <a:gd name="connsiteY19" fmla="*/ 157341 h 446810"/>
                  <a:gd name="connsiteX20" fmla="*/ 350349 w 771903"/>
                  <a:gd name="connsiteY20" fmla="*/ 165694 h 446810"/>
                  <a:gd name="connsiteX21" fmla="*/ 289901 w 771903"/>
                  <a:gd name="connsiteY21" fmla="*/ 200391 h 446810"/>
                  <a:gd name="connsiteX22" fmla="*/ 274951 w 771903"/>
                  <a:gd name="connsiteY22" fmla="*/ 201034 h 446810"/>
                  <a:gd name="connsiteX23" fmla="*/ 213203 w 771903"/>
                  <a:gd name="connsiteY23" fmla="*/ 165694 h 446810"/>
                  <a:gd name="connsiteX24" fmla="*/ 213853 w 771903"/>
                  <a:gd name="connsiteY24" fmla="*/ 156699 h 446810"/>
                  <a:gd name="connsiteX25" fmla="*/ 273651 w 771903"/>
                  <a:gd name="connsiteY25" fmla="*/ 122644 h 446810"/>
                  <a:gd name="connsiteX26" fmla="*/ 289251 w 771903"/>
                  <a:gd name="connsiteY26" fmla="*/ 122001 h 446810"/>
                  <a:gd name="connsiteX27" fmla="*/ 63675 w 771903"/>
                  <a:gd name="connsiteY27" fmla="*/ 1740 h 446810"/>
                  <a:gd name="connsiteX28" fmla="*/ 78691 w 771903"/>
                  <a:gd name="connsiteY28" fmla="*/ 1740 h 446810"/>
                  <a:gd name="connsiteX29" fmla="*/ 141366 w 771903"/>
                  <a:gd name="connsiteY29" fmla="*/ 38019 h 446810"/>
                  <a:gd name="connsiteX30" fmla="*/ 140713 w 771903"/>
                  <a:gd name="connsiteY30" fmla="*/ 47253 h 446810"/>
                  <a:gd name="connsiteX31" fmla="*/ 79996 w 771903"/>
                  <a:gd name="connsiteY31" fmla="*/ 82213 h 446810"/>
                  <a:gd name="connsiteX32" fmla="*/ 64981 w 771903"/>
                  <a:gd name="connsiteY32" fmla="*/ 82872 h 446810"/>
                  <a:gd name="connsiteX33" fmla="*/ 2305 w 771903"/>
                  <a:gd name="connsiteY33" fmla="*/ 45934 h 446810"/>
                  <a:gd name="connsiteX34" fmla="*/ 3611 w 771903"/>
                  <a:gd name="connsiteY34" fmla="*/ 37359 h 4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71903" h="446810">
                    <a:moveTo>
                      <a:pt x="706597" y="363999"/>
                    </a:moveTo>
                    <a:lnTo>
                      <a:pt x="769272" y="400937"/>
                    </a:lnTo>
                    <a:cubicBezTo>
                      <a:pt x="773189" y="402916"/>
                      <a:pt x="772536" y="406874"/>
                      <a:pt x="768619" y="409512"/>
                    </a:cubicBezTo>
                    <a:lnTo>
                      <a:pt x="707902" y="444472"/>
                    </a:lnTo>
                    <a:cubicBezTo>
                      <a:pt x="703332" y="447110"/>
                      <a:pt x="696804" y="447770"/>
                      <a:pt x="692887" y="445131"/>
                    </a:cubicBezTo>
                    <a:lnTo>
                      <a:pt x="630211" y="408852"/>
                    </a:lnTo>
                    <a:cubicBezTo>
                      <a:pt x="626947" y="406874"/>
                      <a:pt x="626947" y="402916"/>
                      <a:pt x="631517" y="400278"/>
                    </a:cubicBezTo>
                    <a:lnTo>
                      <a:pt x="691581" y="364659"/>
                    </a:lnTo>
                    <a:cubicBezTo>
                      <a:pt x="696151" y="362020"/>
                      <a:pt x="702680" y="362020"/>
                      <a:pt x="706597" y="363999"/>
                    </a:cubicBezTo>
                    <a:close/>
                    <a:moveTo>
                      <a:pt x="496633" y="242973"/>
                    </a:moveTo>
                    <a:lnTo>
                      <a:pt x="559031" y="278313"/>
                    </a:lnTo>
                    <a:cubicBezTo>
                      <a:pt x="562931" y="280883"/>
                      <a:pt x="562281" y="284738"/>
                      <a:pt x="557731" y="287309"/>
                    </a:cubicBezTo>
                    <a:lnTo>
                      <a:pt x="497933" y="321363"/>
                    </a:lnTo>
                    <a:cubicBezTo>
                      <a:pt x="493383" y="323933"/>
                      <a:pt x="486883" y="323933"/>
                      <a:pt x="482983" y="322006"/>
                    </a:cubicBezTo>
                    <a:lnTo>
                      <a:pt x="420585" y="286666"/>
                    </a:lnTo>
                    <a:cubicBezTo>
                      <a:pt x="416685" y="284096"/>
                      <a:pt x="417335" y="280241"/>
                      <a:pt x="421235" y="278313"/>
                    </a:cubicBezTo>
                    <a:lnTo>
                      <a:pt x="481683" y="243616"/>
                    </a:lnTo>
                    <a:cubicBezTo>
                      <a:pt x="486233" y="241046"/>
                      <a:pt x="492733" y="241046"/>
                      <a:pt x="496633" y="242973"/>
                    </a:cubicBezTo>
                    <a:close/>
                    <a:moveTo>
                      <a:pt x="289251" y="122001"/>
                    </a:moveTo>
                    <a:lnTo>
                      <a:pt x="351649" y="157341"/>
                    </a:lnTo>
                    <a:cubicBezTo>
                      <a:pt x="355549" y="159269"/>
                      <a:pt x="354899" y="163124"/>
                      <a:pt x="350349" y="165694"/>
                    </a:cubicBezTo>
                    <a:lnTo>
                      <a:pt x="289901" y="200391"/>
                    </a:lnTo>
                    <a:cubicBezTo>
                      <a:pt x="286001" y="202961"/>
                      <a:pt x="278851" y="202961"/>
                      <a:pt x="274951" y="201034"/>
                    </a:cubicBezTo>
                    <a:lnTo>
                      <a:pt x="213203" y="165694"/>
                    </a:lnTo>
                    <a:cubicBezTo>
                      <a:pt x="209303" y="163124"/>
                      <a:pt x="209303" y="159269"/>
                      <a:pt x="213853" y="156699"/>
                    </a:cubicBezTo>
                    <a:lnTo>
                      <a:pt x="273651" y="122644"/>
                    </a:lnTo>
                    <a:cubicBezTo>
                      <a:pt x="278851" y="120074"/>
                      <a:pt x="285351" y="120074"/>
                      <a:pt x="289251" y="122001"/>
                    </a:cubicBezTo>
                    <a:close/>
                    <a:moveTo>
                      <a:pt x="63675" y="1740"/>
                    </a:moveTo>
                    <a:cubicBezTo>
                      <a:pt x="68245" y="-239"/>
                      <a:pt x="74774" y="-898"/>
                      <a:pt x="78691" y="1740"/>
                    </a:cubicBezTo>
                    <a:lnTo>
                      <a:pt x="141366" y="38019"/>
                    </a:lnTo>
                    <a:cubicBezTo>
                      <a:pt x="145283" y="40657"/>
                      <a:pt x="144630" y="43955"/>
                      <a:pt x="140713" y="47253"/>
                    </a:cubicBezTo>
                    <a:lnTo>
                      <a:pt x="79996" y="82213"/>
                    </a:lnTo>
                    <a:cubicBezTo>
                      <a:pt x="75426" y="84192"/>
                      <a:pt x="68898" y="84851"/>
                      <a:pt x="64981" y="82872"/>
                    </a:cubicBezTo>
                    <a:lnTo>
                      <a:pt x="2305" y="45934"/>
                    </a:lnTo>
                    <a:cubicBezTo>
                      <a:pt x="-959" y="43955"/>
                      <a:pt x="-959" y="39998"/>
                      <a:pt x="3611" y="37359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0" name="Freeform 88">
                <a:extLst>
                  <a:ext uri="{FF2B5EF4-FFF2-40B4-BE49-F238E27FC236}">
                    <a16:creationId xmlns:a16="http://schemas.microsoft.com/office/drawing/2014/main" id="{9BF48186-BC63-F243-A7FD-C4BBC7778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6595" y="3476527"/>
                <a:ext cx="1687857" cy="702794"/>
              </a:xfrm>
              <a:custGeom>
                <a:avLst/>
                <a:gdLst>
                  <a:gd name="T0" fmla="*/ 43 w 2585"/>
                  <a:gd name="T1" fmla="*/ 514 h 1074"/>
                  <a:gd name="T2" fmla="*/ 45 w 2585"/>
                  <a:gd name="T3" fmla="*/ 515 h 1074"/>
                  <a:gd name="T4" fmla="*/ 45 w 2585"/>
                  <a:gd name="T5" fmla="*/ 515 h 1074"/>
                  <a:gd name="T6" fmla="*/ 55 w 2585"/>
                  <a:gd name="T7" fmla="*/ 508 h 1074"/>
                  <a:gd name="T8" fmla="*/ 724 w 2585"/>
                  <a:gd name="T9" fmla="*/ 121 h 1074"/>
                  <a:gd name="T10" fmla="*/ 724 w 2585"/>
                  <a:gd name="T11" fmla="*/ 121 h 1074"/>
                  <a:gd name="T12" fmla="*/ 890 w 2585"/>
                  <a:gd name="T13" fmla="*/ 115 h 1074"/>
                  <a:gd name="T14" fmla="*/ 2543 w 2585"/>
                  <a:gd name="T15" fmla="*/ 1073 h 1074"/>
                  <a:gd name="T16" fmla="*/ 2543 w 2585"/>
                  <a:gd name="T17" fmla="*/ 1073 h 1074"/>
                  <a:gd name="T18" fmla="*/ 2544 w 2585"/>
                  <a:gd name="T19" fmla="*/ 984 h 1074"/>
                  <a:gd name="T20" fmla="*/ 890 w 2585"/>
                  <a:gd name="T21" fmla="*/ 24 h 1074"/>
                  <a:gd name="T22" fmla="*/ 890 w 2585"/>
                  <a:gd name="T23" fmla="*/ 24 h 1074"/>
                  <a:gd name="T24" fmla="*/ 724 w 2585"/>
                  <a:gd name="T25" fmla="*/ 31 h 1074"/>
                  <a:gd name="T26" fmla="*/ 55 w 2585"/>
                  <a:gd name="T27" fmla="*/ 418 h 1074"/>
                  <a:gd name="T28" fmla="*/ 55 w 2585"/>
                  <a:gd name="T29" fmla="*/ 418 h 1074"/>
                  <a:gd name="T30" fmla="*/ 43 w 2585"/>
                  <a:gd name="T31" fmla="*/ 51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4">
                    <a:moveTo>
                      <a:pt x="43" y="514"/>
                    </a:moveTo>
                    <a:lnTo>
                      <a:pt x="45" y="515"/>
                    </a:lnTo>
                    <a:lnTo>
                      <a:pt x="45" y="515"/>
                    </a:lnTo>
                    <a:cubicBezTo>
                      <a:pt x="48" y="512"/>
                      <a:pt x="51" y="510"/>
                      <a:pt x="55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5"/>
                    </a:cubicBezTo>
                    <a:lnTo>
                      <a:pt x="2543" y="1073"/>
                    </a:lnTo>
                    <a:lnTo>
                      <a:pt x="2543" y="1073"/>
                    </a:lnTo>
                    <a:cubicBezTo>
                      <a:pt x="2581" y="1045"/>
                      <a:pt x="2584" y="1006"/>
                      <a:pt x="2544" y="984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5" y="418"/>
                    </a:lnTo>
                    <a:lnTo>
                      <a:pt x="55" y="418"/>
                    </a:lnTo>
                    <a:cubicBezTo>
                      <a:pt x="5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1" name="Freeform 89">
                <a:extLst>
                  <a:ext uri="{FF2B5EF4-FFF2-40B4-BE49-F238E27FC236}">
                    <a16:creationId xmlns:a16="http://schemas.microsoft.com/office/drawing/2014/main" id="{629B4D1E-C63D-7443-83FF-15179EC39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4752501"/>
                <a:ext cx="740237" cy="780563"/>
              </a:xfrm>
              <a:custGeom>
                <a:avLst/>
                <a:gdLst>
                  <a:gd name="T0" fmla="*/ 96 w 1133"/>
                  <a:gd name="T1" fmla="*/ 1162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40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3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2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2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40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3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2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2" name="Freeform 90">
                <a:extLst>
                  <a:ext uri="{FF2B5EF4-FFF2-40B4-BE49-F238E27FC236}">
                    <a16:creationId xmlns:a16="http://schemas.microsoft.com/office/drawing/2014/main" id="{8398FFFD-66BD-2A4B-913D-894AFAF33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4766902"/>
                <a:ext cx="722957" cy="757519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70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90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1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9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1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3" name="Freeform 93">
                <a:extLst>
                  <a:ext uri="{FF2B5EF4-FFF2-40B4-BE49-F238E27FC236}">
                    <a16:creationId xmlns:a16="http://schemas.microsoft.com/office/drawing/2014/main" id="{30D1614F-729D-4C46-9449-6722EB581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6342428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2 h 1193"/>
                  <a:gd name="T4" fmla="*/ 1037 w 1133"/>
                  <a:gd name="T5" fmla="*/ 622 h 1193"/>
                  <a:gd name="T6" fmla="*/ 1132 w 1133"/>
                  <a:gd name="T7" fmla="*/ 439 h 1193"/>
                  <a:gd name="T8" fmla="*/ 1132 w 1133"/>
                  <a:gd name="T9" fmla="*/ 104 h 1193"/>
                  <a:gd name="T10" fmla="*/ 1132 w 1133"/>
                  <a:gd name="T11" fmla="*/ 104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8 h 1193"/>
                  <a:gd name="T22" fmla="*/ 0 w 1133"/>
                  <a:gd name="T23" fmla="*/ 1088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2"/>
                    </a:lnTo>
                    <a:lnTo>
                      <a:pt x="1037" y="622"/>
                    </a:lnTo>
                    <a:cubicBezTo>
                      <a:pt x="1089" y="591"/>
                      <a:pt x="1132" y="510"/>
                      <a:pt x="1132" y="439"/>
                    </a:cubicBezTo>
                    <a:lnTo>
                      <a:pt x="1132" y="104"/>
                    </a:lnTo>
                    <a:lnTo>
                      <a:pt x="1132" y="104"/>
                    </a:lnTo>
                    <a:cubicBezTo>
                      <a:pt x="1132" y="33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1"/>
                      <a:pt x="0" y="752"/>
                    </a:cubicBezTo>
                    <a:lnTo>
                      <a:pt x="0" y="1088"/>
                    </a:lnTo>
                    <a:lnTo>
                      <a:pt x="0" y="1088"/>
                    </a:lnTo>
                    <a:cubicBezTo>
                      <a:pt x="0" y="1159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4" name="Freeform 94">
                <a:extLst>
                  <a:ext uri="{FF2B5EF4-FFF2-40B4-BE49-F238E27FC236}">
                    <a16:creationId xmlns:a16="http://schemas.microsoft.com/office/drawing/2014/main" id="{1E0338FC-CE92-F340-8955-D5D1612E8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6353949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5 h 1157"/>
                  <a:gd name="T8" fmla="*/ 1083 w 1109"/>
                  <a:gd name="T9" fmla="*/ 405 h 1157"/>
                  <a:gd name="T10" fmla="*/ 987 w 1109"/>
                  <a:gd name="T11" fmla="*/ 588 h 1157"/>
                  <a:gd name="T12" fmla="*/ 46 w 1109"/>
                  <a:gd name="T13" fmla="*/ 1127 h 1157"/>
                  <a:gd name="T14" fmla="*/ 46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40 h 1157"/>
                  <a:gd name="T22" fmla="*/ 1013 w 1109"/>
                  <a:gd name="T23" fmla="*/ 601 h 1157"/>
                  <a:gd name="T24" fmla="*/ 1013 w 1109"/>
                  <a:gd name="T25" fmla="*/ 601 h 1157"/>
                  <a:gd name="T26" fmla="*/ 1108 w 1109"/>
                  <a:gd name="T27" fmla="*/ 418 h 1157"/>
                  <a:gd name="T28" fmla="*/ 1108 w 1109"/>
                  <a:gd name="T29" fmla="*/ 83 h 1157"/>
                  <a:gd name="T30" fmla="*/ 1108 w 1109"/>
                  <a:gd name="T31" fmla="*/ 83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5"/>
                    </a:lnTo>
                    <a:lnTo>
                      <a:pt x="1083" y="405"/>
                    </a:lnTo>
                    <a:cubicBezTo>
                      <a:pt x="1083" y="476"/>
                      <a:pt x="1040" y="558"/>
                      <a:pt x="987" y="588"/>
                    </a:cubicBezTo>
                    <a:lnTo>
                      <a:pt x="46" y="1127"/>
                    </a:lnTo>
                    <a:lnTo>
                      <a:pt x="46" y="1127"/>
                    </a:lnTo>
                    <a:cubicBezTo>
                      <a:pt x="29" y="1137"/>
                      <a:pt x="14" y="1140"/>
                      <a:pt x="0" y="1137"/>
                    </a:cubicBezTo>
                    <a:lnTo>
                      <a:pt x="0" y="1137"/>
                    </a:lnTo>
                    <a:cubicBezTo>
                      <a:pt x="18" y="1154"/>
                      <a:pt x="43" y="1156"/>
                      <a:pt x="72" y="1140"/>
                    </a:cubicBezTo>
                    <a:lnTo>
                      <a:pt x="1013" y="601"/>
                    </a:lnTo>
                    <a:lnTo>
                      <a:pt x="1013" y="601"/>
                    </a:lnTo>
                    <a:cubicBezTo>
                      <a:pt x="1065" y="570"/>
                      <a:pt x="1108" y="489"/>
                      <a:pt x="1108" y="418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5" name="Freeform 95">
                <a:extLst>
                  <a:ext uri="{FF2B5EF4-FFF2-40B4-BE49-F238E27FC236}">
                    <a16:creationId xmlns:a16="http://schemas.microsoft.com/office/drawing/2014/main" id="{867D8AC1-A44F-1C40-B34B-E67D2AA2A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6728387"/>
                <a:ext cx="83530" cy="138255"/>
              </a:xfrm>
              <a:custGeom>
                <a:avLst/>
                <a:gdLst>
                  <a:gd name="T0" fmla="*/ 21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1 w 129"/>
                  <a:gd name="T15" fmla="*/ 57 h 212"/>
                  <a:gd name="T16" fmla="*/ 21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1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9" y="0"/>
                      <a:pt x="107" y="7"/>
                    </a:cubicBezTo>
                    <a:lnTo>
                      <a:pt x="21" y="57"/>
                    </a:lnTo>
                    <a:lnTo>
                      <a:pt x="21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6" name="Freeform 96">
                <a:extLst>
                  <a:ext uri="{FF2B5EF4-FFF2-40B4-BE49-F238E27FC236}">
                    <a16:creationId xmlns:a16="http://schemas.microsoft.com/office/drawing/2014/main" id="{0A74994D-119C-8C48-B854-B38995D7F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6618936"/>
                <a:ext cx="83528" cy="138255"/>
              </a:xfrm>
              <a:custGeom>
                <a:avLst/>
                <a:gdLst>
                  <a:gd name="T0" fmla="*/ 20 w 129"/>
                  <a:gd name="T1" fmla="*/ 205 h 212"/>
                  <a:gd name="T2" fmla="*/ 107 w 129"/>
                  <a:gd name="T3" fmla="*/ 155 h 212"/>
                  <a:gd name="T4" fmla="*/ 107 w 129"/>
                  <a:gd name="T5" fmla="*/ 155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7 h 212"/>
                  <a:gd name="T20" fmla="*/ 0 w 129"/>
                  <a:gd name="T21" fmla="*/ 189 h 212"/>
                  <a:gd name="T22" fmla="*/ 0 w 129"/>
                  <a:gd name="T23" fmla="*/ 189 h 212"/>
                  <a:gd name="T24" fmla="*/ 20 w 129"/>
                  <a:gd name="T25" fmla="*/ 20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5"/>
                    </a:moveTo>
                    <a:lnTo>
                      <a:pt x="107" y="155"/>
                    </a:lnTo>
                    <a:lnTo>
                      <a:pt x="107" y="155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8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7"/>
                    </a:cubicBezTo>
                    <a:lnTo>
                      <a:pt x="0" y="189"/>
                    </a:lnTo>
                    <a:lnTo>
                      <a:pt x="0" y="189"/>
                    </a:lnTo>
                    <a:cubicBezTo>
                      <a:pt x="0" y="204"/>
                      <a:pt x="9" y="211"/>
                      <a:pt x="20" y="2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7" name="Freeform 97">
                <a:extLst>
                  <a:ext uri="{FF2B5EF4-FFF2-40B4-BE49-F238E27FC236}">
                    <a16:creationId xmlns:a16="http://schemas.microsoft.com/office/drawing/2014/main" id="{8950213B-377C-1D46-A142-7DF125708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7134511"/>
                <a:ext cx="740237" cy="780561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8" name="Freeform 98">
                <a:extLst>
                  <a:ext uri="{FF2B5EF4-FFF2-40B4-BE49-F238E27FC236}">
                    <a16:creationId xmlns:a16="http://schemas.microsoft.com/office/drawing/2014/main" id="{C81BD690-28F6-2248-A8FD-3D6CD77B8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7148913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7 w 1109"/>
                  <a:gd name="T11" fmla="*/ 589 h 1158"/>
                  <a:gd name="T12" fmla="*/ 46 w 1109"/>
                  <a:gd name="T13" fmla="*/ 1128 h 1158"/>
                  <a:gd name="T14" fmla="*/ 46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6"/>
                      <a:pt x="1040" y="559"/>
                      <a:pt x="987" y="589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8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5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8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39" name="Freeform 99">
                <a:extLst>
                  <a:ext uri="{FF2B5EF4-FFF2-40B4-BE49-F238E27FC236}">
                    <a16:creationId xmlns:a16="http://schemas.microsoft.com/office/drawing/2014/main" id="{98448C29-5F5E-DF48-8939-424946C13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7523351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0" name="Freeform 100">
                <a:extLst>
                  <a:ext uri="{FF2B5EF4-FFF2-40B4-BE49-F238E27FC236}">
                    <a16:creationId xmlns:a16="http://schemas.microsoft.com/office/drawing/2014/main" id="{1E6F6336-1C13-A946-B776-52678B2DDD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7413899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5 h 212"/>
                  <a:gd name="T8" fmla="*/ 128 w 129"/>
                  <a:gd name="T9" fmla="*/ 23 h 212"/>
                  <a:gd name="T10" fmla="*/ 128 w 129"/>
                  <a:gd name="T11" fmla="*/ 23 h 212"/>
                  <a:gd name="T12" fmla="*/ 107 w 129"/>
                  <a:gd name="T13" fmla="*/ 7 h 212"/>
                  <a:gd name="T14" fmla="*/ 20 w 129"/>
                  <a:gd name="T15" fmla="*/ 57 h 212"/>
                  <a:gd name="T16" fmla="*/ 20 w 129"/>
                  <a:gd name="T17" fmla="*/ 57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5"/>
                    </a:cubicBezTo>
                    <a:lnTo>
                      <a:pt x="128" y="23"/>
                    </a:lnTo>
                    <a:lnTo>
                      <a:pt x="128" y="23"/>
                    </a:lnTo>
                    <a:cubicBezTo>
                      <a:pt x="128" y="7"/>
                      <a:pt x="118" y="0"/>
                      <a:pt x="107" y="7"/>
                    </a:cubicBezTo>
                    <a:lnTo>
                      <a:pt x="20" y="57"/>
                    </a:lnTo>
                    <a:lnTo>
                      <a:pt x="20" y="57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4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1" name="Freeform 101">
                <a:extLst>
                  <a:ext uri="{FF2B5EF4-FFF2-40B4-BE49-F238E27FC236}">
                    <a16:creationId xmlns:a16="http://schemas.microsoft.com/office/drawing/2014/main" id="{D72E3578-7310-BF48-8F1A-8D227663B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80824" y="5547464"/>
                <a:ext cx="740237" cy="780563"/>
              </a:xfrm>
              <a:custGeom>
                <a:avLst/>
                <a:gdLst>
                  <a:gd name="T0" fmla="*/ 96 w 1133"/>
                  <a:gd name="T1" fmla="*/ 1161 h 1193"/>
                  <a:gd name="T2" fmla="*/ 1037 w 1133"/>
                  <a:gd name="T3" fmla="*/ 623 h 1193"/>
                  <a:gd name="T4" fmla="*/ 1037 w 1133"/>
                  <a:gd name="T5" fmla="*/ 623 h 1193"/>
                  <a:gd name="T6" fmla="*/ 1132 w 1133"/>
                  <a:gd name="T7" fmla="*/ 439 h 1193"/>
                  <a:gd name="T8" fmla="*/ 1132 w 1133"/>
                  <a:gd name="T9" fmla="*/ 103 h 1193"/>
                  <a:gd name="T10" fmla="*/ 1132 w 1133"/>
                  <a:gd name="T11" fmla="*/ 103 h 1193"/>
                  <a:gd name="T12" fmla="*/ 1037 w 1133"/>
                  <a:gd name="T13" fmla="*/ 31 h 1193"/>
                  <a:gd name="T14" fmla="*/ 96 w 1133"/>
                  <a:gd name="T15" fmla="*/ 569 h 1193"/>
                  <a:gd name="T16" fmla="*/ 96 w 1133"/>
                  <a:gd name="T17" fmla="*/ 569 h 1193"/>
                  <a:gd name="T18" fmla="*/ 0 w 1133"/>
                  <a:gd name="T19" fmla="*/ 752 h 1193"/>
                  <a:gd name="T20" fmla="*/ 0 w 1133"/>
                  <a:gd name="T21" fmla="*/ 1089 h 1193"/>
                  <a:gd name="T22" fmla="*/ 0 w 1133"/>
                  <a:gd name="T23" fmla="*/ 1089 h 1193"/>
                  <a:gd name="T24" fmla="*/ 96 w 1133"/>
                  <a:gd name="T25" fmla="*/ 1161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3" h="1193">
                    <a:moveTo>
                      <a:pt x="96" y="1161"/>
                    </a:moveTo>
                    <a:lnTo>
                      <a:pt x="1037" y="623"/>
                    </a:lnTo>
                    <a:lnTo>
                      <a:pt x="1037" y="623"/>
                    </a:lnTo>
                    <a:cubicBezTo>
                      <a:pt x="1089" y="592"/>
                      <a:pt x="1132" y="510"/>
                      <a:pt x="1132" y="439"/>
                    </a:cubicBezTo>
                    <a:lnTo>
                      <a:pt x="1132" y="103"/>
                    </a:lnTo>
                    <a:lnTo>
                      <a:pt x="1132" y="103"/>
                    </a:lnTo>
                    <a:cubicBezTo>
                      <a:pt x="1132" y="32"/>
                      <a:pt x="1089" y="0"/>
                      <a:pt x="1037" y="31"/>
                    </a:cubicBezTo>
                    <a:lnTo>
                      <a:pt x="96" y="569"/>
                    </a:lnTo>
                    <a:lnTo>
                      <a:pt x="96" y="569"/>
                    </a:lnTo>
                    <a:cubicBezTo>
                      <a:pt x="43" y="600"/>
                      <a:pt x="0" y="682"/>
                      <a:pt x="0" y="752"/>
                    </a:cubicBezTo>
                    <a:lnTo>
                      <a:pt x="0" y="1089"/>
                    </a:lnTo>
                    <a:lnTo>
                      <a:pt x="0" y="1089"/>
                    </a:lnTo>
                    <a:cubicBezTo>
                      <a:pt x="0" y="1160"/>
                      <a:pt x="43" y="1192"/>
                      <a:pt x="96" y="1161"/>
                    </a:cubicBezTo>
                  </a:path>
                </a:pathLst>
              </a:custGeom>
              <a:solidFill>
                <a:srgbClr val="173D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2" name="Freeform 102">
                <a:extLst>
                  <a:ext uri="{FF2B5EF4-FFF2-40B4-BE49-F238E27FC236}">
                    <a16:creationId xmlns:a16="http://schemas.microsoft.com/office/drawing/2014/main" id="{D9AACE3A-6F8D-D546-B953-33D628C14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95225" y="5561866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7 w 1109"/>
                  <a:gd name="T11" fmla="*/ 590 h 1159"/>
                  <a:gd name="T12" fmla="*/ 46 w 1109"/>
                  <a:gd name="T13" fmla="*/ 1128 h 1159"/>
                  <a:gd name="T14" fmla="*/ 46 w 1109"/>
                  <a:gd name="T15" fmla="*/ 1128 h 1159"/>
                  <a:gd name="T16" fmla="*/ 0 w 1109"/>
                  <a:gd name="T17" fmla="*/ 1139 h 1159"/>
                  <a:gd name="T18" fmla="*/ 0 w 1109"/>
                  <a:gd name="T19" fmla="*/ 1139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7" y="590"/>
                    </a:cubicBezTo>
                    <a:lnTo>
                      <a:pt x="46" y="1128"/>
                    </a:lnTo>
                    <a:lnTo>
                      <a:pt x="46" y="1128"/>
                    </a:lnTo>
                    <a:cubicBezTo>
                      <a:pt x="29" y="1138"/>
                      <a:pt x="14" y="1141"/>
                      <a:pt x="0" y="1139"/>
                    </a:cubicBezTo>
                    <a:lnTo>
                      <a:pt x="0" y="1139"/>
                    </a:lnTo>
                    <a:cubicBezTo>
                      <a:pt x="18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5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8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3" name="Freeform 103">
                <a:extLst>
                  <a:ext uri="{FF2B5EF4-FFF2-40B4-BE49-F238E27FC236}">
                    <a16:creationId xmlns:a16="http://schemas.microsoft.com/office/drawing/2014/main" id="{14BCC383-3750-444B-B954-5149EC14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5933424"/>
                <a:ext cx="83530" cy="138255"/>
              </a:xfrm>
              <a:custGeom>
                <a:avLst/>
                <a:gdLst>
                  <a:gd name="T0" fmla="*/ 21 w 129"/>
                  <a:gd name="T1" fmla="*/ 204 h 211"/>
                  <a:gd name="T2" fmla="*/ 107 w 129"/>
                  <a:gd name="T3" fmla="*/ 154 h 211"/>
                  <a:gd name="T4" fmla="*/ 107 w 129"/>
                  <a:gd name="T5" fmla="*/ 154 h 211"/>
                  <a:gd name="T6" fmla="*/ 128 w 129"/>
                  <a:gd name="T7" fmla="*/ 114 h 211"/>
                  <a:gd name="T8" fmla="*/ 128 w 129"/>
                  <a:gd name="T9" fmla="*/ 22 h 211"/>
                  <a:gd name="T10" fmla="*/ 128 w 129"/>
                  <a:gd name="T11" fmla="*/ 22 h 211"/>
                  <a:gd name="T12" fmla="*/ 107 w 129"/>
                  <a:gd name="T13" fmla="*/ 6 h 211"/>
                  <a:gd name="T14" fmla="*/ 21 w 129"/>
                  <a:gd name="T15" fmla="*/ 56 h 211"/>
                  <a:gd name="T16" fmla="*/ 21 w 129"/>
                  <a:gd name="T17" fmla="*/ 56 h 211"/>
                  <a:gd name="T18" fmla="*/ 0 w 129"/>
                  <a:gd name="T19" fmla="*/ 96 h 211"/>
                  <a:gd name="T20" fmla="*/ 0 w 129"/>
                  <a:gd name="T21" fmla="*/ 188 h 211"/>
                  <a:gd name="T22" fmla="*/ 0 w 129"/>
                  <a:gd name="T23" fmla="*/ 188 h 211"/>
                  <a:gd name="T24" fmla="*/ 21 w 129"/>
                  <a:gd name="T25" fmla="*/ 20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1">
                    <a:moveTo>
                      <a:pt x="21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9" y="147"/>
                      <a:pt x="128" y="129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6"/>
                      <a:pt x="119" y="0"/>
                      <a:pt x="107" y="6"/>
                    </a:cubicBezTo>
                    <a:lnTo>
                      <a:pt x="21" y="56"/>
                    </a:lnTo>
                    <a:lnTo>
                      <a:pt x="21" y="56"/>
                    </a:lnTo>
                    <a:cubicBezTo>
                      <a:pt x="9" y="62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0"/>
                      <a:pt x="21" y="204"/>
                    </a:cubicBez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4" name="Freeform 104">
                <a:extLst>
                  <a:ext uri="{FF2B5EF4-FFF2-40B4-BE49-F238E27FC236}">
                    <a16:creationId xmlns:a16="http://schemas.microsoft.com/office/drawing/2014/main" id="{E989E336-ACD3-4D4C-9C1E-60200DB4A2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5826853"/>
                <a:ext cx="83528" cy="138255"/>
              </a:xfrm>
              <a:custGeom>
                <a:avLst/>
                <a:gdLst>
                  <a:gd name="T0" fmla="*/ 20 w 129"/>
                  <a:gd name="T1" fmla="*/ 204 h 212"/>
                  <a:gd name="T2" fmla="*/ 107 w 129"/>
                  <a:gd name="T3" fmla="*/ 154 h 212"/>
                  <a:gd name="T4" fmla="*/ 107 w 129"/>
                  <a:gd name="T5" fmla="*/ 154 h 212"/>
                  <a:gd name="T6" fmla="*/ 128 w 129"/>
                  <a:gd name="T7" fmla="*/ 114 h 212"/>
                  <a:gd name="T8" fmla="*/ 128 w 129"/>
                  <a:gd name="T9" fmla="*/ 22 h 212"/>
                  <a:gd name="T10" fmla="*/ 128 w 129"/>
                  <a:gd name="T11" fmla="*/ 22 h 212"/>
                  <a:gd name="T12" fmla="*/ 107 w 129"/>
                  <a:gd name="T13" fmla="*/ 6 h 212"/>
                  <a:gd name="T14" fmla="*/ 20 w 129"/>
                  <a:gd name="T15" fmla="*/ 56 h 212"/>
                  <a:gd name="T16" fmla="*/ 20 w 129"/>
                  <a:gd name="T17" fmla="*/ 56 h 212"/>
                  <a:gd name="T18" fmla="*/ 0 w 129"/>
                  <a:gd name="T19" fmla="*/ 96 h 212"/>
                  <a:gd name="T20" fmla="*/ 0 w 129"/>
                  <a:gd name="T21" fmla="*/ 188 h 212"/>
                  <a:gd name="T22" fmla="*/ 0 w 129"/>
                  <a:gd name="T23" fmla="*/ 188 h 212"/>
                  <a:gd name="T24" fmla="*/ 20 w 129"/>
                  <a:gd name="T25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212">
                    <a:moveTo>
                      <a:pt x="20" y="204"/>
                    </a:moveTo>
                    <a:lnTo>
                      <a:pt x="107" y="154"/>
                    </a:lnTo>
                    <a:lnTo>
                      <a:pt x="107" y="154"/>
                    </a:lnTo>
                    <a:cubicBezTo>
                      <a:pt x="118" y="148"/>
                      <a:pt x="128" y="130"/>
                      <a:pt x="128" y="114"/>
                    </a:cubicBezTo>
                    <a:lnTo>
                      <a:pt x="128" y="22"/>
                    </a:lnTo>
                    <a:lnTo>
                      <a:pt x="128" y="22"/>
                    </a:lnTo>
                    <a:cubicBezTo>
                      <a:pt x="128" y="7"/>
                      <a:pt x="118" y="0"/>
                      <a:pt x="107" y="6"/>
                    </a:cubicBezTo>
                    <a:lnTo>
                      <a:pt x="20" y="56"/>
                    </a:lnTo>
                    <a:lnTo>
                      <a:pt x="20" y="56"/>
                    </a:lnTo>
                    <a:cubicBezTo>
                      <a:pt x="9" y="63"/>
                      <a:pt x="0" y="81"/>
                      <a:pt x="0" y="96"/>
                    </a:cubicBezTo>
                    <a:lnTo>
                      <a:pt x="0" y="188"/>
                    </a:lnTo>
                    <a:lnTo>
                      <a:pt x="0" y="188"/>
                    </a:lnTo>
                    <a:cubicBezTo>
                      <a:pt x="0" y="203"/>
                      <a:pt x="9" y="211"/>
                      <a:pt x="20" y="2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244">
                <a:extLst>
                  <a:ext uri="{FF2B5EF4-FFF2-40B4-BE49-F238E27FC236}">
                    <a16:creationId xmlns:a16="http://schemas.microsoft.com/office/drawing/2014/main" id="{276F837F-E6DB-1742-8987-F3D83E1346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36618" y="4038091"/>
                <a:ext cx="1531668" cy="4115583"/>
              </a:xfrm>
              <a:custGeom>
                <a:avLst/>
                <a:gdLst>
                  <a:gd name="connsiteX0" fmla="*/ 16656 w 1531668"/>
                  <a:gd name="connsiteY0" fmla="*/ 2866023 h 4115583"/>
                  <a:gd name="connsiteX1" fmla="*/ 56825 w 1531668"/>
                  <a:gd name="connsiteY1" fmla="*/ 2867002 h 4115583"/>
                  <a:gd name="connsiteX2" fmla="*/ 1474190 w 1531668"/>
                  <a:gd name="connsiteY2" fmla="*/ 3685390 h 4115583"/>
                  <a:gd name="connsiteX3" fmla="*/ 1531668 w 1531668"/>
                  <a:gd name="connsiteY3" fmla="*/ 3795118 h 4115583"/>
                  <a:gd name="connsiteX4" fmla="*/ 1531668 w 1531668"/>
                  <a:gd name="connsiteY4" fmla="*/ 4065520 h 4115583"/>
                  <a:gd name="connsiteX5" fmla="*/ 1474190 w 1531668"/>
                  <a:gd name="connsiteY5" fmla="*/ 4108627 h 4115583"/>
                  <a:gd name="connsiteX6" fmla="*/ 56825 w 1531668"/>
                  <a:gd name="connsiteY6" fmla="*/ 3290239 h 4115583"/>
                  <a:gd name="connsiteX7" fmla="*/ 0 w 1531668"/>
                  <a:gd name="connsiteY7" fmla="*/ 3180511 h 4115583"/>
                  <a:gd name="connsiteX8" fmla="*/ 0 w 1531668"/>
                  <a:gd name="connsiteY8" fmla="*/ 2910110 h 4115583"/>
                  <a:gd name="connsiteX9" fmla="*/ 16656 w 1531668"/>
                  <a:gd name="connsiteY9" fmla="*/ 2866023 h 4115583"/>
                  <a:gd name="connsiteX10" fmla="*/ 16656 w 1531668"/>
                  <a:gd name="connsiteY10" fmla="*/ 2390608 h 4115583"/>
                  <a:gd name="connsiteX11" fmla="*/ 56825 w 1531668"/>
                  <a:gd name="connsiteY11" fmla="*/ 2391751 h 4115583"/>
                  <a:gd name="connsiteX12" fmla="*/ 1474190 w 1531668"/>
                  <a:gd name="connsiteY12" fmla="*/ 3209486 h 4115583"/>
                  <a:gd name="connsiteX13" fmla="*/ 1531668 w 1531668"/>
                  <a:gd name="connsiteY13" fmla="*/ 3319214 h 4115583"/>
                  <a:gd name="connsiteX14" fmla="*/ 1531668 w 1531668"/>
                  <a:gd name="connsiteY14" fmla="*/ 3589615 h 4115583"/>
                  <a:gd name="connsiteX15" fmla="*/ 1474190 w 1531668"/>
                  <a:gd name="connsiteY15" fmla="*/ 3632723 h 4115583"/>
                  <a:gd name="connsiteX16" fmla="*/ 56825 w 1531668"/>
                  <a:gd name="connsiteY16" fmla="*/ 2814335 h 4115583"/>
                  <a:gd name="connsiteX17" fmla="*/ 0 w 1531668"/>
                  <a:gd name="connsiteY17" fmla="*/ 2704607 h 4115583"/>
                  <a:gd name="connsiteX18" fmla="*/ 0 w 1531668"/>
                  <a:gd name="connsiteY18" fmla="*/ 2435512 h 4115583"/>
                  <a:gd name="connsiteX19" fmla="*/ 16656 w 1531668"/>
                  <a:gd name="connsiteY19" fmla="*/ 2390608 h 4115583"/>
                  <a:gd name="connsiteX20" fmla="*/ 16656 w 1531668"/>
                  <a:gd name="connsiteY20" fmla="*/ 1912723 h 4115583"/>
                  <a:gd name="connsiteX21" fmla="*/ 56825 w 1531668"/>
                  <a:gd name="connsiteY21" fmla="*/ 1913621 h 4115583"/>
                  <a:gd name="connsiteX22" fmla="*/ 1474190 w 1531668"/>
                  <a:gd name="connsiteY22" fmla="*/ 2731356 h 4115583"/>
                  <a:gd name="connsiteX23" fmla="*/ 1531668 w 1531668"/>
                  <a:gd name="connsiteY23" fmla="*/ 2841737 h 4115583"/>
                  <a:gd name="connsiteX24" fmla="*/ 1531668 w 1531668"/>
                  <a:gd name="connsiteY24" fmla="*/ 3111485 h 4115583"/>
                  <a:gd name="connsiteX25" fmla="*/ 1474190 w 1531668"/>
                  <a:gd name="connsiteY25" fmla="*/ 3154593 h 4115583"/>
                  <a:gd name="connsiteX26" fmla="*/ 56825 w 1531668"/>
                  <a:gd name="connsiteY26" fmla="*/ 2336858 h 4115583"/>
                  <a:gd name="connsiteX27" fmla="*/ 0 w 1531668"/>
                  <a:gd name="connsiteY27" fmla="*/ 2227783 h 4115583"/>
                  <a:gd name="connsiteX28" fmla="*/ 0 w 1531668"/>
                  <a:gd name="connsiteY28" fmla="*/ 1957382 h 4115583"/>
                  <a:gd name="connsiteX29" fmla="*/ 16656 w 1531668"/>
                  <a:gd name="connsiteY29" fmla="*/ 1912723 h 4115583"/>
                  <a:gd name="connsiteX30" fmla="*/ 34719 w 1531668"/>
                  <a:gd name="connsiteY30" fmla="*/ 1431525 h 4115583"/>
                  <a:gd name="connsiteX31" fmla="*/ 56825 w 1531668"/>
                  <a:gd name="connsiteY31" fmla="*/ 1438372 h 4115583"/>
                  <a:gd name="connsiteX32" fmla="*/ 1474190 w 1531668"/>
                  <a:gd name="connsiteY32" fmla="*/ 2256760 h 4115583"/>
                  <a:gd name="connsiteX33" fmla="*/ 1531668 w 1531668"/>
                  <a:gd name="connsiteY33" fmla="*/ 2366488 h 4115583"/>
                  <a:gd name="connsiteX34" fmla="*/ 1531668 w 1531668"/>
                  <a:gd name="connsiteY34" fmla="*/ 2636236 h 4115583"/>
                  <a:gd name="connsiteX35" fmla="*/ 1474190 w 1531668"/>
                  <a:gd name="connsiteY35" fmla="*/ 2679997 h 4115583"/>
                  <a:gd name="connsiteX36" fmla="*/ 56825 w 1531668"/>
                  <a:gd name="connsiteY36" fmla="*/ 1861609 h 4115583"/>
                  <a:gd name="connsiteX37" fmla="*/ 0 w 1531668"/>
                  <a:gd name="connsiteY37" fmla="*/ 1752534 h 4115583"/>
                  <a:gd name="connsiteX38" fmla="*/ 0 w 1531668"/>
                  <a:gd name="connsiteY38" fmla="*/ 1482133 h 4115583"/>
                  <a:gd name="connsiteX39" fmla="*/ 34719 w 1531668"/>
                  <a:gd name="connsiteY39" fmla="*/ 1431525 h 4115583"/>
                  <a:gd name="connsiteX40" fmla="*/ 34719 w 1531668"/>
                  <a:gd name="connsiteY40" fmla="*/ 953389 h 4115583"/>
                  <a:gd name="connsiteX41" fmla="*/ 56825 w 1531668"/>
                  <a:gd name="connsiteY41" fmla="*/ 960233 h 4115583"/>
                  <a:gd name="connsiteX42" fmla="*/ 1474190 w 1531668"/>
                  <a:gd name="connsiteY42" fmla="*/ 1778203 h 4115583"/>
                  <a:gd name="connsiteX43" fmla="*/ 1531668 w 1531668"/>
                  <a:gd name="connsiteY43" fmla="*/ 1887875 h 4115583"/>
                  <a:gd name="connsiteX44" fmla="*/ 1531668 w 1531668"/>
                  <a:gd name="connsiteY44" fmla="*/ 2158138 h 4115583"/>
                  <a:gd name="connsiteX45" fmla="*/ 1474190 w 1531668"/>
                  <a:gd name="connsiteY45" fmla="*/ 2201877 h 4115583"/>
                  <a:gd name="connsiteX46" fmla="*/ 56825 w 1531668"/>
                  <a:gd name="connsiteY46" fmla="*/ 1383906 h 4115583"/>
                  <a:gd name="connsiteX47" fmla="*/ 0 w 1531668"/>
                  <a:gd name="connsiteY47" fmla="*/ 1274234 h 4115583"/>
                  <a:gd name="connsiteX48" fmla="*/ 0 w 1531668"/>
                  <a:gd name="connsiteY48" fmla="*/ 1003971 h 4115583"/>
                  <a:gd name="connsiteX49" fmla="*/ 34719 w 1531668"/>
                  <a:gd name="connsiteY49" fmla="*/ 953389 h 4115583"/>
                  <a:gd name="connsiteX50" fmla="*/ 34719 w 1531668"/>
                  <a:gd name="connsiteY50" fmla="*/ 478138 h 4115583"/>
                  <a:gd name="connsiteX51" fmla="*/ 56825 w 1531668"/>
                  <a:gd name="connsiteY51" fmla="*/ 484982 h 4115583"/>
                  <a:gd name="connsiteX52" fmla="*/ 1474190 w 1531668"/>
                  <a:gd name="connsiteY52" fmla="*/ 1302952 h 4115583"/>
                  <a:gd name="connsiteX53" fmla="*/ 1531668 w 1531668"/>
                  <a:gd name="connsiteY53" fmla="*/ 1413277 h 4115583"/>
                  <a:gd name="connsiteX54" fmla="*/ 1531668 w 1531668"/>
                  <a:gd name="connsiteY54" fmla="*/ 1682887 h 4115583"/>
                  <a:gd name="connsiteX55" fmla="*/ 1474190 w 1531668"/>
                  <a:gd name="connsiteY55" fmla="*/ 1726626 h 4115583"/>
                  <a:gd name="connsiteX56" fmla="*/ 56825 w 1531668"/>
                  <a:gd name="connsiteY56" fmla="*/ 908655 h 4115583"/>
                  <a:gd name="connsiteX57" fmla="*/ 0 w 1531668"/>
                  <a:gd name="connsiteY57" fmla="*/ 798983 h 4115583"/>
                  <a:gd name="connsiteX58" fmla="*/ 0 w 1531668"/>
                  <a:gd name="connsiteY58" fmla="*/ 528720 h 4115583"/>
                  <a:gd name="connsiteX59" fmla="*/ 34719 w 1531668"/>
                  <a:gd name="connsiteY59" fmla="*/ 478138 h 4115583"/>
                  <a:gd name="connsiteX60" fmla="*/ 34719 w 1531668"/>
                  <a:gd name="connsiteY60" fmla="*/ 2 h 4115583"/>
                  <a:gd name="connsiteX61" fmla="*/ 56825 w 1531668"/>
                  <a:gd name="connsiteY61" fmla="*/ 6842 h 4115583"/>
                  <a:gd name="connsiteX62" fmla="*/ 1474190 w 1531668"/>
                  <a:gd name="connsiteY62" fmla="*/ 825048 h 4115583"/>
                  <a:gd name="connsiteX63" fmla="*/ 1531668 w 1531668"/>
                  <a:gd name="connsiteY63" fmla="*/ 934664 h 4115583"/>
                  <a:gd name="connsiteX64" fmla="*/ 1531668 w 1531668"/>
                  <a:gd name="connsiteY64" fmla="*/ 1204789 h 4115583"/>
                  <a:gd name="connsiteX65" fmla="*/ 1474190 w 1531668"/>
                  <a:gd name="connsiteY65" fmla="*/ 1247853 h 4115583"/>
                  <a:gd name="connsiteX66" fmla="*/ 56825 w 1531668"/>
                  <a:gd name="connsiteY66" fmla="*/ 430300 h 4115583"/>
                  <a:gd name="connsiteX67" fmla="*/ 0 w 1531668"/>
                  <a:gd name="connsiteY67" fmla="*/ 320684 h 4115583"/>
                  <a:gd name="connsiteX68" fmla="*/ 0 w 1531668"/>
                  <a:gd name="connsiteY68" fmla="*/ 50558 h 4115583"/>
                  <a:gd name="connsiteX69" fmla="*/ 34719 w 1531668"/>
                  <a:gd name="connsiteY69" fmla="*/ 2 h 411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583">
                    <a:moveTo>
                      <a:pt x="16656" y="2866023"/>
                    </a:moveTo>
                    <a:cubicBezTo>
                      <a:pt x="26943" y="2858185"/>
                      <a:pt x="41149" y="2857858"/>
                      <a:pt x="56825" y="2867002"/>
                    </a:cubicBezTo>
                    <a:lnTo>
                      <a:pt x="1474190" y="3685390"/>
                    </a:lnTo>
                    <a:cubicBezTo>
                      <a:pt x="1506194" y="3703678"/>
                      <a:pt x="1531668" y="3752664"/>
                      <a:pt x="1531668" y="3795118"/>
                    </a:cubicBezTo>
                    <a:lnTo>
                      <a:pt x="1531668" y="4065520"/>
                    </a:lnTo>
                    <a:cubicBezTo>
                      <a:pt x="1531668" y="4107974"/>
                      <a:pt x="1506194" y="4126915"/>
                      <a:pt x="1474190" y="4108627"/>
                    </a:cubicBezTo>
                    <a:lnTo>
                      <a:pt x="56825" y="3290239"/>
                    </a:lnTo>
                    <a:cubicBezTo>
                      <a:pt x="25473" y="3271951"/>
                      <a:pt x="0" y="3222965"/>
                      <a:pt x="0" y="3180511"/>
                    </a:cubicBezTo>
                    <a:lnTo>
                      <a:pt x="0" y="2910110"/>
                    </a:lnTo>
                    <a:cubicBezTo>
                      <a:pt x="0" y="2889209"/>
                      <a:pt x="6368" y="2873860"/>
                      <a:pt x="16656" y="2866023"/>
                    </a:cubicBezTo>
                    <a:close/>
                    <a:moveTo>
                      <a:pt x="16656" y="2390608"/>
                    </a:moveTo>
                    <a:cubicBezTo>
                      <a:pt x="26943" y="2382770"/>
                      <a:pt x="41149" y="2382607"/>
                      <a:pt x="56825" y="2391751"/>
                    </a:cubicBezTo>
                    <a:lnTo>
                      <a:pt x="1474190" y="3209486"/>
                    </a:lnTo>
                    <a:cubicBezTo>
                      <a:pt x="1506194" y="3227774"/>
                      <a:pt x="1531668" y="3276760"/>
                      <a:pt x="1531668" y="3319214"/>
                    </a:cubicBezTo>
                    <a:lnTo>
                      <a:pt x="1531668" y="3589615"/>
                    </a:lnTo>
                    <a:cubicBezTo>
                      <a:pt x="1531668" y="3632070"/>
                      <a:pt x="1506194" y="3651664"/>
                      <a:pt x="1474190" y="3632723"/>
                    </a:cubicBezTo>
                    <a:lnTo>
                      <a:pt x="56825" y="2814335"/>
                    </a:lnTo>
                    <a:cubicBezTo>
                      <a:pt x="25473" y="2796700"/>
                      <a:pt x="0" y="2747061"/>
                      <a:pt x="0" y="2704607"/>
                    </a:cubicBezTo>
                    <a:lnTo>
                      <a:pt x="0" y="2435512"/>
                    </a:lnTo>
                    <a:cubicBezTo>
                      <a:pt x="0" y="2413958"/>
                      <a:pt x="6368" y="2398446"/>
                      <a:pt x="16656" y="2390608"/>
                    </a:cubicBezTo>
                    <a:close/>
                    <a:moveTo>
                      <a:pt x="16656" y="1912723"/>
                    </a:moveTo>
                    <a:cubicBezTo>
                      <a:pt x="26943" y="1904804"/>
                      <a:pt x="41149" y="1904477"/>
                      <a:pt x="56825" y="1913621"/>
                    </a:cubicBezTo>
                    <a:lnTo>
                      <a:pt x="1474190" y="2731356"/>
                    </a:lnTo>
                    <a:cubicBezTo>
                      <a:pt x="1506194" y="2749644"/>
                      <a:pt x="1531668" y="2798630"/>
                      <a:pt x="1531668" y="2841737"/>
                    </a:cubicBezTo>
                    <a:lnTo>
                      <a:pt x="1531668" y="3111485"/>
                    </a:lnTo>
                    <a:cubicBezTo>
                      <a:pt x="1531668" y="3153940"/>
                      <a:pt x="1506194" y="3173534"/>
                      <a:pt x="1474190" y="3154593"/>
                    </a:cubicBezTo>
                    <a:lnTo>
                      <a:pt x="56825" y="2336858"/>
                    </a:lnTo>
                    <a:cubicBezTo>
                      <a:pt x="25473" y="2318570"/>
                      <a:pt x="0" y="2269584"/>
                      <a:pt x="0" y="2227783"/>
                    </a:cubicBezTo>
                    <a:lnTo>
                      <a:pt x="0" y="1957382"/>
                    </a:lnTo>
                    <a:cubicBezTo>
                      <a:pt x="0" y="1936155"/>
                      <a:pt x="6368" y="1920643"/>
                      <a:pt x="16656" y="1912723"/>
                    </a:cubicBezTo>
                    <a:close/>
                    <a:moveTo>
                      <a:pt x="34719" y="1431525"/>
                    </a:moveTo>
                    <a:cubicBezTo>
                      <a:pt x="41516" y="1431596"/>
                      <a:pt x="48987" y="1433800"/>
                      <a:pt x="56825" y="1438372"/>
                    </a:cubicBezTo>
                    <a:lnTo>
                      <a:pt x="1474190" y="2256760"/>
                    </a:lnTo>
                    <a:cubicBezTo>
                      <a:pt x="1506194" y="2275048"/>
                      <a:pt x="1531668" y="2324687"/>
                      <a:pt x="1531668" y="2366488"/>
                    </a:cubicBezTo>
                    <a:lnTo>
                      <a:pt x="1531668" y="2636236"/>
                    </a:lnTo>
                    <a:cubicBezTo>
                      <a:pt x="1531668" y="2678691"/>
                      <a:pt x="1506194" y="2698285"/>
                      <a:pt x="1474190" y="2679997"/>
                    </a:cubicBezTo>
                    <a:lnTo>
                      <a:pt x="56825" y="1861609"/>
                    </a:lnTo>
                    <a:cubicBezTo>
                      <a:pt x="25473" y="1843321"/>
                      <a:pt x="0" y="1794335"/>
                      <a:pt x="0" y="1752534"/>
                    </a:cubicBezTo>
                    <a:lnTo>
                      <a:pt x="0" y="1482133"/>
                    </a:lnTo>
                    <a:cubicBezTo>
                      <a:pt x="0" y="1450292"/>
                      <a:pt x="14329" y="1431310"/>
                      <a:pt x="34719" y="1431525"/>
                    </a:cubicBezTo>
                    <a:close/>
                    <a:moveTo>
                      <a:pt x="34719" y="953389"/>
                    </a:moveTo>
                    <a:cubicBezTo>
                      <a:pt x="41516" y="953460"/>
                      <a:pt x="48987" y="955663"/>
                      <a:pt x="56825" y="960233"/>
                    </a:cubicBezTo>
                    <a:lnTo>
                      <a:pt x="1474190" y="1778203"/>
                    </a:lnTo>
                    <a:cubicBezTo>
                      <a:pt x="1506194" y="1797135"/>
                      <a:pt x="1531668" y="1846096"/>
                      <a:pt x="1531668" y="1887875"/>
                    </a:cubicBezTo>
                    <a:lnTo>
                      <a:pt x="1531668" y="2158138"/>
                    </a:lnTo>
                    <a:cubicBezTo>
                      <a:pt x="1531668" y="2200571"/>
                      <a:pt x="1506194" y="2220155"/>
                      <a:pt x="1474190" y="2201877"/>
                    </a:cubicBezTo>
                    <a:lnTo>
                      <a:pt x="56825" y="1383906"/>
                    </a:lnTo>
                    <a:cubicBezTo>
                      <a:pt x="25473" y="1365628"/>
                      <a:pt x="0" y="1316667"/>
                      <a:pt x="0" y="1274234"/>
                    </a:cubicBezTo>
                    <a:lnTo>
                      <a:pt x="0" y="1003971"/>
                    </a:lnTo>
                    <a:cubicBezTo>
                      <a:pt x="0" y="972147"/>
                      <a:pt x="14329" y="953175"/>
                      <a:pt x="34719" y="953389"/>
                    </a:cubicBezTo>
                    <a:close/>
                    <a:moveTo>
                      <a:pt x="34719" y="478138"/>
                    </a:moveTo>
                    <a:cubicBezTo>
                      <a:pt x="41516" y="478209"/>
                      <a:pt x="48987" y="480412"/>
                      <a:pt x="56825" y="484982"/>
                    </a:cubicBezTo>
                    <a:lnTo>
                      <a:pt x="1474190" y="1302952"/>
                    </a:lnTo>
                    <a:cubicBezTo>
                      <a:pt x="1506194" y="1321884"/>
                      <a:pt x="1531668" y="1370845"/>
                      <a:pt x="1531668" y="1413277"/>
                    </a:cubicBezTo>
                    <a:lnTo>
                      <a:pt x="1531668" y="1682887"/>
                    </a:lnTo>
                    <a:cubicBezTo>
                      <a:pt x="1531668" y="1725973"/>
                      <a:pt x="1506194" y="1744904"/>
                      <a:pt x="1474190" y="1726626"/>
                    </a:cubicBezTo>
                    <a:lnTo>
                      <a:pt x="56825" y="908655"/>
                    </a:lnTo>
                    <a:cubicBezTo>
                      <a:pt x="25473" y="890377"/>
                      <a:pt x="0" y="841416"/>
                      <a:pt x="0" y="798983"/>
                    </a:cubicBezTo>
                    <a:lnTo>
                      <a:pt x="0" y="528720"/>
                    </a:lnTo>
                    <a:cubicBezTo>
                      <a:pt x="0" y="496896"/>
                      <a:pt x="14329" y="477924"/>
                      <a:pt x="34719" y="478138"/>
                    </a:cubicBezTo>
                    <a:close/>
                    <a:moveTo>
                      <a:pt x="34719" y="2"/>
                    </a:moveTo>
                    <a:cubicBezTo>
                      <a:pt x="41516" y="73"/>
                      <a:pt x="48987" y="2275"/>
                      <a:pt x="56825" y="6842"/>
                    </a:cubicBezTo>
                    <a:lnTo>
                      <a:pt x="1474190" y="825048"/>
                    </a:lnTo>
                    <a:cubicBezTo>
                      <a:pt x="1506194" y="843317"/>
                      <a:pt x="1531668" y="892253"/>
                      <a:pt x="1531668" y="934664"/>
                    </a:cubicBezTo>
                    <a:lnTo>
                      <a:pt x="1531668" y="1204789"/>
                    </a:lnTo>
                    <a:cubicBezTo>
                      <a:pt x="1531668" y="1247200"/>
                      <a:pt x="1506194" y="1266775"/>
                      <a:pt x="1474190" y="1247853"/>
                    </a:cubicBezTo>
                    <a:lnTo>
                      <a:pt x="56825" y="430300"/>
                    </a:lnTo>
                    <a:cubicBezTo>
                      <a:pt x="25473" y="412031"/>
                      <a:pt x="0" y="363095"/>
                      <a:pt x="0" y="320684"/>
                    </a:cubicBezTo>
                    <a:lnTo>
                      <a:pt x="0" y="50558"/>
                    </a:lnTo>
                    <a:cubicBezTo>
                      <a:pt x="0" y="18750"/>
                      <a:pt x="14329" y="-212"/>
                      <a:pt x="34719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276B10DD-A83E-CE4D-8A44-33AD493543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02867" y="4136453"/>
                <a:ext cx="1393413" cy="3919135"/>
              </a:xfrm>
              <a:custGeom>
                <a:avLst/>
                <a:gdLst>
                  <a:gd name="connsiteX0" fmla="*/ 8815 w 1393413"/>
                  <a:gd name="connsiteY0" fmla="*/ 2862782 h 3919135"/>
                  <a:gd name="connsiteX1" fmla="*/ 29383 w 1393413"/>
                  <a:gd name="connsiteY1" fmla="*/ 2863190 h 3919135"/>
                  <a:gd name="connsiteX2" fmla="*/ 1364683 w 1393413"/>
                  <a:gd name="connsiteY2" fmla="*/ 3634780 h 3919135"/>
                  <a:gd name="connsiteX3" fmla="*/ 1393413 w 1393413"/>
                  <a:gd name="connsiteY3" fmla="*/ 3690314 h 3919135"/>
                  <a:gd name="connsiteX4" fmla="*/ 1393413 w 1393413"/>
                  <a:gd name="connsiteY4" fmla="*/ 3893502 h 3919135"/>
                  <a:gd name="connsiteX5" fmla="*/ 1364683 w 1393413"/>
                  <a:gd name="connsiteY5" fmla="*/ 3915715 h 3919135"/>
                  <a:gd name="connsiteX6" fmla="*/ 29383 w 1393413"/>
                  <a:gd name="connsiteY6" fmla="*/ 3144125 h 3919135"/>
                  <a:gd name="connsiteX7" fmla="*/ 0 w 1393413"/>
                  <a:gd name="connsiteY7" fmla="*/ 3088591 h 3919135"/>
                  <a:gd name="connsiteX8" fmla="*/ 0 w 1393413"/>
                  <a:gd name="connsiteY8" fmla="*/ 2885403 h 3919135"/>
                  <a:gd name="connsiteX9" fmla="*/ 8815 w 1393413"/>
                  <a:gd name="connsiteY9" fmla="*/ 2862782 h 3919135"/>
                  <a:gd name="connsiteX10" fmla="*/ 8815 w 1393413"/>
                  <a:gd name="connsiteY10" fmla="*/ 2385054 h 3919135"/>
                  <a:gd name="connsiteX11" fmla="*/ 29383 w 1393413"/>
                  <a:gd name="connsiteY11" fmla="*/ 2385707 h 3919135"/>
                  <a:gd name="connsiteX12" fmla="*/ 1364683 w 1393413"/>
                  <a:gd name="connsiteY12" fmla="*/ 3156828 h 3919135"/>
                  <a:gd name="connsiteX13" fmla="*/ 1393413 w 1393413"/>
                  <a:gd name="connsiteY13" fmla="*/ 3212980 h 3919135"/>
                  <a:gd name="connsiteX14" fmla="*/ 1393413 w 1393413"/>
                  <a:gd name="connsiteY14" fmla="*/ 3416044 h 3919135"/>
                  <a:gd name="connsiteX15" fmla="*/ 1364683 w 1393413"/>
                  <a:gd name="connsiteY15" fmla="*/ 3437591 h 3919135"/>
                  <a:gd name="connsiteX16" fmla="*/ 29383 w 1393413"/>
                  <a:gd name="connsiteY16" fmla="*/ 2666471 h 3919135"/>
                  <a:gd name="connsiteX17" fmla="*/ 0 w 1393413"/>
                  <a:gd name="connsiteY17" fmla="*/ 2610971 h 3919135"/>
                  <a:gd name="connsiteX18" fmla="*/ 0 w 1393413"/>
                  <a:gd name="connsiteY18" fmla="*/ 2407907 h 3919135"/>
                  <a:gd name="connsiteX19" fmla="*/ 8815 w 1393413"/>
                  <a:gd name="connsiteY19" fmla="*/ 2385054 h 3919135"/>
                  <a:gd name="connsiteX20" fmla="*/ 8815 w 1393413"/>
                  <a:gd name="connsiteY20" fmla="*/ 1909401 h 3919135"/>
                  <a:gd name="connsiteX21" fmla="*/ 29383 w 1393413"/>
                  <a:gd name="connsiteY21" fmla="*/ 1909809 h 3919135"/>
                  <a:gd name="connsiteX22" fmla="*/ 1364683 w 1393413"/>
                  <a:gd name="connsiteY22" fmla="*/ 2680746 h 3919135"/>
                  <a:gd name="connsiteX23" fmla="*/ 1393413 w 1393413"/>
                  <a:gd name="connsiteY23" fmla="*/ 2736933 h 3919135"/>
                  <a:gd name="connsiteX24" fmla="*/ 1393413 w 1393413"/>
                  <a:gd name="connsiteY24" fmla="*/ 2940121 h 3919135"/>
                  <a:gd name="connsiteX25" fmla="*/ 1364683 w 1393413"/>
                  <a:gd name="connsiteY25" fmla="*/ 2961681 h 3919135"/>
                  <a:gd name="connsiteX26" fmla="*/ 29383 w 1393413"/>
                  <a:gd name="connsiteY26" fmla="*/ 2190744 h 3919135"/>
                  <a:gd name="connsiteX27" fmla="*/ 0 w 1393413"/>
                  <a:gd name="connsiteY27" fmla="*/ 2135210 h 3919135"/>
                  <a:gd name="connsiteX28" fmla="*/ 0 w 1393413"/>
                  <a:gd name="connsiteY28" fmla="*/ 1932022 h 3919135"/>
                  <a:gd name="connsiteX29" fmla="*/ 8815 w 1393413"/>
                  <a:gd name="connsiteY29" fmla="*/ 1909401 h 3919135"/>
                  <a:gd name="connsiteX30" fmla="*/ 8815 w 1393413"/>
                  <a:gd name="connsiteY30" fmla="*/ 1434152 h 3919135"/>
                  <a:gd name="connsiteX31" fmla="*/ 29383 w 1393413"/>
                  <a:gd name="connsiteY31" fmla="*/ 1434560 h 3919135"/>
                  <a:gd name="connsiteX32" fmla="*/ 1364683 w 1393413"/>
                  <a:gd name="connsiteY32" fmla="*/ 2206150 h 3919135"/>
                  <a:gd name="connsiteX33" fmla="*/ 1393413 w 1393413"/>
                  <a:gd name="connsiteY33" fmla="*/ 2262337 h 3919135"/>
                  <a:gd name="connsiteX34" fmla="*/ 1393413 w 1393413"/>
                  <a:gd name="connsiteY34" fmla="*/ 2464872 h 3919135"/>
                  <a:gd name="connsiteX35" fmla="*/ 1364683 w 1393413"/>
                  <a:gd name="connsiteY35" fmla="*/ 2487085 h 3919135"/>
                  <a:gd name="connsiteX36" fmla="*/ 29383 w 1393413"/>
                  <a:gd name="connsiteY36" fmla="*/ 1716148 h 3919135"/>
                  <a:gd name="connsiteX37" fmla="*/ 0 w 1393413"/>
                  <a:gd name="connsiteY37" fmla="*/ 1659961 h 3919135"/>
                  <a:gd name="connsiteX38" fmla="*/ 0 w 1393413"/>
                  <a:gd name="connsiteY38" fmla="*/ 1456773 h 3919135"/>
                  <a:gd name="connsiteX39" fmla="*/ 8815 w 1393413"/>
                  <a:gd name="connsiteY39" fmla="*/ 1434152 h 3919135"/>
                  <a:gd name="connsiteX40" fmla="*/ 8815 w 1393413"/>
                  <a:gd name="connsiteY40" fmla="*/ 956098 h 3919135"/>
                  <a:gd name="connsiteX41" fmla="*/ 29383 w 1393413"/>
                  <a:gd name="connsiteY41" fmla="*/ 957077 h 3919135"/>
                  <a:gd name="connsiteX42" fmla="*/ 1364683 w 1393413"/>
                  <a:gd name="connsiteY42" fmla="*/ 1728198 h 3919135"/>
                  <a:gd name="connsiteX43" fmla="*/ 1393413 w 1393413"/>
                  <a:gd name="connsiteY43" fmla="*/ 1783697 h 3919135"/>
                  <a:gd name="connsiteX44" fmla="*/ 1393413 w 1393413"/>
                  <a:gd name="connsiteY44" fmla="*/ 1986761 h 3919135"/>
                  <a:gd name="connsiteX45" fmla="*/ 1364683 w 1393413"/>
                  <a:gd name="connsiteY45" fmla="*/ 2008961 h 3919135"/>
                  <a:gd name="connsiteX46" fmla="*/ 29383 w 1393413"/>
                  <a:gd name="connsiteY46" fmla="*/ 1237841 h 3919135"/>
                  <a:gd name="connsiteX47" fmla="*/ 0 w 1393413"/>
                  <a:gd name="connsiteY47" fmla="*/ 1182341 h 3919135"/>
                  <a:gd name="connsiteX48" fmla="*/ 0 w 1393413"/>
                  <a:gd name="connsiteY48" fmla="*/ 978624 h 3919135"/>
                  <a:gd name="connsiteX49" fmla="*/ 8815 w 1393413"/>
                  <a:gd name="connsiteY49" fmla="*/ 956098 h 3919135"/>
                  <a:gd name="connsiteX50" fmla="*/ 8815 w 1393413"/>
                  <a:gd name="connsiteY50" fmla="*/ 480444 h 3919135"/>
                  <a:gd name="connsiteX51" fmla="*/ 29383 w 1393413"/>
                  <a:gd name="connsiteY51" fmla="*/ 481179 h 3919135"/>
                  <a:gd name="connsiteX52" fmla="*/ 1364683 w 1393413"/>
                  <a:gd name="connsiteY52" fmla="*/ 1252769 h 3919135"/>
                  <a:gd name="connsiteX53" fmla="*/ 1393413 w 1393413"/>
                  <a:gd name="connsiteY53" fmla="*/ 1308303 h 3919135"/>
                  <a:gd name="connsiteX54" fmla="*/ 1393413 w 1393413"/>
                  <a:gd name="connsiteY54" fmla="*/ 1511491 h 3919135"/>
                  <a:gd name="connsiteX55" fmla="*/ 1364683 w 1393413"/>
                  <a:gd name="connsiteY55" fmla="*/ 1533704 h 3919135"/>
                  <a:gd name="connsiteX56" fmla="*/ 29383 w 1393413"/>
                  <a:gd name="connsiteY56" fmla="*/ 762114 h 3919135"/>
                  <a:gd name="connsiteX57" fmla="*/ 0 w 1393413"/>
                  <a:gd name="connsiteY57" fmla="*/ 705927 h 3919135"/>
                  <a:gd name="connsiteX58" fmla="*/ 0 w 1393413"/>
                  <a:gd name="connsiteY58" fmla="*/ 502739 h 3919135"/>
                  <a:gd name="connsiteX59" fmla="*/ 8815 w 1393413"/>
                  <a:gd name="connsiteY59" fmla="*/ 480444 h 3919135"/>
                  <a:gd name="connsiteX60" fmla="*/ 8815 w 1393413"/>
                  <a:gd name="connsiteY60" fmla="*/ 3043 h 3919135"/>
                  <a:gd name="connsiteX61" fmla="*/ 29383 w 1393413"/>
                  <a:gd name="connsiteY61" fmla="*/ 3696 h 3919135"/>
                  <a:gd name="connsiteX62" fmla="*/ 1364683 w 1393413"/>
                  <a:gd name="connsiteY62" fmla="*/ 774817 h 3919135"/>
                  <a:gd name="connsiteX63" fmla="*/ 1393413 w 1393413"/>
                  <a:gd name="connsiteY63" fmla="*/ 830316 h 3919135"/>
                  <a:gd name="connsiteX64" fmla="*/ 1393413 w 1393413"/>
                  <a:gd name="connsiteY64" fmla="*/ 1033380 h 3919135"/>
                  <a:gd name="connsiteX65" fmla="*/ 1364683 w 1393413"/>
                  <a:gd name="connsiteY65" fmla="*/ 1055580 h 3919135"/>
                  <a:gd name="connsiteX66" fmla="*/ 29383 w 1393413"/>
                  <a:gd name="connsiteY66" fmla="*/ 284460 h 3919135"/>
                  <a:gd name="connsiteX67" fmla="*/ 0 w 1393413"/>
                  <a:gd name="connsiteY67" fmla="*/ 228960 h 3919135"/>
                  <a:gd name="connsiteX68" fmla="*/ 0 w 1393413"/>
                  <a:gd name="connsiteY68" fmla="*/ 25896 h 3919135"/>
                  <a:gd name="connsiteX69" fmla="*/ 8815 w 1393413"/>
                  <a:gd name="connsiteY69" fmla="*/ 3043 h 391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35">
                    <a:moveTo>
                      <a:pt x="8815" y="2862782"/>
                    </a:moveTo>
                    <a:cubicBezTo>
                      <a:pt x="14202" y="2858780"/>
                      <a:pt x="21548" y="2858617"/>
                      <a:pt x="29383" y="2863190"/>
                    </a:cubicBezTo>
                    <a:lnTo>
                      <a:pt x="1364683" y="3634780"/>
                    </a:lnTo>
                    <a:cubicBezTo>
                      <a:pt x="1381007" y="3643927"/>
                      <a:pt x="1393413" y="3668754"/>
                      <a:pt x="1393413" y="3690314"/>
                    </a:cubicBezTo>
                    <a:lnTo>
                      <a:pt x="1393413" y="3893502"/>
                    </a:lnTo>
                    <a:cubicBezTo>
                      <a:pt x="1393413" y="3915062"/>
                      <a:pt x="1381007" y="3924862"/>
                      <a:pt x="1364683" y="3915715"/>
                    </a:cubicBezTo>
                    <a:lnTo>
                      <a:pt x="29383" y="3144125"/>
                    </a:lnTo>
                    <a:cubicBezTo>
                      <a:pt x="13712" y="3134978"/>
                      <a:pt x="0" y="3109498"/>
                      <a:pt x="0" y="3088591"/>
                    </a:cubicBezTo>
                    <a:lnTo>
                      <a:pt x="0" y="2885403"/>
                    </a:lnTo>
                    <a:cubicBezTo>
                      <a:pt x="0" y="2874623"/>
                      <a:pt x="3428" y="2866783"/>
                      <a:pt x="8815" y="2862782"/>
                    </a:cubicBezTo>
                    <a:close/>
                    <a:moveTo>
                      <a:pt x="8815" y="2385054"/>
                    </a:moveTo>
                    <a:cubicBezTo>
                      <a:pt x="14202" y="2380973"/>
                      <a:pt x="21548" y="2380810"/>
                      <a:pt x="29383" y="2385707"/>
                    </a:cubicBezTo>
                    <a:lnTo>
                      <a:pt x="1364683" y="3156828"/>
                    </a:lnTo>
                    <a:cubicBezTo>
                      <a:pt x="1381007" y="3166622"/>
                      <a:pt x="1393413" y="3191433"/>
                      <a:pt x="1393413" y="3212980"/>
                    </a:cubicBezTo>
                    <a:lnTo>
                      <a:pt x="1393413" y="3416044"/>
                    </a:lnTo>
                    <a:cubicBezTo>
                      <a:pt x="1393413" y="3436938"/>
                      <a:pt x="1381007" y="3446732"/>
                      <a:pt x="1364683" y="3437591"/>
                    </a:cubicBezTo>
                    <a:lnTo>
                      <a:pt x="29383" y="2666471"/>
                    </a:lnTo>
                    <a:cubicBezTo>
                      <a:pt x="13712" y="2657330"/>
                      <a:pt x="0" y="2632518"/>
                      <a:pt x="0" y="2610971"/>
                    </a:cubicBezTo>
                    <a:lnTo>
                      <a:pt x="0" y="2407907"/>
                    </a:lnTo>
                    <a:cubicBezTo>
                      <a:pt x="0" y="2397134"/>
                      <a:pt x="3428" y="2389135"/>
                      <a:pt x="8815" y="2385054"/>
                    </a:cubicBezTo>
                    <a:close/>
                    <a:moveTo>
                      <a:pt x="8815" y="1909401"/>
                    </a:moveTo>
                    <a:cubicBezTo>
                      <a:pt x="14202" y="1905399"/>
                      <a:pt x="21548" y="1905235"/>
                      <a:pt x="29383" y="1909809"/>
                    </a:cubicBezTo>
                    <a:lnTo>
                      <a:pt x="1364683" y="2680746"/>
                    </a:lnTo>
                    <a:cubicBezTo>
                      <a:pt x="1381007" y="2690546"/>
                      <a:pt x="1393413" y="2715373"/>
                      <a:pt x="1393413" y="2736933"/>
                    </a:cubicBezTo>
                    <a:lnTo>
                      <a:pt x="1393413" y="2940121"/>
                    </a:lnTo>
                    <a:cubicBezTo>
                      <a:pt x="1393413" y="2961681"/>
                      <a:pt x="1381007" y="2971481"/>
                      <a:pt x="1364683" y="2961681"/>
                    </a:cubicBezTo>
                    <a:lnTo>
                      <a:pt x="29383" y="2190744"/>
                    </a:lnTo>
                    <a:cubicBezTo>
                      <a:pt x="13712" y="2181597"/>
                      <a:pt x="0" y="2156770"/>
                      <a:pt x="0" y="2135210"/>
                    </a:cubicBezTo>
                    <a:lnTo>
                      <a:pt x="0" y="1932022"/>
                    </a:lnTo>
                    <a:cubicBezTo>
                      <a:pt x="0" y="1921242"/>
                      <a:pt x="3428" y="1913402"/>
                      <a:pt x="8815" y="1909401"/>
                    </a:cubicBezTo>
                    <a:close/>
                    <a:moveTo>
                      <a:pt x="8815" y="1434152"/>
                    </a:moveTo>
                    <a:cubicBezTo>
                      <a:pt x="14202" y="1430150"/>
                      <a:pt x="21548" y="1429986"/>
                      <a:pt x="29383" y="1434560"/>
                    </a:cubicBezTo>
                    <a:lnTo>
                      <a:pt x="1364683" y="2206150"/>
                    </a:lnTo>
                    <a:cubicBezTo>
                      <a:pt x="1381007" y="2215950"/>
                      <a:pt x="1393413" y="2240777"/>
                      <a:pt x="1393413" y="2262337"/>
                    </a:cubicBezTo>
                    <a:lnTo>
                      <a:pt x="1393413" y="2464872"/>
                    </a:lnTo>
                    <a:cubicBezTo>
                      <a:pt x="1393413" y="2486432"/>
                      <a:pt x="1381007" y="2496232"/>
                      <a:pt x="1364683" y="2487085"/>
                    </a:cubicBezTo>
                    <a:lnTo>
                      <a:pt x="29383" y="1716148"/>
                    </a:lnTo>
                    <a:cubicBezTo>
                      <a:pt x="13712" y="1706348"/>
                      <a:pt x="0" y="1681521"/>
                      <a:pt x="0" y="1659961"/>
                    </a:cubicBezTo>
                    <a:lnTo>
                      <a:pt x="0" y="1456773"/>
                    </a:lnTo>
                    <a:cubicBezTo>
                      <a:pt x="0" y="1445993"/>
                      <a:pt x="3428" y="1438153"/>
                      <a:pt x="8815" y="1434152"/>
                    </a:cubicBezTo>
                    <a:close/>
                    <a:moveTo>
                      <a:pt x="8815" y="956098"/>
                    </a:moveTo>
                    <a:cubicBezTo>
                      <a:pt x="14202" y="952180"/>
                      <a:pt x="21548" y="952180"/>
                      <a:pt x="29383" y="957077"/>
                    </a:cubicBezTo>
                    <a:lnTo>
                      <a:pt x="1364683" y="1728198"/>
                    </a:lnTo>
                    <a:cubicBezTo>
                      <a:pt x="1381007" y="1737339"/>
                      <a:pt x="1393413" y="1762150"/>
                      <a:pt x="1393413" y="1783697"/>
                    </a:cubicBezTo>
                    <a:lnTo>
                      <a:pt x="1393413" y="1986761"/>
                    </a:lnTo>
                    <a:cubicBezTo>
                      <a:pt x="1393413" y="2008308"/>
                      <a:pt x="1381007" y="2018102"/>
                      <a:pt x="1364683" y="2008961"/>
                    </a:cubicBezTo>
                    <a:lnTo>
                      <a:pt x="29383" y="1237841"/>
                    </a:lnTo>
                    <a:cubicBezTo>
                      <a:pt x="13712" y="1228700"/>
                      <a:pt x="0" y="1203235"/>
                      <a:pt x="0" y="1182341"/>
                    </a:cubicBezTo>
                    <a:lnTo>
                      <a:pt x="0" y="978624"/>
                    </a:lnTo>
                    <a:cubicBezTo>
                      <a:pt x="0" y="967851"/>
                      <a:pt x="3428" y="960016"/>
                      <a:pt x="8815" y="956098"/>
                    </a:cubicBezTo>
                    <a:close/>
                    <a:moveTo>
                      <a:pt x="8815" y="480444"/>
                    </a:moveTo>
                    <a:cubicBezTo>
                      <a:pt x="14202" y="476606"/>
                      <a:pt x="21548" y="476606"/>
                      <a:pt x="29383" y="481179"/>
                    </a:cubicBezTo>
                    <a:lnTo>
                      <a:pt x="1364683" y="1252769"/>
                    </a:lnTo>
                    <a:cubicBezTo>
                      <a:pt x="1381007" y="1261916"/>
                      <a:pt x="1393413" y="1286743"/>
                      <a:pt x="1393413" y="1308303"/>
                    </a:cubicBezTo>
                    <a:lnTo>
                      <a:pt x="1393413" y="1511491"/>
                    </a:lnTo>
                    <a:cubicBezTo>
                      <a:pt x="1393413" y="1533051"/>
                      <a:pt x="1381007" y="1542851"/>
                      <a:pt x="1364683" y="1533704"/>
                    </a:cubicBezTo>
                    <a:lnTo>
                      <a:pt x="29383" y="762114"/>
                    </a:lnTo>
                    <a:cubicBezTo>
                      <a:pt x="13712" y="752314"/>
                      <a:pt x="0" y="727487"/>
                      <a:pt x="0" y="705927"/>
                    </a:cubicBezTo>
                    <a:lnTo>
                      <a:pt x="0" y="502739"/>
                    </a:lnTo>
                    <a:cubicBezTo>
                      <a:pt x="0" y="491959"/>
                      <a:pt x="3428" y="484282"/>
                      <a:pt x="8815" y="480444"/>
                    </a:cubicBezTo>
                    <a:close/>
                    <a:moveTo>
                      <a:pt x="8815" y="3043"/>
                    </a:moveTo>
                    <a:cubicBezTo>
                      <a:pt x="14202" y="-1038"/>
                      <a:pt x="21548" y="-1201"/>
                      <a:pt x="29383" y="3696"/>
                    </a:cubicBezTo>
                    <a:lnTo>
                      <a:pt x="1364683" y="774817"/>
                    </a:lnTo>
                    <a:cubicBezTo>
                      <a:pt x="1381007" y="783958"/>
                      <a:pt x="1393413" y="808769"/>
                      <a:pt x="1393413" y="830316"/>
                    </a:cubicBezTo>
                    <a:lnTo>
                      <a:pt x="1393413" y="1033380"/>
                    </a:lnTo>
                    <a:cubicBezTo>
                      <a:pt x="1393413" y="1054927"/>
                      <a:pt x="1381007" y="1064721"/>
                      <a:pt x="1364683" y="1055580"/>
                    </a:cubicBezTo>
                    <a:lnTo>
                      <a:pt x="29383" y="284460"/>
                    </a:lnTo>
                    <a:cubicBezTo>
                      <a:pt x="13712" y="274666"/>
                      <a:pt x="0" y="249854"/>
                      <a:pt x="0" y="228960"/>
                    </a:cubicBezTo>
                    <a:lnTo>
                      <a:pt x="0" y="25896"/>
                    </a:lnTo>
                    <a:cubicBezTo>
                      <a:pt x="0" y="15123"/>
                      <a:pt x="3428" y="7124"/>
                      <a:pt x="8815" y="304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156">
                <a:extLst>
                  <a:ext uri="{FF2B5EF4-FFF2-40B4-BE49-F238E27FC236}">
                    <a16:creationId xmlns:a16="http://schemas.microsoft.com/office/drawing/2014/main" id="{A38352C3-A0D8-C64F-8FD2-4069818A6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2" y="7713452"/>
                <a:ext cx="123852" cy="181460"/>
              </a:xfrm>
              <a:custGeom>
                <a:avLst/>
                <a:gdLst>
                  <a:gd name="T0" fmla="*/ 189 w 190"/>
                  <a:gd name="T1" fmla="*/ 194 h 279"/>
                  <a:gd name="T2" fmla="*/ 189 w 190"/>
                  <a:gd name="T3" fmla="*/ 194 h 279"/>
                  <a:gd name="T4" fmla="*/ 94 w 190"/>
                  <a:gd name="T5" fmla="*/ 248 h 279"/>
                  <a:gd name="T6" fmla="*/ 94 w 190"/>
                  <a:gd name="T7" fmla="*/ 248 h 279"/>
                  <a:gd name="T8" fmla="*/ 0 w 190"/>
                  <a:gd name="T9" fmla="*/ 85 h 279"/>
                  <a:gd name="T10" fmla="*/ 0 w 190"/>
                  <a:gd name="T11" fmla="*/ 85 h 279"/>
                  <a:gd name="T12" fmla="*/ 94 w 190"/>
                  <a:gd name="T13" fmla="*/ 30 h 279"/>
                  <a:gd name="T14" fmla="*/ 94 w 190"/>
                  <a:gd name="T15" fmla="*/ 30 h 279"/>
                  <a:gd name="T16" fmla="*/ 189 w 190"/>
                  <a:gd name="T17" fmla="*/ 194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4"/>
                    </a:moveTo>
                    <a:lnTo>
                      <a:pt x="189" y="194"/>
                    </a:lnTo>
                    <a:cubicBezTo>
                      <a:pt x="189" y="254"/>
                      <a:pt x="147" y="278"/>
                      <a:pt x="94" y="248"/>
                    </a:cubicBezTo>
                    <a:lnTo>
                      <a:pt x="94" y="248"/>
                    </a:lnTo>
                    <a:cubicBezTo>
                      <a:pt x="42" y="218"/>
                      <a:pt x="0" y="145"/>
                      <a:pt x="0" y="85"/>
                    </a:cubicBezTo>
                    <a:lnTo>
                      <a:pt x="0" y="85"/>
                    </a:lnTo>
                    <a:cubicBezTo>
                      <a:pt x="0" y="24"/>
                      <a:pt x="42" y="0"/>
                      <a:pt x="94" y="30"/>
                    </a:cubicBezTo>
                    <a:lnTo>
                      <a:pt x="94" y="30"/>
                    </a:lnTo>
                    <a:cubicBezTo>
                      <a:pt x="147" y="60"/>
                      <a:pt x="189" y="133"/>
                      <a:pt x="189" y="1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247">
                <a:extLst>
                  <a:ext uri="{FF2B5EF4-FFF2-40B4-BE49-F238E27FC236}">
                    <a16:creationId xmlns:a16="http://schemas.microsoft.com/office/drawing/2014/main" id="{4FA4F21A-D69C-3842-A5CE-D8FE468DE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3516" y="4285861"/>
                <a:ext cx="1246521" cy="3276857"/>
              </a:xfrm>
              <a:custGeom>
                <a:avLst/>
                <a:gdLst>
                  <a:gd name="connsiteX0" fmla="*/ 571319 w 1246521"/>
                  <a:gd name="connsiteY0" fmla="*/ 3193503 h 3276857"/>
                  <a:gd name="connsiteX1" fmla="*/ 594133 w 1246521"/>
                  <a:gd name="connsiteY1" fmla="*/ 3195571 h 3276857"/>
                  <a:gd name="connsiteX2" fmla="*/ 627257 w 1246521"/>
                  <a:gd name="connsiteY2" fmla="*/ 3253138 h 3276857"/>
                  <a:gd name="connsiteX3" fmla="*/ 594133 w 1246521"/>
                  <a:gd name="connsiteY3" fmla="*/ 3272327 h 3276857"/>
                  <a:gd name="connsiteX4" fmla="*/ 561658 w 1246521"/>
                  <a:gd name="connsiteY4" fmla="*/ 3214760 h 3276857"/>
                  <a:gd name="connsiteX5" fmla="*/ 571319 w 1246521"/>
                  <a:gd name="connsiteY5" fmla="*/ 3193503 h 3276857"/>
                  <a:gd name="connsiteX6" fmla="*/ 455957 w 1246521"/>
                  <a:gd name="connsiteY6" fmla="*/ 3127779 h 3276857"/>
                  <a:gd name="connsiteX7" fmla="*/ 479242 w 1246521"/>
                  <a:gd name="connsiteY7" fmla="*/ 3130572 h 3276857"/>
                  <a:gd name="connsiteX8" fmla="*/ 512038 w 1246521"/>
                  <a:gd name="connsiteY8" fmla="*/ 3187096 h 3276857"/>
                  <a:gd name="connsiteX9" fmla="*/ 479242 w 1246521"/>
                  <a:gd name="connsiteY9" fmla="*/ 3206156 h 3276857"/>
                  <a:gd name="connsiteX10" fmla="*/ 446446 w 1246521"/>
                  <a:gd name="connsiteY10" fmla="*/ 3149632 h 3276857"/>
                  <a:gd name="connsiteX11" fmla="*/ 455957 w 1246521"/>
                  <a:gd name="connsiteY11" fmla="*/ 3127779 h 3276857"/>
                  <a:gd name="connsiteX12" fmla="*/ 343886 w 1246521"/>
                  <a:gd name="connsiteY12" fmla="*/ 3061339 h 3276857"/>
                  <a:gd name="connsiteX13" fmla="*/ 366575 w 1246521"/>
                  <a:gd name="connsiteY13" fmla="*/ 3063738 h 3276857"/>
                  <a:gd name="connsiteX14" fmla="*/ 399698 w 1246521"/>
                  <a:gd name="connsiteY14" fmla="*/ 3121305 h 3276857"/>
                  <a:gd name="connsiteX15" fmla="*/ 366575 w 1246521"/>
                  <a:gd name="connsiteY15" fmla="*/ 3139832 h 3276857"/>
                  <a:gd name="connsiteX16" fmla="*/ 334114 w 1246521"/>
                  <a:gd name="connsiteY16" fmla="*/ 3082265 h 3276857"/>
                  <a:gd name="connsiteX17" fmla="*/ 343886 w 1246521"/>
                  <a:gd name="connsiteY17" fmla="*/ 3061339 h 3276857"/>
                  <a:gd name="connsiteX18" fmla="*/ 1148663 w 1246521"/>
                  <a:gd name="connsiteY18" fmla="*/ 3018199 h 3276857"/>
                  <a:gd name="connsiteX19" fmla="*/ 1161624 w 1246521"/>
                  <a:gd name="connsiteY19" fmla="*/ 3018687 h 3276857"/>
                  <a:gd name="connsiteX20" fmla="*/ 1228375 w 1246521"/>
                  <a:gd name="connsiteY20" fmla="*/ 3057103 h 3276857"/>
                  <a:gd name="connsiteX21" fmla="*/ 1246521 w 1246521"/>
                  <a:gd name="connsiteY21" fmla="*/ 3091611 h 3276857"/>
                  <a:gd name="connsiteX22" fmla="*/ 1246521 w 1246521"/>
                  <a:gd name="connsiteY22" fmla="*/ 3162582 h 3276857"/>
                  <a:gd name="connsiteX23" fmla="*/ 1228375 w 1246521"/>
                  <a:gd name="connsiteY23" fmla="*/ 3176255 h 3276857"/>
                  <a:gd name="connsiteX24" fmla="*/ 1161624 w 1246521"/>
                  <a:gd name="connsiteY24" fmla="*/ 3137840 h 3276857"/>
                  <a:gd name="connsiteX25" fmla="*/ 1143478 w 1246521"/>
                  <a:gd name="connsiteY25" fmla="*/ 3102680 h 3276857"/>
                  <a:gd name="connsiteX26" fmla="*/ 1143478 w 1246521"/>
                  <a:gd name="connsiteY26" fmla="*/ 3032360 h 3276857"/>
                  <a:gd name="connsiteX27" fmla="*/ 1148663 w 1246521"/>
                  <a:gd name="connsiteY27" fmla="*/ 3018199 h 3276857"/>
                  <a:gd name="connsiteX28" fmla="*/ 8174 w 1246521"/>
                  <a:gd name="connsiteY28" fmla="*/ 2863117 h 3276857"/>
                  <a:gd name="connsiteX29" fmla="*/ 28120 w 1246521"/>
                  <a:gd name="connsiteY29" fmla="*/ 2863610 h 3276857"/>
                  <a:gd name="connsiteX30" fmla="*/ 227572 w 1246521"/>
                  <a:gd name="connsiteY30" fmla="*/ 2979253 h 3276857"/>
                  <a:gd name="connsiteX31" fmla="*/ 255692 w 1246521"/>
                  <a:gd name="connsiteY31" fmla="*/ 3033790 h 3276857"/>
                  <a:gd name="connsiteX32" fmla="*/ 227572 w 1246521"/>
                  <a:gd name="connsiteY32" fmla="*/ 3055473 h 3276857"/>
                  <a:gd name="connsiteX33" fmla="*/ 28120 w 1246521"/>
                  <a:gd name="connsiteY33" fmla="*/ 2939829 h 3276857"/>
                  <a:gd name="connsiteX34" fmla="*/ 0 w 1246521"/>
                  <a:gd name="connsiteY34" fmla="*/ 2885293 h 3276857"/>
                  <a:gd name="connsiteX35" fmla="*/ 8174 w 1246521"/>
                  <a:gd name="connsiteY35" fmla="*/ 2863117 h 3276857"/>
                  <a:gd name="connsiteX36" fmla="*/ 689261 w 1246521"/>
                  <a:gd name="connsiteY36" fmla="*/ 2776382 h 3276857"/>
                  <a:gd name="connsiteX37" fmla="*/ 712545 w 1246521"/>
                  <a:gd name="connsiteY37" fmla="*/ 2779175 h 3276857"/>
                  <a:gd name="connsiteX38" fmla="*/ 745340 w 1246521"/>
                  <a:gd name="connsiteY38" fmla="*/ 2835698 h 3276857"/>
                  <a:gd name="connsiteX39" fmla="*/ 712545 w 1246521"/>
                  <a:gd name="connsiteY39" fmla="*/ 2854759 h 3276857"/>
                  <a:gd name="connsiteX40" fmla="*/ 679750 w 1246521"/>
                  <a:gd name="connsiteY40" fmla="*/ 2798235 h 3276857"/>
                  <a:gd name="connsiteX41" fmla="*/ 689261 w 1246521"/>
                  <a:gd name="connsiteY41" fmla="*/ 2776382 h 3276857"/>
                  <a:gd name="connsiteX42" fmla="*/ 571319 w 1246521"/>
                  <a:gd name="connsiteY42" fmla="*/ 2709943 h 3276857"/>
                  <a:gd name="connsiteX43" fmla="*/ 594133 w 1246521"/>
                  <a:gd name="connsiteY43" fmla="*/ 2712342 h 3276857"/>
                  <a:gd name="connsiteX44" fmla="*/ 627257 w 1246521"/>
                  <a:gd name="connsiteY44" fmla="*/ 2769247 h 3276857"/>
                  <a:gd name="connsiteX45" fmla="*/ 594133 w 1246521"/>
                  <a:gd name="connsiteY45" fmla="*/ 2788436 h 3276857"/>
                  <a:gd name="connsiteX46" fmla="*/ 561658 w 1246521"/>
                  <a:gd name="connsiteY46" fmla="*/ 2730869 h 3276857"/>
                  <a:gd name="connsiteX47" fmla="*/ 571319 w 1246521"/>
                  <a:gd name="connsiteY47" fmla="*/ 2709943 h 3276857"/>
                  <a:gd name="connsiteX48" fmla="*/ 455957 w 1246521"/>
                  <a:gd name="connsiteY48" fmla="*/ 2643449 h 3276857"/>
                  <a:gd name="connsiteX49" fmla="*/ 479242 w 1246521"/>
                  <a:gd name="connsiteY49" fmla="*/ 2645434 h 3276857"/>
                  <a:gd name="connsiteX50" fmla="*/ 512038 w 1246521"/>
                  <a:gd name="connsiteY50" fmla="*/ 2703001 h 3276857"/>
                  <a:gd name="connsiteX51" fmla="*/ 479242 w 1246521"/>
                  <a:gd name="connsiteY51" fmla="*/ 2722190 h 3276857"/>
                  <a:gd name="connsiteX52" fmla="*/ 446446 w 1246521"/>
                  <a:gd name="connsiteY52" fmla="*/ 2665285 h 3276857"/>
                  <a:gd name="connsiteX53" fmla="*/ 455957 w 1246521"/>
                  <a:gd name="connsiteY53" fmla="*/ 2643449 h 3276857"/>
                  <a:gd name="connsiteX54" fmla="*/ 343886 w 1246521"/>
                  <a:gd name="connsiteY54" fmla="*/ 2577449 h 3276857"/>
                  <a:gd name="connsiteX55" fmla="*/ 366575 w 1246521"/>
                  <a:gd name="connsiteY55" fmla="*/ 2579848 h 3276857"/>
                  <a:gd name="connsiteX56" fmla="*/ 399698 w 1246521"/>
                  <a:gd name="connsiteY56" fmla="*/ 2637415 h 3276857"/>
                  <a:gd name="connsiteX57" fmla="*/ 366575 w 1246521"/>
                  <a:gd name="connsiteY57" fmla="*/ 2656604 h 3276857"/>
                  <a:gd name="connsiteX58" fmla="*/ 334114 w 1246521"/>
                  <a:gd name="connsiteY58" fmla="*/ 2598375 h 3276857"/>
                  <a:gd name="connsiteX59" fmla="*/ 343886 w 1246521"/>
                  <a:gd name="connsiteY59" fmla="*/ 2577449 h 3276857"/>
                  <a:gd name="connsiteX60" fmla="*/ 1148663 w 1246521"/>
                  <a:gd name="connsiteY60" fmla="*/ 2540313 h 3276857"/>
                  <a:gd name="connsiteX61" fmla="*/ 1161624 w 1246521"/>
                  <a:gd name="connsiteY61" fmla="*/ 2540557 h 3276857"/>
                  <a:gd name="connsiteX62" fmla="*/ 1228375 w 1246521"/>
                  <a:gd name="connsiteY62" fmla="*/ 2578973 h 3276857"/>
                  <a:gd name="connsiteX63" fmla="*/ 1246521 w 1246521"/>
                  <a:gd name="connsiteY63" fmla="*/ 2613481 h 3276857"/>
                  <a:gd name="connsiteX64" fmla="*/ 1246521 w 1246521"/>
                  <a:gd name="connsiteY64" fmla="*/ 2685103 h 3276857"/>
                  <a:gd name="connsiteX65" fmla="*/ 1228375 w 1246521"/>
                  <a:gd name="connsiteY65" fmla="*/ 2698125 h 3276857"/>
                  <a:gd name="connsiteX66" fmla="*/ 1161624 w 1246521"/>
                  <a:gd name="connsiteY66" fmla="*/ 2659710 h 3276857"/>
                  <a:gd name="connsiteX67" fmla="*/ 1143478 w 1246521"/>
                  <a:gd name="connsiteY67" fmla="*/ 2625201 h 3276857"/>
                  <a:gd name="connsiteX68" fmla="*/ 1143478 w 1246521"/>
                  <a:gd name="connsiteY68" fmla="*/ 2554230 h 3276857"/>
                  <a:gd name="connsiteX69" fmla="*/ 1148663 w 1246521"/>
                  <a:gd name="connsiteY69" fmla="*/ 2540313 h 3276857"/>
                  <a:gd name="connsiteX70" fmla="*/ 8174 w 1246521"/>
                  <a:gd name="connsiteY70" fmla="*/ 2384576 h 3276857"/>
                  <a:gd name="connsiteX71" fmla="*/ 28120 w 1246521"/>
                  <a:gd name="connsiteY71" fmla="*/ 2384823 h 3276857"/>
                  <a:gd name="connsiteX72" fmla="*/ 227572 w 1246521"/>
                  <a:gd name="connsiteY72" fmla="*/ 2500466 h 3276857"/>
                  <a:gd name="connsiteX73" fmla="*/ 255692 w 1246521"/>
                  <a:gd name="connsiteY73" fmla="*/ 2555003 h 3276857"/>
                  <a:gd name="connsiteX74" fmla="*/ 227572 w 1246521"/>
                  <a:gd name="connsiteY74" fmla="*/ 2576686 h 3276857"/>
                  <a:gd name="connsiteX75" fmla="*/ 28120 w 1246521"/>
                  <a:gd name="connsiteY75" fmla="*/ 2461042 h 3276857"/>
                  <a:gd name="connsiteX76" fmla="*/ 0 w 1246521"/>
                  <a:gd name="connsiteY76" fmla="*/ 2406506 h 3276857"/>
                  <a:gd name="connsiteX77" fmla="*/ 8174 w 1246521"/>
                  <a:gd name="connsiteY77" fmla="*/ 2384576 h 3276857"/>
                  <a:gd name="connsiteX78" fmla="*/ 689261 w 1246521"/>
                  <a:gd name="connsiteY78" fmla="*/ 2300940 h 3276857"/>
                  <a:gd name="connsiteX79" fmla="*/ 712545 w 1246521"/>
                  <a:gd name="connsiteY79" fmla="*/ 2303339 h 3276857"/>
                  <a:gd name="connsiteX80" fmla="*/ 745340 w 1246521"/>
                  <a:gd name="connsiteY80" fmla="*/ 2360906 h 3276857"/>
                  <a:gd name="connsiteX81" fmla="*/ 712545 w 1246521"/>
                  <a:gd name="connsiteY81" fmla="*/ 2379433 h 3276857"/>
                  <a:gd name="connsiteX82" fmla="*/ 679750 w 1246521"/>
                  <a:gd name="connsiteY82" fmla="*/ 2321866 h 3276857"/>
                  <a:gd name="connsiteX83" fmla="*/ 689261 w 1246521"/>
                  <a:gd name="connsiteY83" fmla="*/ 2300940 h 3276857"/>
                  <a:gd name="connsiteX84" fmla="*/ 571319 w 1246521"/>
                  <a:gd name="connsiteY84" fmla="*/ 2234529 h 3276857"/>
                  <a:gd name="connsiteX85" fmla="*/ 594133 w 1246521"/>
                  <a:gd name="connsiteY85" fmla="*/ 2237093 h 3276857"/>
                  <a:gd name="connsiteX86" fmla="*/ 627257 w 1246521"/>
                  <a:gd name="connsiteY86" fmla="*/ 2293998 h 3276857"/>
                  <a:gd name="connsiteX87" fmla="*/ 594133 w 1246521"/>
                  <a:gd name="connsiteY87" fmla="*/ 2313187 h 3276857"/>
                  <a:gd name="connsiteX88" fmla="*/ 561658 w 1246521"/>
                  <a:gd name="connsiteY88" fmla="*/ 2256282 h 3276857"/>
                  <a:gd name="connsiteX89" fmla="*/ 571319 w 1246521"/>
                  <a:gd name="connsiteY89" fmla="*/ 2234529 h 3276857"/>
                  <a:gd name="connsiteX90" fmla="*/ 455957 w 1246521"/>
                  <a:gd name="connsiteY90" fmla="*/ 2168339 h 3276857"/>
                  <a:gd name="connsiteX91" fmla="*/ 479242 w 1246521"/>
                  <a:gd name="connsiteY91" fmla="*/ 2170602 h 3276857"/>
                  <a:gd name="connsiteX92" fmla="*/ 512038 w 1246521"/>
                  <a:gd name="connsiteY92" fmla="*/ 2225564 h 3276857"/>
                  <a:gd name="connsiteX93" fmla="*/ 479242 w 1246521"/>
                  <a:gd name="connsiteY93" fmla="*/ 2244962 h 3276857"/>
                  <a:gd name="connsiteX94" fmla="*/ 446446 w 1246521"/>
                  <a:gd name="connsiteY94" fmla="*/ 2189354 h 3276857"/>
                  <a:gd name="connsiteX95" fmla="*/ 455957 w 1246521"/>
                  <a:gd name="connsiteY95" fmla="*/ 2168339 h 3276857"/>
                  <a:gd name="connsiteX96" fmla="*/ 343886 w 1246521"/>
                  <a:gd name="connsiteY96" fmla="*/ 2102283 h 3276857"/>
                  <a:gd name="connsiteX97" fmla="*/ 366575 w 1246521"/>
                  <a:gd name="connsiteY97" fmla="*/ 2104599 h 3276857"/>
                  <a:gd name="connsiteX98" fmla="*/ 399698 w 1246521"/>
                  <a:gd name="connsiteY98" fmla="*/ 2162166 h 3276857"/>
                  <a:gd name="connsiteX99" fmla="*/ 366575 w 1246521"/>
                  <a:gd name="connsiteY99" fmla="*/ 2180693 h 3276857"/>
                  <a:gd name="connsiteX100" fmla="*/ 334114 w 1246521"/>
                  <a:gd name="connsiteY100" fmla="*/ 2123788 h 3276857"/>
                  <a:gd name="connsiteX101" fmla="*/ 343886 w 1246521"/>
                  <a:gd name="connsiteY101" fmla="*/ 2102283 h 3276857"/>
                  <a:gd name="connsiteX102" fmla="*/ 1148663 w 1246521"/>
                  <a:gd name="connsiteY102" fmla="*/ 2065085 h 3276857"/>
                  <a:gd name="connsiteX103" fmla="*/ 1161624 w 1246521"/>
                  <a:gd name="connsiteY103" fmla="*/ 2065330 h 3276857"/>
                  <a:gd name="connsiteX104" fmla="*/ 1228375 w 1246521"/>
                  <a:gd name="connsiteY104" fmla="*/ 2103892 h 3276857"/>
                  <a:gd name="connsiteX105" fmla="*/ 1246521 w 1246521"/>
                  <a:gd name="connsiteY105" fmla="*/ 2139187 h 3276857"/>
                  <a:gd name="connsiteX106" fmla="*/ 1246521 w 1246521"/>
                  <a:gd name="connsiteY106" fmla="*/ 2209776 h 3276857"/>
                  <a:gd name="connsiteX107" fmla="*/ 1228375 w 1246521"/>
                  <a:gd name="connsiteY107" fmla="*/ 2223502 h 3276857"/>
                  <a:gd name="connsiteX108" fmla="*/ 1161624 w 1246521"/>
                  <a:gd name="connsiteY108" fmla="*/ 2184939 h 3276857"/>
                  <a:gd name="connsiteX109" fmla="*/ 1143478 w 1246521"/>
                  <a:gd name="connsiteY109" fmla="*/ 2150298 h 3276857"/>
                  <a:gd name="connsiteX110" fmla="*/ 1143478 w 1246521"/>
                  <a:gd name="connsiteY110" fmla="*/ 2079055 h 3276857"/>
                  <a:gd name="connsiteX111" fmla="*/ 1148663 w 1246521"/>
                  <a:gd name="connsiteY111" fmla="*/ 2065085 h 3276857"/>
                  <a:gd name="connsiteX112" fmla="*/ 8174 w 1246521"/>
                  <a:gd name="connsiteY112" fmla="*/ 1909324 h 3276857"/>
                  <a:gd name="connsiteX113" fmla="*/ 28120 w 1246521"/>
                  <a:gd name="connsiteY113" fmla="*/ 1909571 h 3276857"/>
                  <a:gd name="connsiteX114" fmla="*/ 227572 w 1246521"/>
                  <a:gd name="connsiteY114" fmla="*/ 2025872 h 3276857"/>
                  <a:gd name="connsiteX115" fmla="*/ 255692 w 1246521"/>
                  <a:gd name="connsiteY115" fmla="*/ 2080409 h 3276857"/>
                  <a:gd name="connsiteX116" fmla="*/ 227572 w 1246521"/>
                  <a:gd name="connsiteY116" fmla="*/ 2101436 h 3276857"/>
                  <a:gd name="connsiteX117" fmla="*/ 28120 w 1246521"/>
                  <a:gd name="connsiteY117" fmla="*/ 1985791 h 3276857"/>
                  <a:gd name="connsiteX118" fmla="*/ 0 w 1246521"/>
                  <a:gd name="connsiteY118" fmla="*/ 1931254 h 3276857"/>
                  <a:gd name="connsiteX119" fmla="*/ 8174 w 1246521"/>
                  <a:gd name="connsiteY119" fmla="*/ 1909324 h 3276857"/>
                  <a:gd name="connsiteX120" fmla="*/ 689261 w 1246521"/>
                  <a:gd name="connsiteY120" fmla="*/ 1825691 h 3276857"/>
                  <a:gd name="connsiteX121" fmla="*/ 712545 w 1246521"/>
                  <a:gd name="connsiteY121" fmla="*/ 1828090 h 3276857"/>
                  <a:gd name="connsiteX122" fmla="*/ 745340 w 1246521"/>
                  <a:gd name="connsiteY122" fmla="*/ 1885657 h 3276857"/>
                  <a:gd name="connsiteX123" fmla="*/ 712545 w 1246521"/>
                  <a:gd name="connsiteY123" fmla="*/ 1904184 h 3276857"/>
                  <a:gd name="connsiteX124" fmla="*/ 679750 w 1246521"/>
                  <a:gd name="connsiteY124" fmla="*/ 1846617 h 3276857"/>
                  <a:gd name="connsiteX125" fmla="*/ 689261 w 1246521"/>
                  <a:gd name="connsiteY125" fmla="*/ 1825691 h 3276857"/>
                  <a:gd name="connsiteX126" fmla="*/ 571319 w 1246521"/>
                  <a:gd name="connsiteY126" fmla="*/ 1759470 h 3276857"/>
                  <a:gd name="connsiteX127" fmla="*/ 594133 w 1246521"/>
                  <a:gd name="connsiteY127" fmla="*/ 1761771 h 3276857"/>
                  <a:gd name="connsiteX128" fmla="*/ 627257 w 1246521"/>
                  <a:gd name="connsiteY128" fmla="*/ 1818294 h 3276857"/>
                  <a:gd name="connsiteX129" fmla="*/ 594133 w 1246521"/>
                  <a:gd name="connsiteY129" fmla="*/ 1838012 h 3276857"/>
                  <a:gd name="connsiteX130" fmla="*/ 561658 w 1246521"/>
                  <a:gd name="connsiteY130" fmla="*/ 1780831 h 3276857"/>
                  <a:gd name="connsiteX131" fmla="*/ 571319 w 1246521"/>
                  <a:gd name="connsiteY131" fmla="*/ 1759470 h 3276857"/>
                  <a:gd name="connsiteX132" fmla="*/ 455957 w 1246521"/>
                  <a:gd name="connsiteY132" fmla="*/ 1690316 h 3276857"/>
                  <a:gd name="connsiteX133" fmla="*/ 479242 w 1246521"/>
                  <a:gd name="connsiteY133" fmla="*/ 1692715 h 3276857"/>
                  <a:gd name="connsiteX134" fmla="*/ 512038 w 1246521"/>
                  <a:gd name="connsiteY134" fmla="*/ 1750282 h 3276857"/>
                  <a:gd name="connsiteX135" fmla="*/ 479242 w 1246521"/>
                  <a:gd name="connsiteY135" fmla="*/ 1769471 h 3276857"/>
                  <a:gd name="connsiteX136" fmla="*/ 446446 w 1246521"/>
                  <a:gd name="connsiteY136" fmla="*/ 1711242 h 3276857"/>
                  <a:gd name="connsiteX137" fmla="*/ 455957 w 1246521"/>
                  <a:gd name="connsiteY137" fmla="*/ 1690316 h 3276857"/>
                  <a:gd name="connsiteX138" fmla="*/ 343886 w 1246521"/>
                  <a:gd name="connsiteY138" fmla="*/ 1624096 h 3276857"/>
                  <a:gd name="connsiteX139" fmla="*/ 366575 w 1246521"/>
                  <a:gd name="connsiteY139" fmla="*/ 1626397 h 3276857"/>
                  <a:gd name="connsiteX140" fmla="*/ 399698 w 1246521"/>
                  <a:gd name="connsiteY140" fmla="*/ 1683577 h 3276857"/>
                  <a:gd name="connsiteX141" fmla="*/ 366575 w 1246521"/>
                  <a:gd name="connsiteY141" fmla="*/ 1701980 h 3276857"/>
                  <a:gd name="connsiteX142" fmla="*/ 334114 w 1246521"/>
                  <a:gd name="connsiteY142" fmla="*/ 1645457 h 3276857"/>
                  <a:gd name="connsiteX143" fmla="*/ 343886 w 1246521"/>
                  <a:gd name="connsiteY143" fmla="*/ 1624096 h 3276857"/>
                  <a:gd name="connsiteX144" fmla="*/ 1148663 w 1246521"/>
                  <a:gd name="connsiteY144" fmla="*/ 1589813 h 3276857"/>
                  <a:gd name="connsiteX145" fmla="*/ 1161624 w 1246521"/>
                  <a:gd name="connsiteY145" fmla="*/ 1590057 h 3276857"/>
                  <a:gd name="connsiteX146" fmla="*/ 1228375 w 1246521"/>
                  <a:gd name="connsiteY146" fmla="*/ 1629124 h 3276857"/>
                  <a:gd name="connsiteX147" fmla="*/ 1246521 w 1246521"/>
                  <a:gd name="connsiteY147" fmla="*/ 1663632 h 3276857"/>
                  <a:gd name="connsiteX148" fmla="*/ 1246521 w 1246521"/>
                  <a:gd name="connsiteY148" fmla="*/ 1733952 h 3276857"/>
                  <a:gd name="connsiteX149" fmla="*/ 1228375 w 1246521"/>
                  <a:gd name="connsiteY149" fmla="*/ 1747625 h 3276857"/>
                  <a:gd name="connsiteX150" fmla="*/ 1161624 w 1246521"/>
                  <a:gd name="connsiteY150" fmla="*/ 1709210 h 3276857"/>
                  <a:gd name="connsiteX151" fmla="*/ 1143478 w 1246521"/>
                  <a:gd name="connsiteY151" fmla="*/ 1674701 h 3276857"/>
                  <a:gd name="connsiteX152" fmla="*/ 1143478 w 1246521"/>
                  <a:gd name="connsiteY152" fmla="*/ 1603730 h 3276857"/>
                  <a:gd name="connsiteX153" fmla="*/ 1148663 w 1246521"/>
                  <a:gd name="connsiteY153" fmla="*/ 1589813 h 3276857"/>
                  <a:gd name="connsiteX154" fmla="*/ 8174 w 1246521"/>
                  <a:gd name="connsiteY154" fmla="*/ 1431578 h 3276857"/>
                  <a:gd name="connsiteX155" fmla="*/ 28120 w 1246521"/>
                  <a:gd name="connsiteY155" fmla="*/ 1432069 h 3276857"/>
                  <a:gd name="connsiteX156" fmla="*/ 227572 w 1246521"/>
                  <a:gd name="connsiteY156" fmla="*/ 1548009 h 3276857"/>
                  <a:gd name="connsiteX157" fmla="*/ 255692 w 1246521"/>
                  <a:gd name="connsiteY157" fmla="*/ 1602376 h 3276857"/>
                  <a:gd name="connsiteX158" fmla="*/ 227572 w 1246521"/>
                  <a:gd name="connsiteY158" fmla="*/ 1623336 h 3276857"/>
                  <a:gd name="connsiteX159" fmla="*/ 28120 w 1246521"/>
                  <a:gd name="connsiteY159" fmla="*/ 1508052 h 3276857"/>
                  <a:gd name="connsiteX160" fmla="*/ 0 w 1246521"/>
                  <a:gd name="connsiteY160" fmla="*/ 1453685 h 3276857"/>
                  <a:gd name="connsiteX161" fmla="*/ 8174 w 1246521"/>
                  <a:gd name="connsiteY161" fmla="*/ 1431578 h 3276857"/>
                  <a:gd name="connsiteX162" fmla="*/ 689261 w 1246521"/>
                  <a:gd name="connsiteY162" fmla="*/ 1347587 h 3276857"/>
                  <a:gd name="connsiteX163" fmla="*/ 712545 w 1246521"/>
                  <a:gd name="connsiteY163" fmla="*/ 1349888 h 3276857"/>
                  <a:gd name="connsiteX164" fmla="*/ 745340 w 1246521"/>
                  <a:gd name="connsiteY164" fmla="*/ 1406411 h 3276857"/>
                  <a:gd name="connsiteX165" fmla="*/ 712545 w 1246521"/>
                  <a:gd name="connsiteY165" fmla="*/ 1425471 h 3276857"/>
                  <a:gd name="connsiteX166" fmla="*/ 679750 w 1246521"/>
                  <a:gd name="connsiteY166" fmla="*/ 1368948 h 3276857"/>
                  <a:gd name="connsiteX167" fmla="*/ 689261 w 1246521"/>
                  <a:gd name="connsiteY167" fmla="*/ 1347587 h 3276857"/>
                  <a:gd name="connsiteX168" fmla="*/ 571319 w 1246521"/>
                  <a:gd name="connsiteY168" fmla="*/ 1281340 h 3276857"/>
                  <a:gd name="connsiteX169" fmla="*/ 594133 w 1246521"/>
                  <a:gd name="connsiteY169" fmla="*/ 1283641 h 3276857"/>
                  <a:gd name="connsiteX170" fmla="*/ 627257 w 1246521"/>
                  <a:gd name="connsiteY170" fmla="*/ 1340821 h 3276857"/>
                  <a:gd name="connsiteX171" fmla="*/ 594133 w 1246521"/>
                  <a:gd name="connsiteY171" fmla="*/ 1359882 h 3276857"/>
                  <a:gd name="connsiteX172" fmla="*/ 561658 w 1246521"/>
                  <a:gd name="connsiteY172" fmla="*/ 1302701 h 3276857"/>
                  <a:gd name="connsiteX173" fmla="*/ 571319 w 1246521"/>
                  <a:gd name="connsiteY173" fmla="*/ 1281340 h 3276857"/>
                  <a:gd name="connsiteX174" fmla="*/ 455957 w 1246521"/>
                  <a:gd name="connsiteY174" fmla="*/ 1215094 h 3276857"/>
                  <a:gd name="connsiteX175" fmla="*/ 479242 w 1246521"/>
                  <a:gd name="connsiteY175" fmla="*/ 1217395 h 3276857"/>
                  <a:gd name="connsiteX176" fmla="*/ 512038 w 1246521"/>
                  <a:gd name="connsiteY176" fmla="*/ 1274575 h 3276857"/>
                  <a:gd name="connsiteX177" fmla="*/ 479242 w 1246521"/>
                  <a:gd name="connsiteY177" fmla="*/ 1293636 h 3276857"/>
                  <a:gd name="connsiteX178" fmla="*/ 446446 w 1246521"/>
                  <a:gd name="connsiteY178" fmla="*/ 1236455 h 3276857"/>
                  <a:gd name="connsiteX179" fmla="*/ 455957 w 1246521"/>
                  <a:gd name="connsiteY179" fmla="*/ 1215094 h 3276857"/>
                  <a:gd name="connsiteX180" fmla="*/ 343886 w 1246521"/>
                  <a:gd name="connsiteY180" fmla="*/ 1148846 h 3276857"/>
                  <a:gd name="connsiteX181" fmla="*/ 366575 w 1246521"/>
                  <a:gd name="connsiteY181" fmla="*/ 1151147 h 3276857"/>
                  <a:gd name="connsiteX182" fmla="*/ 399698 w 1246521"/>
                  <a:gd name="connsiteY182" fmla="*/ 1208327 h 3276857"/>
                  <a:gd name="connsiteX183" fmla="*/ 366575 w 1246521"/>
                  <a:gd name="connsiteY183" fmla="*/ 1227388 h 3276857"/>
                  <a:gd name="connsiteX184" fmla="*/ 334114 w 1246521"/>
                  <a:gd name="connsiteY184" fmla="*/ 1170207 h 3276857"/>
                  <a:gd name="connsiteX185" fmla="*/ 343886 w 1246521"/>
                  <a:gd name="connsiteY185" fmla="*/ 1148846 h 3276857"/>
                  <a:gd name="connsiteX186" fmla="*/ 1161624 w 1246521"/>
                  <a:gd name="connsiteY186" fmla="*/ 1111276 h 3276857"/>
                  <a:gd name="connsiteX187" fmla="*/ 1228375 w 1246521"/>
                  <a:gd name="connsiteY187" fmla="*/ 1150343 h 3276857"/>
                  <a:gd name="connsiteX188" fmla="*/ 1246521 w 1246521"/>
                  <a:gd name="connsiteY188" fmla="*/ 1184851 h 3276857"/>
                  <a:gd name="connsiteX189" fmla="*/ 1246521 w 1246521"/>
                  <a:gd name="connsiteY189" fmla="*/ 1255822 h 3276857"/>
                  <a:gd name="connsiteX190" fmla="*/ 1228375 w 1246521"/>
                  <a:gd name="connsiteY190" fmla="*/ 1268844 h 3276857"/>
                  <a:gd name="connsiteX191" fmla="*/ 1161624 w 1246521"/>
                  <a:gd name="connsiteY191" fmla="*/ 1230429 h 3276857"/>
                  <a:gd name="connsiteX192" fmla="*/ 1143478 w 1246521"/>
                  <a:gd name="connsiteY192" fmla="*/ 1195920 h 3276857"/>
                  <a:gd name="connsiteX193" fmla="*/ 1143478 w 1246521"/>
                  <a:gd name="connsiteY193" fmla="*/ 1125600 h 3276857"/>
                  <a:gd name="connsiteX194" fmla="*/ 1161624 w 1246521"/>
                  <a:gd name="connsiteY194" fmla="*/ 1111276 h 3276857"/>
                  <a:gd name="connsiteX195" fmla="*/ 8174 w 1246521"/>
                  <a:gd name="connsiteY195" fmla="*/ 956193 h 3276857"/>
                  <a:gd name="connsiteX196" fmla="*/ 28120 w 1246521"/>
                  <a:gd name="connsiteY196" fmla="*/ 956193 h 3276857"/>
                  <a:gd name="connsiteX197" fmla="*/ 227572 w 1246521"/>
                  <a:gd name="connsiteY197" fmla="*/ 1072493 h 3276857"/>
                  <a:gd name="connsiteX198" fmla="*/ 255692 w 1246521"/>
                  <a:gd name="connsiteY198" fmla="*/ 1126373 h 3276857"/>
                  <a:gd name="connsiteX199" fmla="*/ 227572 w 1246521"/>
                  <a:gd name="connsiteY199" fmla="*/ 1148056 h 3276857"/>
                  <a:gd name="connsiteX200" fmla="*/ 28120 w 1246521"/>
                  <a:gd name="connsiteY200" fmla="*/ 1032412 h 3276857"/>
                  <a:gd name="connsiteX201" fmla="*/ 0 w 1246521"/>
                  <a:gd name="connsiteY201" fmla="*/ 977876 h 3276857"/>
                  <a:gd name="connsiteX202" fmla="*/ 8174 w 1246521"/>
                  <a:gd name="connsiteY202" fmla="*/ 956193 h 3276857"/>
                  <a:gd name="connsiteX203" fmla="*/ 689261 w 1246521"/>
                  <a:gd name="connsiteY203" fmla="*/ 872337 h 3276857"/>
                  <a:gd name="connsiteX204" fmla="*/ 712545 w 1246521"/>
                  <a:gd name="connsiteY204" fmla="*/ 874638 h 3276857"/>
                  <a:gd name="connsiteX205" fmla="*/ 745340 w 1246521"/>
                  <a:gd name="connsiteY205" fmla="*/ 931818 h 3276857"/>
                  <a:gd name="connsiteX206" fmla="*/ 712545 w 1246521"/>
                  <a:gd name="connsiteY206" fmla="*/ 950879 h 3276857"/>
                  <a:gd name="connsiteX207" fmla="*/ 679750 w 1246521"/>
                  <a:gd name="connsiteY207" fmla="*/ 893698 h 3276857"/>
                  <a:gd name="connsiteX208" fmla="*/ 689261 w 1246521"/>
                  <a:gd name="connsiteY208" fmla="*/ 872337 h 3276857"/>
                  <a:gd name="connsiteX209" fmla="*/ 571319 w 1246521"/>
                  <a:gd name="connsiteY209" fmla="*/ 806147 h 3276857"/>
                  <a:gd name="connsiteX210" fmla="*/ 594133 w 1246521"/>
                  <a:gd name="connsiteY210" fmla="*/ 808463 h 3276857"/>
                  <a:gd name="connsiteX211" fmla="*/ 627257 w 1246521"/>
                  <a:gd name="connsiteY211" fmla="*/ 866030 h 3276857"/>
                  <a:gd name="connsiteX212" fmla="*/ 594133 w 1246521"/>
                  <a:gd name="connsiteY212" fmla="*/ 885219 h 3276857"/>
                  <a:gd name="connsiteX213" fmla="*/ 561658 w 1246521"/>
                  <a:gd name="connsiteY213" fmla="*/ 827652 h 3276857"/>
                  <a:gd name="connsiteX214" fmla="*/ 571319 w 1246521"/>
                  <a:gd name="connsiteY214" fmla="*/ 806147 h 3276857"/>
                  <a:gd name="connsiteX215" fmla="*/ 455957 w 1246521"/>
                  <a:gd name="connsiteY215" fmla="*/ 739485 h 3276857"/>
                  <a:gd name="connsiteX216" fmla="*/ 479242 w 1246521"/>
                  <a:gd name="connsiteY216" fmla="*/ 741553 h 3276857"/>
                  <a:gd name="connsiteX217" fmla="*/ 512038 w 1246521"/>
                  <a:gd name="connsiteY217" fmla="*/ 799120 h 3276857"/>
                  <a:gd name="connsiteX218" fmla="*/ 479242 w 1246521"/>
                  <a:gd name="connsiteY218" fmla="*/ 818309 h 3276857"/>
                  <a:gd name="connsiteX219" fmla="*/ 446446 w 1246521"/>
                  <a:gd name="connsiteY219" fmla="*/ 760742 h 3276857"/>
                  <a:gd name="connsiteX220" fmla="*/ 455957 w 1246521"/>
                  <a:gd name="connsiteY220" fmla="*/ 739485 h 3276857"/>
                  <a:gd name="connsiteX221" fmla="*/ 343886 w 1246521"/>
                  <a:gd name="connsiteY221" fmla="*/ 670715 h 3276857"/>
                  <a:gd name="connsiteX222" fmla="*/ 366575 w 1246521"/>
                  <a:gd name="connsiteY222" fmla="*/ 673016 h 3276857"/>
                  <a:gd name="connsiteX223" fmla="*/ 399698 w 1246521"/>
                  <a:gd name="connsiteY223" fmla="*/ 730196 h 3276857"/>
                  <a:gd name="connsiteX224" fmla="*/ 366575 w 1246521"/>
                  <a:gd name="connsiteY224" fmla="*/ 749257 h 3276857"/>
                  <a:gd name="connsiteX225" fmla="*/ 334114 w 1246521"/>
                  <a:gd name="connsiteY225" fmla="*/ 692076 h 3276857"/>
                  <a:gd name="connsiteX226" fmla="*/ 343886 w 1246521"/>
                  <a:gd name="connsiteY226" fmla="*/ 670715 h 3276857"/>
                  <a:gd name="connsiteX227" fmla="*/ 1161624 w 1246521"/>
                  <a:gd name="connsiteY227" fmla="*/ 636026 h 3276857"/>
                  <a:gd name="connsiteX228" fmla="*/ 1228375 w 1246521"/>
                  <a:gd name="connsiteY228" fmla="*/ 675092 h 3276857"/>
                  <a:gd name="connsiteX229" fmla="*/ 1246521 w 1246521"/>
                  <a:gd name="connsiteY229" fmla="*/ 709600 h 3276857"/>
                  <a:gd name="connsiteX230" fmla="*/ 1246521 w 1246521"/>
                  <a:gd name="connsiteY230" fmla="*/ 780570 h 3276857"/>
                  <a:gd name="connsiteX231" fmla="*/ 1228375 w 1246521"/>
                  <a:gd name="connsiteY231" fmla="*/ 794243 h 3276857"/>
                  <a:gd name="connsiteX232" fmla="*/ 1161624 w 1246521"/>
                  <a:gd name="connsiteY232" fmla="*/ 755828 h 3276857"/>
                  <a:gd name="connsiteX233" fmla="*/ 1143478 w 1246521"/>
                  <a:gd name="connsiteY233" fmla="*/ 720669 h 3276857"/>
                  <a:gd name="connsiteX234" fmla="*/ 1143478 w 1246521"/>
                  <a:gd name="connsiteY234" fmla="*/ 650350 h 3276857"/>
                  <a:gd name="connsiteX235" fmla="*/ 1161624 w 1246521"/>
                  <a:gd name="connsiteY235" fmla="*/ 636026 h 3276857"/>
                  <a:gd name="connsiteX236" fmla="*/ 8174 w 1246521"/>
                  <a:gd name="connsiteY236" fmla="*/ 478145 h 3276857"/>
                  <a:gd name="connsiteX237" fmla="*/ 28120 w 1246521"/>
                  <a:gd name="connsiteY237" fmla="*/ 478720 h 3276857"/>
                  <a:gd name="connsiteX238" fmla="*/ 227572 w 1246521"/>
                  <a:gd name="connsiteY238" fmla="*/ 594363 h 3276857"/>
                  <a:gd name="connsiteX239" fmla="*/ 255692 w 1246521"/>
                  <a:gd name="connsiteY239" fmla="*/ 648900 h 3276857"/>
                  <a:gd name="connsiteX240" fmla="*/ 227572 w 1246521"/>
                  <a:gd name="connsiteY240" fmla="*/ 670583 h 3276857"/>
                  <a:gd name="connsiteX241" fmla="*/ 28120 w 1246521"/>
                  <a:gd name="connsiteY241" fmla="*/ 554282 h 3276857"/>
                  <a:gd name="connsiteX242" fmla="*/ 0 w 1246521"/>
                  <a:gd name="connsiteY242" fmla="*/ 499746 h 3276857"/>
                  <a:gd name="connsiteX243" fmla="*/ 8174 w 1246521"/>
                  <a:gd name="connsiteY243" fmla="*/ 478145 h 3276857"/>
                  <a:gd name="connsiteX244" fmla="*/ 689261 w 1246521"/>
                  <a:gd name="connsiteY244" fmla="*/ 394206 h 3276857"/>
                  <a:gd name="connsiteX245" fmla="*/ 712545 w 1246521"/>
                  <a:gd name="connsiteY245" fmla="*/ 396507 h 3276857"/>
                  <a:gd name="connsiteX246" fmla="*/ 745340 w 1246521"/>
                  <a:gd name="connsiteY246" fmla="*/ 453687 h 3276857"/>
                  <a:gd name="connsiteX247" fmla="*/ 712545 w 1246521"/>
                  <a:gd name="connsiteY247" fmla="*/ 472748 h 3276857"/>
                  <a:gd name="connsiteX248" fmla="*/ 679750 w 1246521"/>
                  <a:gd name="connsiteY248" fmla="*/ 415567 h 3276857"/>
                  <a:gd name="connsiteX249" fmla="*/ 689261 w 1246521"/>
                  <a:gd name="connsiteY249" fmla="*/ 394206 h 3276857"/>
                  <a:gd name="connsiteX250" fmla="*/ 571319 w 1246521"/>
                  <a:gd name="connsiteY250" fmla="*/ 327602 h 3276857"/>
                  <a:gd name="connsiteX251" fmla="*/ 594133 w 1246521"/>
                  <a:gd name="connsiteY251" fmla="*/ 329670 h 3276857"/>
                  <a:gd name="connsiteX252" fmla="*/ 627257 w 1246521"/>
                  <a:gd name="connsiteY252" fmla="*/ 387237 h 3276857"/>
                  <a:gd name="connsiteX253" fmla="*/ 594133 w 1246521"/>
                  <a:gd name="connsiteY253" fmla="*/ 406426 h 3276857"/>
                  <a:gd name="connsiteX254" fmla="*/ 561658 w 1246521"/>
                  <a:gd name="connsiteY254" fmla="*/ 348859 h 3276857"/>
                  <a:gd name="connsiteX255" fmla="*/ 571319 w 1246521"/>
                  <a:gd name="connsiteY255" fmla="*/ 327602 h 3276857"/>
                  <a:gd name="connsiteX256" fmla="*/ 455957 w 1246521"/>
                  <a:gd name="connsiteY256" fmla="*/ 261438 h 3276857"/>
                  <a:gd name="connsiteX257" fmla="*/ 479242 w 1246521"/>
                  <a:gd name="connsiteY257" fmla="*/ 263423 h 3276857"/>
                  <a:gd name="connsiteX258" fmla="*/ 512038 w 1246521"/>
                  <a:gd name="connsiteY258" fmla="*/ 320990 h 3276857"/>
                  <a:gd name="connsiteX259" fmla="*/ 479242 w 1246521"/>
                  <a:gd name="connsiteY259" fmla="*/ 340179 h 3276857"/>
                  <a:gd name="connsiteX260" fmla="*/ 446446 w 1246521"/>
                  <a:gd name="connsiteY260" fmla="*/ 283274 h 3276857"/>
                  <a:gd name="connsiteX261" fmla="*/ 455957 w 1246521"/>
                  <a:gd name="connsiteY261" fmla="*/ 261438 h 3276857"/>
                  <a:gd name="connsiteX262" fmla="*/ 343886 w 1246521"/>
                  <a:gd name="connsiteY262" fmla="*/ 195439 h 3276857"/>
                  <a:gd name="connsiteX263" fmla="*/ 366575 w 1246521"/>
                  <a:gd name="connsiteY263" fmla="*/ 197838 h 3276857"/>
                  <a:gd name="connsiteX264" fmla="*/ 399698 w 1246521"/>
                  <a:gd name="connsiteY264" fmla="*/ 254743 h 3276857"/>
                  <a:gd name="connsiteX265" fmla="*/ 366575 w 1246521"/>
                  <a:gd name="connsiteY265" fmla="*/ 273932 h 3276857"/>
                  <a:gd name="connsiteX266" fmla="*/ 334114 w 1246521"/>
                  <a:gd name="connsiteY266" fmla="*/ 216365 h 3276857"/>
                  <a:gd name="connsiteX267" fmla="*/ 343886 w 1246521"/>
                  <a:gd name="connsiteY267" fmla="*/ 195439 h 3276857"/>
                  <a:gd name="connsiteX268" fmla="*/ 8174 w 1246521"/>
                  <a:gd name="connsiteY268" fmla="*/ 2948 h 3276857"/>
                  <a:gd name="connsiteX269" fmla="*/ 28120 w 1246521"/>
                  <a:gd name="connsiteY269" fmla="*/ 3439 h 3276857"/>
                  <a:gd name="connsiteX270" fmla="*/ 227572 w 1246521"/>
                  <a:gd name="connsiteY270" fmla="*/ 118723 h 3276857"/>
                  <a:gd name="connsiteX271" fmla="*/ 255692 w 1246521"/>
                  <a:gd name="connsiteY271" fmla="*/ 173091 h 3276857"/>
                  <a:gd name="connsiteX272" fmla="*/ 227572 w 1246521"/>
                  <a:gd name="connsiteY272" fmla="*/ 194706 h 3276857"/>
                  <a:gd name="connsiteX273" fmla="*/ 28120 w 1246521"/>
                  <a:gd name="connsiteY273" fmla="*/ 78767 h 3276857"/>
                  <a:gd name="connsiteX274" fmla="*/ 0 w 1246521"/>
                  <a:gd name="connsiteY274" fmla="*/ 25055 h 3276857"/>
                  <a:gd name="connsiteX275" fmla="*/ 8174 w 1246521"/>
                  <a:gd name="connsiteY275" fmla="*/ 2948 h 327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246521" h="3276857">
                    <a:moveTo>
                      <a:pt x="571319" y="3193503"/>
                    </a:moveTo>
                    <a:cubicBezTo>
                      <a:pt x="577246" y="3190112"/>
                      <a:pt x="585364" y="3190608"/>
                      <a:pt x="594133" y="3195571"/>
                    </a:cubicBezTo>
                    <a:cubicBezTo>
                      <a:pt x="612318" y="3206158"/>
                      <a:pt x="627257" y="3231963"/>
                      <a:pt x="627257" y="3253138"/>
                    </a:cubicBezTo>
                    <a:cubicBezTo>
                      <a:pt x="627257" y="3274312"/>
                      <a:pt x="612318" y="3282914"/>
                      <a:pt x="594133" y="3272327"/>
                    </a:cubicBezTo>
                    <a:cubicBezTo>
                      <a:pt x="576596" y="3261740"/>
                      <a:pt x="561658" y="3236595"/>
                      <a:pt x="561658" y="3214760"/>
                    </a:cubicBezTo>
                    <a:cubicBezTo>
                      <a:pt x="561658" y="3204173"/>
                      <a:pt x="565392" y="3196894"/>
                      <a:pt x="571319" y="3193503"/>
                    </a:cubicBezTo>
                    <a:close/>
                    <a:moveTo>
                      <a:pt x="455957" y="3127779"/>
                    </a:moveTo>
                    <a:cubicBezTo>
                      <a:pt x="461860" y="3124328"/>
                      <a:pt x="470059" y="3124985"/>
                      <a:pt x="479242" y="3130572"/>
                    </a:cubicBezTo>
                    <a:cubicBezTo>
                      <a:pt x="497608" y="3141088"/>
                      <a:pt x="512038" y="3166063"/>
                      <a:pt x="512038" y="3187096"/>
                    </a:cubicBezTo>
                    <a:cubicBezTo>
                      <a:pt x="512038" y="3208128"/>
                      <a:pt x="497608" y="3216672"/>
                      <a:pt x="479242" y="3206156"/>
                    </a:cubicBezTo>
                    <a:cubicBezTo>
                      <a:pt x="460876" y="3195640"/>
                      <a:pt x="446446" y="3170007"/>
                      <a:pt x="446446" y="3149632"/>
                    </a:cubicBezTo>
                    <a:cubicBezTo>
                      <a:pt x="446446" y="3138787"/>
                      <a:pt x="450054" y="3131229"/>
                      <a:pt x="455957" y="3127779"/>
                    </a:cubicBezTo>
                    <a:close/>
                    <a:moveTo>
                      <a:pt x="343886" y="3061339"/>
                    </a:moveTo>
                    <a:cubicBezTo>
                      <a:pt x="349848" y="3057948"/>
                      <a:pt x="357963" y="3058444"/>
                      <a:pt x="366575" y="3063738"/>
                    </a:cubicBezTo>
                    <a:cubicBezTo>
                      <a:pt x="385123" y="3073663"/>
                      <a:pt x="399698" y="3099469"/>
                      <a:pt x="399698" y="3121305"/>
                    </a:cubicBezTo>
                    <a:cubicBezTo>
                      <a:pt x="399698" y="3141817"/>
                      <a:pt x="385123" y="3150419"/>
                      <a:pt x="366575" y="3139832"/>
                    </a:cubicBezTo>
                    <a:cubicBezTo>
                      <a:pt x="349351" y="3129245"/>
                      <a:pt x="334114" y="3104101"/>
                      <a:pt x="334114" y="3082265"/>
                    </a:cubicBezTo>
                    <a:cubicBezTo>
                      <a:pt x="334114" y="3072009"/>
                      <a:pt x="337923" y="3064730"/>
                      <a:pt x="343886" y="3061339"/>
                    </a:cubicBezTo>
                    <a:close/>
                    <a:moveTo>
                      <a:pt x="1148663" y="3018199"/>
                    </a:moveTo>
                    <a:cubicBezTo>
                      <a:pt x="1151903" y="3015757"/>
                      <a:pt x="1156440" y="3015757"/>
                      <a:pt x="1161624" y="3018687"/>
                    </a:cubicBezTo>
                    <a:lnTo>
                      <a:pt x="1228375" y="3057103"/>
                    </a:lnTo>
                    <a:cubicBezTo>
                      <a:pt x="1238096" y="3062963"/>
                      <a:pt x="1246521" y="3078589"/>
                      <a:pt x="1246521" y="3091611"/>
                    </a:cubicBezTo>
                    <a:lnTo>
                      <a:pt x="1246521" y="3162582"/>
                    </a:lnTo>
                    <a:cubicBezTo>
                      <a:pt x="1246521" y="3176255"/>
                      <a:pt x="1238096" y="3182115"/>
                      <a:pt x="1228375" y="3176255"/>
                    </a:cubicBezTo>
                    <a:lnTo>
                      <a:pt x="1161624" y="3137840"/>
                    </a:lnTo>
                    <a:cubicBezTo>
                      <a:pt x="1151255" y="3131980"/>
                      <a:pt x="1143478" y="3116353"/>
                      <a:pt x="1143478" y="3102680"/>
                    </a:cubicBezTo>
                    <a:lnTo>
                      <a:pt x="1143478" y="3032360"/>
                    </a:lnTo>
                    <a:cubicBezTo>
                      <a:pt x="1143478" y="3025524"/>
                      <a:pt x="1145422" y="3020640"/>
                      <a:pt x="1148663" y="3018199"/>
                    </a:cubicBezTo>
                    <a:close/>
                    <a:moveTo>
                      <a:pt x="8174" y="2863117"/>
                    </a:moveTo>
                    <a:cubicBezTo>
                      <a:pt x="13243" y="2859174"/>
                      <a:pt x="20273" y="2859010"/>
                      <a:pt x="28120" y="2863610"/>
                    </a:cubicBezTo>
                    <a:lnTo>
                      <a:pt x="227572" y="2979253"/>
                    </a:lnTo>
                    <a:cubicBezTo>
                      <a:pt x="243267" y="2988452"/>
                      <a:pt x="255692" y="3012764"/>
                      <a:pt x="255692" y="3033790"/>
                    </a:cubicBezTo>
                    <a:cubicBezTo>
                      <a:pt x="255692" y="3054816"/>
                      <a:pt x="243267" y="3064015"/>
                      <a:pt x="227572" y="3055473"/>
                    </a:cubicBezTo>
                    <a:lnTo>
                      <a:pt x="28120" y="2939829"/>
                    </a:lnTo>
                    <a:cubicBezTo>
                      <a:pt x="12425" y="2930630"/>
                      <a:pt x="0" y="2906319"/>
                      <a:pt x="0" y="2885293"/>
                    </a:cubicBezTo>
                    <a:cubicBezTo>
                      <a:pt x="0" y="2874780"/>
                      <a:pt x="3106" y="2867059"/>
                      <a:pt x="8174" y="2863117"/>
                    </a:cubicBezTo>
                    <a:close/>
                    <a:moveTo>
                      <a:pt x="689261" y="2776382"/>
                    </a:moveTo>
                    <a:cubicBezTo>
                      <a:pt x="695164" y="2772931"/>
                      <a:pt x="703363" y="2773588"/>
                      <a:pt x="712545" y="2779175"/>
                    </a:cubicBezTo>
                    <a:cubicBezTo>
                      <a:pt x="730910" y="2789034"/>
                      <a:pt x="745340" y="2814666"/>
                      <a:pt x="745340" y="2835698"/>
                    </a:cubicBezTo>
                    <a:cubicBezTo>
                      <a:pt x="745340" y="2856730"/>
                      <a:pt x="730910" y="2865275"/>
                      <a:pt x="712545" y="2854759"/>
                    </a:cubicBezTo>
                    <a:cubicBezTo>
                      <a:pt x="694180" y="2844243"/>
                      <a:pt x="679750" y="2818610"/>
                      <a:pt x="679750" y="2798235"/>
                    </a:cubicBezTo>
                    <a:cubicBezTo>
                      <a:pt x="679750" y="2787391"/>
                      <a:pt x="683357" y="2779832"/>
                      <a:pt x="689261" y="2776382"/>
                    </a:cubicBezTo>
                    <a:close/>
                    <a:moveTo>
                      <a:pt x="571319" y="2709943"/>
                    </a:moveTo>
                    <a:cubicBezTo>
                      <a:pt x="577246" y="2706552"/>
                      <a:pt x="585364" y="2707048"/>
                      <a:pt x="594133" y="2712342"/>
                    </a:cubicBezTo>
                    <a:cubicBezTo>
                      <a:pt x="612318" y="2722267"/>
                      <a:pt x="627257" y="2748073"/>
                      <a:pt x="627257" y="2769247"/>
                    </a:cubicBezTo>
                    <a:cubicBezTo>
                      <a:pt x="627257" y="2790421"/>
                      <a:pt x="612318" y="2799023"/>
                      <a:pt x="594133" y="2788436"/>
                    </a:cubicBezTo>
                    <a:cubicBezTo>
                      <a:pt x="576596" y="2777849"/>
                      <a:pt x="561658" y="2752705"/>
                      <a:pt x="561658" y="2730869"/>
                    </a:cubicBezTo>
                    <a:cubicBezTo>
                      <a:pt x="561658" y="2720613"/>
                      <a:pt x="565393" y="2713334"/>
                      <a:pt x="571319" y="2709943"/>
                    </a:cubicBezTo>
                    <a:close/>
                    <a:moveTo>
                      <a:pt x="455957" y="2643449"/>
                    </a:moveTo>
                    <a:cubicBezTo>
                      <a:pt x="461860" y="2639975"/>
                      <a:pt x="470059" y="2640472"/>
                      <a:pt x="479242" y="2645434"/>
                    </a:cubicBezTo>
                    <a:cubicBezTo>
                      <a:pt x="497608" y="2656683"/>
                      <a:pt x="512038" y="2682489"/>
                      <a:pt x="512038" y="2703001"/>
                    </a:cubicBezTo>
                    <a:cubicBezTo>
                      <a:pt x="512038" y="2724175"/>
                      <a:pt x="497608" y="2732777"/>
                      <a:pt x="479242" y="2722190"/>
                    </a:cubicBezTo>
                    <a:cubicBezTo>
                      <a:pt x="460876" y="2711603"/>
                      <a:pt x="446446" y="2686459"/>
                      <a:pt x="446446" y="2665285"/>
                    </a:cubicBezTo>
                    <a:cubicBezTo>
                      <a:pt x="446446" y="2654367"/>
                      <a:pt x="450054" y="2646923"/>
                      <a:pt x="455957" y="2643449"/>
                    </a:cubicBezTo>
                    <a:close/>
                    <a:moveTo>
                      <a:pt x="343886" y="2577449"/>
                    </a:moveTo>
                    <a:cubicBezTo>
                      <a:pt x="349848" y="2574058"/>
                      <a:pt x="357963" y="2574554"/>
                      <a:pt x="366575" y="2579848"/>
                    </a:cubicBezTo>
                    <a:cubicBezTo>
                      <a:pt x="385123" y="2590435"/>
                      <a:pt x="399698" y="2615579"/>
                      <a:pt x="399698" y="2637415"/>
                    </a:cubicBezTo>
                    <a:cubicBezTo>
                      <a:pt x="399698" y="2657927"/>
                      <a:pt x="385123" y="2666529"/>
                      <a:pt x="366575" y="2656604"/>
                    </a:cubicBezTo>
                    <a:cubicBezTo>
                      <a:pt x="349351" y="2646017"/>
                      <a:pt x="334114" y="2619549"/>
                      <a:pt x="334114" y="2598375"/>
                    </a:cubicBezTo>
                    <a:cubicBezTo>
                      <a:pt x="334114" y="2588119"/>
                      <a:pt x="337923" y="2580840"/>
                      <a:pt x="343886" y="2577449"/>
                    </a:cubicBezTo>
                    <a:close/>
                    <a:moveTo>
                      <a:pt x="1148663" y="2540313"/>
                    </a:moveTo>
                    <a:cubicBezTo>
                      <a:pt x="1151903" y="2537790"/>
                      <a:pt x="1156440" y="2537627"/>
                      <a:pt x="1161624" y="2540557"/>
                    </a:cubicBezTo>
                    <a:lnTo>
                      <a:pt x="1228375" y="2578973"/>
                    </a:lnTo>
                    <a:cubicBezTo>
                      <a:pt x="1238096" y="2584833"/>
                      <a:pt x="1246521" y="2600459"/>
                      <a:pt x="1246521" y="2613481"/>
                    </a:cubicBezTo>
                    <a:lnTo>
                      <a:pt x="1246521" y="2685103"/>
                    </a:lnTo>
                    <a:cubicBezTo>
                      <a:pt x="1246521" y="2697474"/>
                      <a:pt x="1238096" y="2703985"/>
                      <a:pt x="1228375" y="2698125"/>
                    </a:cubicBezTo>
                    <a:lnTo>
                      <a:pt x="1161624" y="2659710"/>
                    </a:lnTo>
                    <a:cubicBezTo>
                      <a:pt x="1151255" y="2653850"/>
                      <a:pt x="1143478" y="2638223"/>
                      <a:pt x="1143478" y="2625201"/>
                    </a:cubicBezTo>
                    <a:lnTo>
                      <a:pt x="1143478" y="2554230"/>
                    </a:lnTo>
                    <a:cubicBezTo>
                      <a:pt x="1143478" y="2547719"/>
                      <a:pt x="1145422" y="2542836"/>
                      <a:pt x="1148663" y="2540313"/>
                    </a:cubicBezTo>
                    <a:close/>
                    <a:moveTo>
                      <a:pt x="8174" y="2384576"/>
                    </a:moveTo>
                    <a:cubicBezTo>
                      <a:pt x="13243" y="2380716"/>
                      <a:pt x="20273" y="2380552"/>
                      <a:pt x="28120" y="2384823"/>
                    </a:cubicBezTo>
                    <a:lnTo>
                      <a:pt x="227572" y="2500466"/>
                    </a:lnTo>
                    <a:cubicBezTo>
                      <a:pt x="243267" y="2509665"/>
                      <a:pt x="255692" y="2533977"/>
                      <a:pt x="255692" y="2555003"/>
                    </a:cubicBezTo>
                    <a:cubicBezTo>
                      <a:pt x="255692" y="2576029"/>
                      <a:pt x="243267" y="2585885"/>
                      <a:pt x="227572" y="2576686"/>
                    </a:cubicBezTo>
                    <a:lnTo>
                      <a:pt x="28120" y="2461042"/>
                    </a:lnTo>
                    <a:cubicBezTo>
                      <a:pt x="12425" y="2451843"/>
                      <a:pt x="0" y="2427532"/>
                      <a:pt x="0" y="2406506"/>
                    </a:cubicBezTo>
                    <a:cubicBezTo>
                      <a:pt x="0" y="2395993"/>
                      <a:pt x="3106" y="2388436"/>
                      <a:pt x="8174" y="2384576"/>
                    </a:cubicBezTo>
                    <a:close/>
                    <a:moveTo>
                      <a:pt x="689261" y="2300940"/>
                    </a:moveTo>
                    <a:cubicBezTo>
                      <a:pt x="695164" y="2297549"/>
                      <a:pt x="703363" y="2298045"/>
                      <a:pt x="712545" y="2303339"/>
                    </a:cubicBezTo>
                    <a:cubicBezTo>
                      <a:pt x="730910" y="2313264"/>
                      <a:pt x="745340" y="2339070"/>
                      <a:pt x="745340" y="2360906"/>
                    </a:cubicBezTo>
                    <a:cubicBezTo>
                      <a:pt x="745340" y="2381418"/>
                      <a:pt x="730910" y="2390020"/>
                      <a:pt x="712545" y="2379433"/>
                    </a:cubicBezTo>
                    <a:cubicBezTo>
                      <a:pt x="694180" y="2369508"/>
                      <a:pt x="679750" y="2343040"/>
                      <a:pt x="679750" y="2321866"/>
                    </a:cubicBezTo>
                    <a:cubicBezTo>
                      <a:pt x="679750" y="2311610"/>
                      <a:pt x="683357" y="2304331"/>
                      <a:pt x="689261" y="2300940"/>
                    </a:cubicBezTo>
                    <a:close/>
                    <a:moveTo>
                      <a:pt x="571319" y="2234529"/>
                    </a:moveTo>
                    <a:cubicBezTo>
                      <a:pt x="577246" y="2231138"/>
                      <a:pt x="585364" y="2231799"/>
                      <a:pt x="594133" y="2237093"/>
                    </a:cubicBezTo>
                    <a:cubicBezTo>
                      <a:pt x="612318" y="2247680"/>
                      <a:pt x="627257" y="2273486"/>
                      <a:pt x="627257" y="2293998"/>
                    </a:cubicBezTo>
                    <a:cubicBezTo>
                      <a:pt x="627257" y="2315172"/>
                      <a:pt x="612318" y="2323774"/>
                      <a:pt x="594133" y="2313187"/>
                    </a:cubicBezTo>
                    <a:cubicBezTo>
                      <a:pt x="576596" y="2302600"/>
                      <a:pt x="561658" y="2277456"/>
                      <a:pt x="561658" y="2256282"/>
                    </a:cubicBezTo>
                    <a:cubicBezTo>
                      <a:pt x="561658" y="2245364"/>
                      <a:pt x="565393" y="2237920"/>
                      <a:pt x="571319" y="2234529"/>
                    </a:cubicBezTo>
                    <a:close/>
                    <a:moveTo>
                      <a:pt x="455957" y="2168339"/>
                    </a:moveTo>
                    <a:cubicBezTo>
                      <a:pt x="461860" y="2164945"/>
                      <a:pt x="470059" y="2165429"/>
                      <a:pt x="479242" y="2170602"/>
                    </a:cubicBezTo>
                    <a:cubicBezTo>
                      <a:pt x="497608" y="2180948"/>
                      <a:pt x="512038" y="2206166"/>
                      <a:pt x="512038" y="2225564"/>
                    </a:cubicBezTo>
                    <a:cubicBezTo>
                      <a:pt x="512038" y="2246255"/>
                      <a:pt x="497608" y="2254661"/>
                      <a:pt x="479242" y="2244962"/>
                    </a:cubicBezTo>
                    <a:cubicBezTo>
                      <a:pt x="460876" y="2233970"/>
                      <a:pt x="446446" y="2209399"/>
                      <a:pt x="446446" y="2189354"/>
                    </a:cubicBezTo>
                    <a:cubicBezTo>
                      <a:pt x="446446" y="2179008"/>
                      <a:pt x="450054" y="2171734"/>
                      <a:pt x="455957" y="2168339"/>
                    </a:cubicBezTo>
                    <a:close/>
                    <a:moveTo>
                      <a:pt x="343886" y="2102283"/>
                    </a:moveTo>
                    <a:cubicBezTo>
                      <a:pt x="349848" y="2098809"/>
                      <a:pt x="357963" y="2099305"/>
                      <a:pt x="366575" y="2104599"/>
                    </a:cubicBezTo>
                    <a:cubicBezTo>
                      <a:pt x="385123" y="2115186"/>
                      <a:pt x="399698" y="2140992"/>
                      <a:pt x="399698" y="2162166"/>
                    </a:cubicBezTo>
                    <a:cubicBezTo>
                      <a:pt x="399698" y="2182678"/>
                      <a:pt x="385123" y="2191280"/>
                      <a:pt x="366575" y="2180693"/>
                    </a:cubicBezTo>
                    <a:cubicBezTo>
                      <a:pt x="349351" y="2170106"/>
                      <a:pt x="334114" y="2144962"/>
                      <a:pt x="334114" y="2123788"/>
                    </a:cubicBezTo>
                    <a:cubicBezTo>
                      <a:pt x="334114" y="2113201"/>
                      <a:pt x="337923" y="2105757"/>
                      <a:pt x="343886" y="2102283"/>
                    </a:cubicBezTo>
                    <a:close/>
                    <a:moveTo>
                      <a:pt x="1148663" y="2065085"/>
                    </a:moveTo>
                    <a:cubicBezTo>
                      <a:pt x="1151903" y="2062552"/>
                      <a:pt x="1156440" y="2062388"/>
                      <a:pt x="1161624" y="2065330"/>
                    </a:cubicBezTo>
                    <a:lnTo>
                      <a:pt x="1228375" y="2103892"/>
                    </a:lnTo>
                    <a:cubicBezTo>
                      <a:pt x="1238096" y="2109775"/>
                      <a:pt x="1246521" y="2125461"/>
                      <a:pt x="1246521" y="2139187"/>
                    </a:cubicBezTo>
                    <a:lnTo>
                      <a:pt x="1246521" y="2209776"/>
                    </a:lnTo>
                    <a:cubicBezTo>
                      <a:pt x="1246521" y="2222848"/>
                      <a:pt x="1238096" y="2228731"/>
                      <a:pt x="1228375" y="2223502"/>
                    </a:cubicBezTo>
                    <a:lnTo>
                      <a:pt x="1161624" y="2184939"/>
                    </a:lnTo>
                    <a:cubicBezTo>
                      <a:pt x="1151255" y="2179057"/>
                      <a:pt x="1143478" y="2163370"/>
                      <a:pt x="1143478" y="2150298"/>
                    </a:cubicBezTo>
                    <a:lnTo>
                      <a:pt x="1143478" y="2079055"/>
                    </a:lnTo>
                    <a:cubicBezTo>
                      <a:pt x="1143478" y="2072519"/>
                      <a:pt x="1145422" y="2067617"/>
                      <a:pt x="1148663" y="2065085"/>
                    </a:cubicBezTo>
                    <a:close/>
                    <a:moveTo>
                      <a:pt x="8174" y="1909324"/>
                    </a:moveTo>
                    <a:cubicBezTo>
                      <a:pt x="13243" y="1905464"/>
                      <a:pt x="20273" y="1905300"/>
                      <a:pt x="28120" y="1909571"/>
                    </a:cubicBezTo>
                    <a:lnTo>
                      <a:pt x="227572" y="2025872"/>
                    </a:lnTo>
                    <a:cubicBezTo>
                      <a:pt x="243267" y="2034414"/>
                      <a:pt x="255692" y="2058726"/>
                      <a:pt x="255692" y="2080409"/>
                    </a:cubicBezTo>
                    <a:cubicBezTo>
                      <a:pt x="255692" y="2100779"/>
                      <a:pt x="243267" y="2110635"/>
                      <a:pt x="227572" y="2101436"/>
                    </a:cubicBezTo>
                    <a:lnTo>
                      <a:pt x="28120" y="1985791"/>
                    </a:lnTo>
                    <a:cubicBezTo>
                      <a:pt x="12425" y="1976592"/>
                      <a:pt x="0" y="1952280"/>
                      <a:pt x="0" y="1931254"/>
                    </a:cubicBezTo>
                    <a:cubicBezTo>
                      <a:pt x="0" y="1920741"/>
                      <a:pt x="3106" y="1913185"/>
                      <a:pt x="8174" y="1909324"/>
                    </a:cubicBezTo>
                    <a:close/>
                    <a:moveTo>
                      <a:pt x="689261" y="1825691"/>
                    </a:moveTo>
                    <a:cubicBezTo>
                      <a:pt x="695164" y="1822300"/>
                      <a:pt x="703363" y="1822796"/>
                      <a:pt x="712545" y="1828090"/>
                    </a:cubicBezTo>
                    <a:cubicBezTo>
                      <a:pt x="730910" y="1838015"/>
                      <a:pt x="745340" y="1864483"/>
                      <a:pt x="745340" y="1885657"/>
                    </a:cubicBezTo>
                    <a:cubicBezTo>
                      <a:pt x="745340" y="1906169"/>
                      <a:pt x="730910" y="1914771"/>
                      <a:pt x="712545" y="1904184"/>
                    </a:cubicBezTo>
                    <a:cubicBezTo>
                      <a:pt x="694180" y="1893597"/>
                      <a:pt x="679750" y="1868453"/>
                      <a:pt x="679750" y="1846617"/>
                    </a:cubicBezTo>
                    <a:cubicBezTo>
                      <a:pt x="679750" y="1836361"/>
                      <a:pt x="683357" y="1829082"/>
                      <a:pt x="689261" y="1825691"/>
                    </a:cubicBezTo>
                    <a:close/>
                    <a:moveTo>
                      <a:pt x="571319" y="1759470"/>
                    </a:moveTo>
                    <a:cubicBezTo>
                      <a:pt x="577246" y="1756020"/>
                      <a:pt x="585364" y="1756513"/>
                      <a:pt x="594133" y="1761771"/>
                    </a:cubicBezTo>
                    <a:cubicBezTo>
                      <a:pt x="612318" y="1772287"/>
                      <a:pt x="627257" y="1797919"/>
                      <a:pt x="627257" y="1818294"/>
                    </a:cubicBezTo>
                    <a:cubicBezTo>
                      <a:pt x="627257" y="1839983"/>
                      <a:pt x="612318" y="1848528"/>
                      <a:pt x="594133" y="1838012"/>
                    </a:cubicBezTo>
                    <a:cubicBezTo>
                      <a:pt x="576596" y="1826838"/>
                      <a:pt x="561658" y="1801863"/>
                      <a:pt x="561658" y="1780831"/>
                    </a:cubicBezTo>
                    <a:cubicBezTo>
                      <a:pt x="561658" y="1770315"/>
                      <a:pt x="565393" y="1762921"/>
                      <a:pt x="571319" y="1759470"/>
                    </a:cubicBezTo>
                    <a:close/>
                    <a:moveTo>
                      <a:pt x="455957" y="1690316"/>
                    </a:moveTo>
                    <a:cubicBezTo>
                      <a:pt x="461860" y="1686925"/>
                      <a:pt x="470059" y="1687421"/>
                      <a:pt x="479242" y="1692715"/>
                    </a:cubicBezTo>
                    <a:cubicBezTo>
                      <a:pt x="497608" y="1703302"/>
                      <a:pt x="512038" y="1729108"/>
                      <a:pt x="512038" y="1750282"/>
                    </a:cubicBezTo>
                    <a:cubicBezTo>
                      <a:pt x="512038" y="1770794"/>
                      <a:pt x="497608" y="1779396"/>
                      <a:pt x="479242" y="1769471"/>
                    </a:cubicBezTo>
                    <a:cubicBezTo>
                      <a:pt x="460876" y="1758884"/>
                      <a:pt x="446446" y="1733078"/>
                      <a:pt x="446446" y="1711242"/>
                    </a:cubicBezTo>
                    <a:cubicBezTo>
                      <a:pt x="446446" y="1700986"/>
                      <a:pt x="450054" y="1693707"/>
                      <a:pt x="455957" y="1690316"/>
                    </a:cubicBezTo>
                    <a:close/>
                    <a:moveTo>
                      <a:pt x="343886" y="1624096"/>
                    </a:moveTo>
                    <a:cubicBezTo>
                      <a:pt x="349848" y="1620646"/>
                      <a:pt x="357963" y="1621139"/>
                      <a:pt x="366575" y="1626397"/>
                    </a:cubicBezTo>
                    <a:cubicBezTo>
                      <a:pt x="385123" y="1636913"/>
                      <a:pt x="399698" y="1662545"/>
                      <a:pt x="399698" y="1683577"/>
                    </a:cubicBezTo>
                    <a:cubicBezTo>
                      <a:pt x="399698" y="1704609"/>
                      <a:pt x="385123" y="1713154"/>
                      <a:pt x="366575" y="1701980"/>
                    </a:cubicBezTo>
                    <a:cubicBezTo>
                      <a:pt x="349351" y="1691464"/>
                      <a:pt x="334114" y="1666489"/>
                      <a:pt x="334114" y="1645457"/>
                    </a:cubicBezTo>
                    <a:cubicBezTo>
                      <a:pt x="334114" y="1634941"/>
                      <a:pt x="337923" y="1627547"/>
                      <a:pt x="343886" y="1624096"/>
                    </a:cubicBezTo>
                    <a:close/>
                    <a:moveTo>
                      <a:pt x="1148663" y="1589813"/>
                    </a:moveTo>
                    <a:cubicBezTo>
                      <a:pt x="1151903" y="1587290"/>
                      <a:pt x="1156440" y="1587127"/>
                      <a:pt x="1161624" y="1590057"/>
                    </a:cubicBezTo>
                    <a:lnTo>
                      <a:pt x="1228375" y="1629124"/>
                    </a:lnTo>
                    <a:cubicBezTo>
                      <a:pt x="1238096" y="1634984"/>
                      <a:pt x="1246521" y="1649959"/>
                      <a:pt x="1246521" y="1663632"/>
                    </a:cubicBezTo>
                    <a:lnTo>
                      <a:pt x="1246521" y="1733952"/>
                    </a:lnTo>
                    <a:cubicBezTo>
                      <a:pt x="1246521" y="1747625"/>
                      <a:pt x="1238096" y="1753485"/>
                      <a:pt x="1228375" y="1747625"/>
                    </a:cubicBezTo>
                    <a:lnTo>
                      <a:pt x="1161624" y="1709210"/>
                    </a:lnTo>
                    <a:cubicBezTo>
                      <a:pt x="1151255" y="1703350"/>
                      <a:pt x="1143478" y="1687723"/>
                      <a:pt x="1143478" y="1674701"/>
                    </a:cubicBezTo>
                    <a:lnTo>
                      <a:pt x="1143478" y="1603730"/>
                    </a:lnTo>
                    <a:cubicBezTo>
                      <a:pt x="1143478" y="1597219"/>
                      <a:pt x="1145422" y="1592336"/>
                      <a:pt x="1148663" y="1589813"/>
                    </a:cubicBezTo>
                    <a:close/>
                    <a:moveTo>
                      <a:pt x="8174" y="1431578"/>
                    </a:moveTo>
                    <a:cubicBezTo>
                      <a:pt x="13243" y="1427648"/>
                      <a:pt x="20273" y="1427484"/>
                      <a:pt x="28120" y="1432069"/>
                    </a:cubicBezTo>
                    <a:lnTo>
                      <a:pt x="227572" y="1548009"/>
                    </a:lnTo>
                    <a:cubicBezTo>
                      <a:pt x="243267" y="1557179"/>
                      <a:pt x="255692" y="1581415"/>
                      <a:pt x="255692" y="1602376"/>
                    </a:cubicBezTo>
                    <a:cubicBezTo>
                      <a:pt x="255692" y="1622681"/>
                      <a:pt x="243267" y="1632507"/>
                      <a:pt x="227572" y="1623336"/>
                    </a:cubicBezTo>
                    <a:lnTo>
                      <a:pt x="28120" y="1508052"/>
                    </a:lnTo>
                    <a:cubicBezTo>
                      <a:pt x="12425" y="1498882"/>
                      <a:pt x="0" y="1474646"/>
                      <a:pt x="0" y="1453685"/>
                    </a:cubicBezTo>
                    <a:cubicBezTo>
                      <a:pt x="0" y="1443205"/>
                      <a:pt x="3106" y="1435508"/>
                      <a:pt x="8174" y="1431578"/>
                    </a:cubicBezTo>
                    <a:close/>
                    <a:moveTo>
                      <a:pt x="689261" y="1347587"/>
                    </a:moveTo>
                    <a:cubicBezTo>
                      <a:pt x="695164" y="1344137"/>
                      <a:pt x="703363" y="1344630"/>
                      <a:pt x="712545" y="1349888"/>
                    </a:cubicBezTo>
                    <a:cubicBezTo>
                      <a:pt x="730910" y="1360404"/>
                      <a:pt x="745340" y="1386036"/>
                      <a:pt x="745340" y="1406411"/>
                    </a:cubicBezTo>
                    <a:cubicBezTo>
                      <a:pt x="745340" y="1428100"/>
                      <a:pt x="730910" y="1436645"/>
                      <a:pt x="712545" y="1425471"/>
                    </a:cubicBezTo>
                    <a:cubicBezTo>
                      <a:pt x="694180" y="1414955"/>
                      <a:pt x="679750" y="1389980"/>
                      <a:pt x="679750" y="1368948"/>
                    </a:cubicBezTo>
                    <a:cubicBezTo>
                      <a:pt x="679750" y="1358432"/>
                      <a:pt x="683357" y="1351038"/>
                      <a:pt x="689261" y="1347587"/>
                    </a:cubicBezTo>
                    <a:close/>
                    <a:moveTo>
                      <a:pt x="571319" y="1281340"/>
                    </a:moveTo>
                    <a:cubicBezTo>
                      <a:pt x="577246" y="1277890"/>
                      <a:pt x="585364" y="1278383"/>
                      <a:pt x="594133" y="1283641"/>
                    </a:cubicBezTo>
                    <a:cubicBezTo>
                      <a:pt x="612318" y="1294157"/>
                      <a:pt x="627257" y="1319789"/>
                      <a:pt x="627257" y="1340821"/>
                    </a:cubicBezTo>
                    <a:cubicBezTo>
                      <a:pt x="627257" y="1361853"/>
                      <a:pt x="612318" y="1370398"/>
                      <a:pt x="594133" y="1359882"/>
                    </a:cubicBezTo>
                    <a:cubicBezTo>
                      <a:pt x="576596" y="1349366"/>
                      <a:pt x="561658" y="1323733"/>
                      <a:pt x="561658" y="1302701"/>
                    </a:cubicBezTo>
                    <a:cubicBezTo>
                      <a:pt x="561658" y="1292185"/>
                      <a:pt x="565393" y="1284791"/>
                      <a:pt x="571319" y="1281340"/>
                    </a:cubicBezTo>
                    <a:close/>
                    <a:moveTo>
                      <a:pt x="455957" y="1215094"/>
                    </a:moveTo>
                    <a:cubicBezTo>
                      <a:pt x="461860" y="1211644"/>
                      <a:pt x="470059" y="1212137"/>
                      <a:pt x="479242" y="1217395"/>
                    </a:cubicBezTo>
                    <a:cubicBezTo>
                      <a:pt x="497608" y="1227911"/>
                      <a:pt x="512038" y="1253543"/>
                      <a:pt x="512038" y="1274575"/>
                    </a:cubicBezTo>
                    <a:cubicBezTo>
                      <a:pt x="512038" y="1294950"/>
                      <a:pt x="497608" y="1304152"/>
                      <a:pt x="479242" y="1293636"/>
                    </a:cubicBezTo>
                    <a:cubicBezTo>
                      <a:pt x="460876" y="1283120"/>
                      <a:pt x="446446" y="1257487"/>
                      <a:pt x="446446" y="1236455"/>
                    </a:cubicBezTo>
                    <a:cubicBezTo>
                      <a:pt x="446446" y="1225939"/>
                      <a:pt x="450054" y="1218545"/>
                      <a:pt x="455957" y="1215094"/>
                    </a:cubicBezTo>
                    <a:close/>
                    <a:moveTo>
                      <a:pt x="343886" y="1148846"/>
                    </a:moveTo>
                    <a:cubicBezTo>
                      <a:pt x="349848" y="1145396"/>
                      <a:pt x="357963" y="1145889"/>
                      <a:pt x="366575" y="1151147"/>
                    </a:cubicBezTo>
                    <a:cubicBezTo>
                      <a:pt x="385123" y="1161663"/>
                      <a:pt x="399698" y="1187295"/>
                      <a:pt x="399698" y="1208327"/>
                    </a:cubicBezTo>
                    <a:cubicBezTo>
                      <a:pt x="399698" y="1229359"/>
                      <a:pt x="385123" y="1237904"/>
                      <a:pt x="366575" y="1227388"/>
                    </a:cubicBezTo>
                    <a:cubicBezTo>
                      <a:pt x="349351" y="1216872"/>
                      <a:pt x="334114" y="1191239"/>
                      <a:pt x="334114" y="1170207"/>
                    </a:cubicBezTo>
                    <a:cubicBezTo>
                      <a:pt x="334114" y="1159691"/>
                      <a:pt x="337923" y="1152297"/>
                      <a:pt x="343886" y="1148846"/>
                    </a:cubicBezTo>
                    <a:close/>
                    <a:moveTo>
                      <a:pt x="1161624" y="1111276"/>
                    </a:moveTo>
                    <a:lnTo>
                      <a:pt x="1228375" y="1150343"/>
                    </a:lnTo>
                    <a:cubicBezTo>
                      <a:pt x="1238096" y="1155551"/>
                      <a:pt x="1246521" y="1171178"/>
                      <a:pt x="1246521" y="1184851"/>
                    </a:cubicBezTo>
                    <a:lnTo>
                      <a:pt x="1246521" y="1255822"/>
                    </a:lnTo>
                    <a:cubicBezTo>
                      <a:pt x="1246521" y="1268844"/>
                      <a:pt x="1238096" y="1275355"/>
                      <a:pt x="1228375" y="1268844"/>
                    </a:cubicBezTo>
                    <a:lnTo>
                      <a:pt x="1161624" y="1230429"/>
                    </a:lnTo>
                    <a:cubicBezTo>
                      <a:pt x="1151255" y="1224569"/>
                      <a:pt x="1143478" y="1209593"/>
                      <a:pt x="1143478" y="1195920"/>
                    </a:cubicBezTo>
                    <a:lnTo>
                      <a:pt x="1143478" y="1125600"/>
                    </a:lnTo>
                    <a:cubicBezTo>
                      <a:pt x="1143478" y="1111927"/>
                      <a:pt x="1151255" y="1106067"/>
                      <a:pt x="1161624" y="1111276"/>
                    </a:cubicBezTo>
                    <a:close/>
                    <a:moveTo>
                      <a:pt x="8174" y="956193"/>
                    </a:moveTo>
                    <a:cubicBezTo>
                      <a:pt x="13243" y="952250"/>
                      <a:pt x="20273" y="951922"/>
                      <a:pt x="28120" y="956193"/>
                    </a:cubicBezTo>
                    <a:lnTo>
                      <a:pt x="227572" y="1072493"/>
                    </a:lnTo>
                    <a:cubicBezTo>
                      <a:pt x="243267" y="1081692"/>
                      <a:pt x="255692" y="1106004"/>
                      <a:pt x="255692" y="1126373"/>
                    </a:cubicBezTo>
                    <a:cubicBezTo>
                      <a:pt x="255692" y="1148056"/>
                      <a:pt x="243267" y="1157255"/>
                      <a:pt x="227572" y="1148056"/>
                    </a:cubicBezTo>
                    <a:lnTo>
                      <a:pt x="28120" y="1032412"/>
                    </a:lnTo>
                    <a:cubicBezTo>
                      <a:pt x="12425" y="1023870"/>
                      <a:pt x="0" y="998902"/>
                      <a:pt x="0" y="977876"/>
                    </a:cubicBezTo>
                    <a:cubicBezTo>
                      <a:pt x="0" y="967691"/>
                      <a:pt x="3106" y="960135"/>
                      <a:pt x="8174" y="956193"/>
                    </a:cubicBezTo>
                    <a:close/>
                    <a:moveTo>
                      <a:pt x="689261" y="872337"/>
                    </a:moveTo>
                    <a:cubicBezTo>
                      <a:pt x="695164" y="868887"/>
                      <a:pt x="703363" y="869380"/>
                      <a:pt x="712545" y="874638"/>
                    </a:cubicBezTo>
                    <a:cubicBezTo>
                      <a:pt x="730910" y="885154"/>
                      <a:pt x="745340" y="910786"/>
                      <a:pt x="745340" y="931818"/>
                    </a:cubicBezTo>
                    <a:cubicBezTo>
                      <a:pt x="745340" y="952850"/>
                      <a:pt x="730910" y="961395"/>
                      <a:pt x="712545" y="950879"/>
                    </a:cubicBezTo>
                    <a:cubicBezTo>
                      <a:pt x="694180" y="940363"/>
                      <a:pt x="679750" y="914730"/>
                      <a:pt x="679750" y="893698"/>
                    </a:cubicBezTo>
                    <a:cubicBezTo>
                      <a:pt x="679750" y="883182"/>
                      <a:pt x="683357" y="875788"/>
                      <a:pt x="689261" y="872337"/>
                    </a:cubicBezTo>
                    <a:close/>
                    <a:moveTo>
                      <a:pt x="571319" y="806147"/>
                    </a:moveTo>
                    <a:cubicBezTo>
                      <a:pt x="577246" y="802673"/>
                      <a:pt x="585364" y="803169"/>
                      <a:pt x="594133" y="808463"/>
                    </a:cubicBezTo>
                    <a:cubicBezTo>
                      <a:pt x="612318" y="819050"/>
                      <a:pt x="627257" y="844856"/>
                      <a:pt x="627257" y="866030"/>
                    </a:cubicBezTo>
                    <a:cubicBezTo>
                      <a:pt x="627257" y="887204"/>
                      <a:pt x="612318" y="895144"/>
                      <a:pt x="594133" y="885219"/>
                    </a:cubicBezTo>
                    <a:cubicBezTo>
                      <a:pt x="576596" y="874632"/>
                      <a:pt x="561658" y="848826"/>
                      <a:pt x="561658" y="827652"/>
                    </a:cubicBezTo>
                    <a:cubicBezTo>
                      <a:pt x="561658" y="817065"/>
                      <a:pt x="565393" y="809621"/>
                      <a:pt x="571319" y="806147"/>
                    </a:cubicBezTo>
                    <a:close/>
                    <a:moveTo>
                      <a:pt x="455957" y="739485"/>
                    </a:moveTo>
                    <a:cubicBezTo>
                      <a:pt x="461860" y="736094"/>
                      <a:pt x="470059" y="736591"/>
                      <a:pt x="479242" y="741553"/>
                    </a:cubicBezTo>
                    <a:cubicBezTo>
                      <a:pt x="497608" y="752140"/>
                      <a:pt x="512038" y="777946"/>
                      <a:pt x="512038" y="799120"/>
                    </a:cubicBezTo>
                    <a:cubicBezTo>
                      <a:pt x="512038" y="820294"/>
                      <a:pt x="497608" y="828896"/>
                      <a:pt x="479242" y="818309"/>
                    </a:cubicBezTo>
                    <a:cubicBezTo>
                      <a:pt x="460876" y="807722"/>
                      <a:pt x="446446" y="781916"/>
                      <a:pt x="446446" y="760742"/>
                    </a:cubicBezTo>
                    <a:cubicBezTo>
                      <a:pt x="446446" y="750155"/>
                      <a:pt x="450054" y="742877"/>
                      <a:pt x="455957" y="739485"/>
                    </a:cubicBezTo>
                    <a:close/>
                    <a:moveTo>
                      <a:pt x="343886" y="670715"/>
                    </a:moveTo>
                    <a:cubicBezTo>
                      <a:pt x="349848" y="667265"/>
                      <a:pt x="357963" y="667758"/>
                      <a:pt x="366575" y="673016"/>
                    </a:cubicBezTo>
                    <a:cubicBezTo>
                      <a:pt x="385123" y="684189"/>
                      <a:pt x="399698" y="709164"/>
                      <a:pt x="399698" y="730196"/>
                    </a:cubicBezTo>
                    <a:cubicBezTo>
                      <a:pt x="399698" y="751228"/>
                      <a:pt x="385123" y="759773"/>
                      <a:pt x="366575" y="749257"/>
                    </a:cubicBezTo>
                    <a:cubicBezTo>
                      <a:pt x="349351" y="738741"/>
                      <a:pt x="334114" y="713108"/>
                      <a:pt x="334114" y="692076"/>
                    </a:cubicBezTo>
                    <a:cubicBezTo>
                      <a:pt x="334114" y="681560"/>
                      <a:pt x="337923" y="674166"/>
                      <a:pt x="343886" y="670715"/>
                    </a:cubicBezTo>
                    <a:close/>
                    <a:moveTo>
                      <a:pt x="1161624" y="636026"/>
                    </a:moveTo>
                    <a:lnTo>
                      <a:pt x="1228375" y="675092"/>
                    </a:lnTo>
                    <a:cubicBezTo>
                      <a:pt x="1238096" y="680301"/>
                      <a:pt x="1246521" y="696578"/>
                      <a:pt x="1246521" y="709600"/>
                    </a:cubicBezTo>
                    <a:lnTo>
                      <a:pt x="1246521" y="780570"/>
                    </a:lnTo>
                    <a:cubicBezTo>
                      <a:pt x="1246521" y="793592"/>
                      <a:pt x="1238096" y="800103"/>
                      <a:pt x="1228375" y="794243"/>
                    </a:cubicBezTo>
                    <a:lnTo>
                      <a:pt x="1161624" y="755828"/>
                    </a:lnTo>
                    <a:cubicBezTo>
                      <a:pt x="1151255" y="749968"/>
                      <a:pt x="1143478" y="734342"/>
                      <a:pt x="1143478" y="720669"/>
                    </a:cubicBezTo>
                    <a:lnTo>
                      <a:pt x="1143478" y="650350"/>
                    </a:lnTo>
                    <a:cubicBezTo>
                      <a:pt x="1143478" y="636677"/>
                      <a:pt x="1151255" y="630817"/>
                      <a:pt x="1161624" y="636026"/>
                    </a:cubicBezTo>
                    <a:close/>
                    <a:moveTo>
                      <a:pt x="8174" y="478145"/>
                    </a:moveTo>
                    <a:cubicBezTo>
                      <a:pt x="13243" y="474285"/>
                      <a:pt x="20273" y="474120"/>
                      <a:pt x="28120" y="478720"/>
                    </a:cubicBezTo>
                    <a:lnTo>
                      <a:pt x="227572" y="594363"/>
                    </a:lnTo>
                    <a:cubicBezTo>
                      <a:pt x="243267" y="603562"/>
                      <a:pt x="255692" y="627874"/>
                      <a:pt x="255692" y="648900"/>
                    </a:cubicBezTo>
                    <a:cubicBezTo>
                      <a:pt x="255692" y="669926"/>
                      <a:pt x="243267" y="679125"/>
                      <a:pt x="227572" y="670583"/>
                    </a:cubicBezTo>
                    <a:lnTo>
                      <a:pt x="28120" y="554282"/>
                    </a:lnTo>
                    <a:cubicBezTo>
                      <a:pt x="12425" y="545740"/>
                      <a:pt x="0" y="520772"/>
                      <a:pt x="0" y="499746"/>
                    </a:cubicBezTo>
                    <a:cubicBezTo>
                      <a:pt x="0" y="489561"/>
                      <a:pt x="3106" y="482005"/>
                      <a:pt x="8174" y="478145"/>
                    </a:cubicBezTo>
                    <a:close/>
                    <a:moveTo>
                      <a:pt x="689261" y="394206"/>
                    </a:moveTo>
                    <a:cubicBezTo>
                      <a:pt x="695164" y="390756"/>
                      <a:pt x="703362" y="391249"/>
                      <a:pt x="712545" y="396507"/>
                    </a:cubicBezTo>
                    <a:cubicBezTo>
                      <a:pt x="730910" y="407680"/>
                      <a:pt x="745340" y="432655"/>
                      <a:pt x="745340" y="453687"/>
                    </a:cubicBezTo>
                    <a:cubicBezTo>
                      <a:pt x="745340" y="474719"/>
                      <a:pt x="730910" y="483264"/>
                      <a:pt x="712545" y="472748"/>
                    </a:cubicBezTo>
                    <a:cubicBezTo>
                      <a:pt x="694180" y="462232"/>
                      <a:pt x="679750" y="436599"/>
                      <a:pt x="679750" y="415567"/>
                    </a:cubicBezTo>
                    <a:cubicBezTo>
                      <a:pt x="679750" y="405051"/>
                      <a:pt x="683357" y="397657"/>
                      <a:pt x="689261" y="394206"/>
                    </a:cubicBezTo>
                    <a:close/>
                    <a:moveTo>
                      <a:pt x="571319" y="327602"/>
                    </a:moveTo>
                    <a:cubicBezTo>
                      <a:pt x="577246" y="324211"/>
                      <a:pt x="585364" y="324708"/>
                      <a:pt x="594133" y="329670"/>
                    </a:cubicBezTo>
                    <a:cubicBezTo>
                      <a:pt x="612318" y="340257"/>
                      <a:pt x="627257" y="366063"/>
                      <a:pt x="627257" y="387237"/>
                    </a:cubicBezTo>
                    <a:cubicBezTo>
                      <a:pt x="627257" y="408411"/>
                      <a:pt x="612318" y="417013"/>
                      <a:pt x="594133" y="406426"/>
                    </a:cubicBezTo>
                    <a:cubicBezTo>
                      <a:pt x="576596" y="395839"/>
                      <a:pt x="561658" y="370033"/>
                      <a:pt x="561658" y="348859"/>
                    </a:cubicBezTo>
                    <a:cubicBezTo>
                      <a:pt x="561658" y="338272"/>
                      <a:pt x="565392" y="330994"/>
                      <a:pt x="571319" y="327602"/>
                    </a:cubicBezTo>
                    <a:close/>
                    <a:moveTo>
                      <a:pt x="455957" y="261438"/>
                    </a:moveTo>
                    <a:cubicBezTo>
                      <a:pt x="461860" y="257964"/>
                      <a:pt x="470059" y="258461"/>
                      <a:pt x="479242" y="263423"/>
                    </a:cubicBezTo>
                    <a:cubicBezTo>
                      <a:pt x="497608" y="274010"/>
                      <a:pt x="512038" y="300478"/>
                      <a:pt x="512038" y="320990"/>
                    </a:cubicBezTo>
                    <a:cubicBezTo>
                      <a:pt x="512038" y="342164"/>
                      <a:pt x="497608" y="350766"/>
                      <a:pt x="479242" y="340179"/>
                    </a:cubicBezTo>
                    <a:cubicBezTo>
                      <a:pt x="460876" y="329592"/>
                      <a:pt x="446446" y="303786"/>
                      <a:pt x="446446" y="283274"/>
                    </a:cubicBezTo>
                    <a:cubicBezTo>
                      <a:pt x="446446" y="272356"/>
                      <a:pt x="450054" y="264912"/>
                      <a:pt x="455957" y="261438"/>
                    </a:cubicBezTo>
                    <a:close/>
                    <a:moveTo>
                      <a:pt x="343886" y="195439"/>
                    </a:moveTo>
                    <a:cubicBezTo>
                      <a:pt x="349848" y="192048"/>
                      <a:pt x="357963" y="192544"/>
                      <a:pt x="366575" y="197838"/>
                    </a:cubicBezTo>
                    <a:cubicBezTo>
                      <a:pt x="385123" y="208425"/>
                      <a:pt x="399698" y="233569"/>
                      <a:pt x="399698" y="254743"/>
                    </a:cubicBezTo>
                    <a:cubicBezTo>
                      <a:pt x="399698" y="275917"/>
                      <a:pt x="385123" y="284519"/>
                      <a:pt x="366575" y="273932"/>
                    </a:cubicBezTo>
                    <a:cubicBezTo>
                      <a:pt x="349351" y="263345"/>
                      <a:pt x="334114" y="237539"/>
                      <a:pt x="334114" y="216365"/>
                    </a:cubicBezTo>
                    <a:cubicBezTo>
                      <a:pt x="334114" y="206109"/>
                      <a:pt x="337923" y="198830"/>
                      <a:pt x="343886" y="195439"/>
                    </a:cubicBezTo>
                    <a:close/>
                    <a:moveTo>
                      <a:pt x="8174" y="2948"/>
                    </a:moveTo>
                    <a:cubicBezTo>
                      <a:pt x="13243" y="-982"/>
                      <a:pt x="20273" y="-1146"/>
                      <a:pt x="28120" y="3439"/>
                    </a:cubicBezTo>
                    <a:lnTo>
                      <a:pt x="227572" y="118723"/>
                    </a:lnTo>
                    <a:cubicBezTo>
                      <a:pt x="243267" y="127894"/>
                      <a:pt x="255692" y="152130"/>
                      <a:pt x="255692" y="173091"/>
                    </a:cubicBezTo>
                    <a:cubicBezTo>
                      <a:pt x="255692" y="194051"/>
                      <a:pt x="243267" y="203877"/>
                      <a:pt x="227572" y="194706"/>
                    </a:cubicBezTo>
                    <a:lnTo>
                      <a:pt x="28120" y="78767"/>
                    </a:lnTo>
                    <a:cubicBezTo>
                      <a:pt x="12425" y="70252"/>
                      <a:pt x="0" y="45361"/>
                      <a:pt x="0" y="25055"/>
                    </a:cubicBezTo>
                    <a:cubicBezTo>
                      <a:pt x="0" y="14575"/>
                      <a:pt x="3106" y="6878"/>
                      <a:pt x="8174" y="2948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160">
                <a:extLst>
                  <a:ext uri="{FF2B5EF4-FFF2-40B4-BE49-F238E27FC236}">
                    <a16:creationId xmlns:a16="http://schemas.microsoft.com/office/drawing/2014/main" id="{381D5F28-28D8-3B4E-B41C-641BEC3D7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55712" y="8272230"/>
                <a:ext cx="2727645" cy="1564005"/>
              </a:xfrm>
              <a:custGeom>
                <a:avLst/>
                <a:gdLst>
                  <a:gd name="T0" fmla="*/ 2401 w 4174"/>
                  <a:gd name="T1" fmla="*/ 2344 h 2394"/>
                  <a:gd name="T2" fmla="*/ 84 w 4174"/>
                  <a:gd name="T3" fmla="*/ 1023 h 2394"/>
                  <a:gd name="T4" fmla="*/ 84 w 4174"/>
                  <a:gd name="T5" fmla="*/ 1023 h 2394"/>
                  <a:gd name="T6" fmla="*/ 108 w 4174"/>
                  <a:gd name="T7" fmla="*/ 832 h 2394"/>
                  <a:gd name="T8" fmla="*/ 1441 w 4174"/>
                  <a:gd name="T9" fmla="*/ 63 h 2394"/>
                  <a:gd name="T10" fmla="*/ 1441 w 4174"/>
                  <a:gd name="T11" fmla="*/ 63 h 2394"/>
                  <a:gd name="T12" fmla="*/ 1772 w 4174"/>
                  <a:gd name="T13" fmla="*/ 49 h 2394"/>
                  <a:gd name="T14" fmla="*/ 4088 w 4174"/>
                  <a:gd name="T15" fmla="*/ 1370 h 2394"/>
                  <a:gd name="T16" fmla="*/ 4088 w 4174"/>
                  <a:gd name="T17" fmla="*/ 1370 h 2394"/>
                  <a:gd name="T18" fmla="*/ 4065 w 4174"/>
                  <a:gd name="T19" fmla="*/ 1561 h 2394"/>
                  <a:gd name="T20" fmla="*/ 2732 w 4174"/>
                  <a:gd name="T21" fmla="*/ 2330 h 2394"/>
                  <a:gd name="T22" fmla="*/ 2732 w 4174"/>
                  <a:gd name="T23" fmla="*/ 2330 h 2394"/>
                  <a:gd name="T24" fmla="*/ 2401 w 4174"/>
                  <a:gd name="T25" fmla="*/ 2344 h 2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74" h="2394">
                    <a:moveTo>
                      <a:pt x="2401" y="2344"/>
                    </a:moveTo>
                    <a:lnTo>
                      <a:pt x="84" y="1023"/>
                    </a:lnTo>
                    <a:lnTo>
                      <a:pt x="84" y="1023"/>
                    </a:lnTo>
                    <a:cubicBezTo>
                      <a:pt x="0" y="974"/>
                      <a:pt x="10" y="889"/>
                      <a:pt x="108" y="832"/>
                    </a:cubicBezTo>
                    <a:lnTo>
                      <a:pt x="1441" y="63"/>
                    </a:lnTo>
                    <a:lnTo>
                      <a:pt x="1441" y="63"/>
                    </a:lnTo>
                    <a:cubicBezTo>
                      <a:pt x="1539" y="7"/>
                      <a:pt x="1687" y="0"/>
                      <a:pt x="1772" y="49"/>
                    </a:cubicBezTo>
                    <a:lnTo>
                      <a:pt x="4088" y="1370"/>
                    </a:lnTo>
                    <a:lnTo>
                      <a:pt x="4088" y="1370"/>
                    </a:lnTo>
                    <a:cubicBezTo>
                      <a:pt x="4173" y="1419"/>
                      <a:pt x="4163" y="1505"/>
                      <a:pt x="4065" y="1561"/>
                    </a:cubicBezTo>
                    <a:lnTo>
                      <a:pt x="2732" y="2330"/>
                    </a:lnTo>
                    <a:lnTo>
                      <a:pt x="2732" y="2330"/>
                    </a:lnTo>
                    <a:cubicBezTo>
                      <a:pt x="2634" y="2387"/>
                      <a:pt x="2486" y="2393"/>
                      <a:pt x="2401" y="234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161">
                <a:extLst>
                  <a:ext uri="{FF2B5EF4-FFF2-40B4-BE49-F238E27FC236}">
                    <a16:creationId xmlns:a16="http://schemas.microsoft.com/office/drawing/2014/main" id="{A1560F09-5608-DB41-BCAF-B4B650CC5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792824"/>
                <a:ext cx="2888942" cy="4746738"/>
              </a:xfrm>
              <a:custGeom>
                <a:avLst/>
                <a:gdLst>
                  <a:gd name="T0" fmla="*/ 4417 w 4421"/>
                  <a:gd name="T1" fmla="*/ 6252 h 7268"/>
                  <a:gd name="T2" fmla="*/ 4417 w 4421"/>
                  <a:gd name="T3" fmla="*/ 6252 h 7268"/>
                  <a:gd name="T4" fmla="*/ 4417 w 4421"/>
                  <a:gd name="T5" fmla="*/ 844 h 7268"/>
                  <a:gd name="T6" fmla="*/ 2267 w 4421"/>
                  <a:gd name="T7" fmla="*/ 281 h 7268"/>
                  <a:gd name="T8" fmla="*/ 1871 w 4421"/>
                  <a:gd name="T9" fmla="*/ 52 h 7268"/>
                  <a:gd name="T10" fmla="*/ 1871 w 4421"/>
                  <a:gd name="T11" fmla="*/ 52 h 7268"/>
                  <a:gd name="T12" fmla="*/ 1516 w 4421"/>
                  <a:gd name="T13" fmla="*/ 67 h 7268"/>
                  <a:gd name="T14" fmla="*/ 1147 w 4421"/>
                  <a:gd name="T15" fmla="*/ 281 h 7268"/>
                  <a:gd name="T16" fmla="*/ 0 w 4421"/>
                  <a:gd name="T17" fmla="*/ 280 h 7268"/>
                  <a:gd name="T18" fmla="*/ 340 w 4421"/>
                  <a:gd name="T19" fmla="*/ 5500 h 7268"/>
                  <a:gd name="T20" fmla="*/ 340 w 4421"/>
                  <a:gd name="T21" fmla="*/ 5500 h 7268"/>
                  <a:gd name="T22" fmla="*/ 400 w 4421"/>
                  <a:gd name="T23" fmla="*/ 5595 h 7268"/>
                  <a:gd name="T24" fmla="*/ 2546 w 4421"/>
                  <a:gd name="T25" fmla="*/ 7214 h 7268"/>
                  <a:gd name="T26" fmla="*/ 2546 w 4421"/>
                  <a:gd name="T27" fmla="*/ 7214 h 7268"/>
                  <a:gd name="T28" fmla="*/ 2900 w 4421"/>
                  <a:gd name="T29" fmla="*/ 7200 h 7268"/>
                  <a:gd name="T30" fmla="*/ 4331 w 4421"/>
                  <a:gd name="T31" fmla="*/ 6374 h 7268"/>
                  <a:gd name="T32" fmla="*/ 4331 w 4421"/>
                  <a:gd name="T33" fmla="*/ 6374 h 7268"/>
                  <a:gd name="T34" fmla="*/ 4417 w 4421"/>
                  <a:gd name="T35" fmla="*/ 6252 h 7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21" h="7268">
                    <a:moveTo>
                      <a:pt x="4417" y="6252"/>
                    </a:moveTo>
                    <a:lnTo>
                      <a:pt x="4417" y="6252"/>
                    </a:lnTo>
                    <a:lnTo>
                      <a:pt x="4417" y="844"/>
                    </a:lnTo>
                    <a:lnTo>
                      <a:pt x="2267" y="281"/>
                    </a:lnTo>
                    <a:lnTo>
                      <a:pt x="1871" y="52"/>
                    </a:lnTo>
                    <a:lnTo>
                      <a:pt x="1871" y="52"/>
                    </a:lnTo>
                    <a:cubicBezTo>
                      <a:pt x="1780" y="0"/>
                      <a:pt x="1621" y="6"/>
                      <a:pt x="1516" y="67"/>
                    </a:cubicBezTo>
                    <a:lnTo>
                      <a:pt x="1147" y="281"/>
                    </a:lnTo>
                    <a:lnTo>
                      <a:pt x="0" y="280"/>
                    </a:lnTo>
                    <a:lnTo>
                      <a:pt x="340" y="5500"/>
                    </a:lnTo>
                    <a:lnTo>
                      <a:pt x="340" y="5500"/>
                    </a:lnTo>
                    <a:cubicBezTo>
                      <a:pt x="337" y="5536"/>
                      <a:pt x="357" y="5570"/>
                      <a:pt x="400" y="5595"/>
                    </a:cubicBezTo>
                    <a:lnTo>
                      <a:pt x="2546" y="7214"/>
                    </a:lnTo>
                    <a:lnTo>
                      <a:pt x="2546" y="7214"/>
                    </a:lnTo>
                    <a:cubicBezTo>
                      <a:pt x="2637" y="7267"/>
                      <a:pt x="2796" y="7260"/>
                      <a:pt x="2900" y="7200"/>
                    </a:cubicBezTo>
                    <a:lnTo>
                      <a:pt x="4331" y="6374"/>
                    </a:lnTo>
                    <a:lnTo>
                      <a:pt x="4331" y="6374"/>
                    </a:lnTo>
                    <a:cubicBezTo>
                      <a:pt x="4391" y="6339"/>
                      <a:pt x="4420" y="6293"/>
                      <a:pt x="4417" y="625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162">
                <a:extLst>
                  <a:ext uri="{FF2B5EF4-FFF2-40B4-BE49-F238E27FC236}">
                    <a16:creationId xmlns:a16="http://schemas.microsoft.com/office/drawing/2014/main" id="{559A598E-AD65-1048-9E9C-0DEC251C88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4" y="4804345"/>
                <a:ext cx="1788667" cy="4726577"/>
              </a:xfrm>
              <a:custGeom>
                <a:avLst/>
                <a:gdLst>
                  <a:gd name="T0" fmla="*/ 1709 w 2740"/>
                  <a:gd name="T1" fmla="*/ 0 h 7235"/>
                  <a:gd name="T2" fmla="*/ 1709 w 2740"/>
                  <a:gd name="T3" fmla="*/ 0 h 7235"/>
                  <a:gd name="T4" fmla="*/ 1519 w 2740"/>
                  <a:gd name="T5" fmla="*/ 50 h 7235"/>
                  <a:gd name="T6" fmla="*/ 1150 w 2740"/>
                  <a:gd name="T7" fmla="*/ 264 h 7235"/>
                  <a:gd name="T8" fmla="*/ 3 w 2740"/>
                  <a:gd name="T9" fmla="*/ 263 h 7235"/>
                  <a:gd name="T10" fmla="*/ 3 w 2740"/>
                  <a:gd name="T11" fmla="*/ 5685 h 7235"/>
                  <a:gd name="T12" fmla="*/ 3 w 2740"/>
                  <a:gd name="T13" fmla="*/ 5685 h 7235"/>
                  <a:gd name="T14" fmla="*/ 64 w 2740"/>
                  <a:gd name="T15" fmla="*/ 5780 h 7235"/>
                  <a:gd name="T16" fmla="*/ 2549 w 2740"/>
                  <a:gd name="T17" fmla="*/ 7197 h 7235"/>
                  <a:gd name="T18" fmla="*/ 2549 w 2740"/>
                  <a:gd name="T19" fmla="*/ 7197 h 7235"/>
                  <a:gd name="T20" fmla="*/ 2714 w 2740"/>
                  <a:gd name="T21" fmla="*/ 7232 h 7235"/>
                  <a:gd name="T22" fmla="*/ 2739 w 2740"/>
                  <a:gd name="T23" fmla="*/ 1776 h 7235"/>
                  <a:gd name="T24" fmla="*/ 1709 w 2740"/>
                  <a:gd name="T25" fmla="*/ 0 h 7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40" h="7235">
                    <a:moveTo>
                      <a:pt x="1709" y="0"/>
                    </a:moveTo>
                    <a:lnTo>
                      <a:pt x="1709" y="0"/>
                    </a:lnTo>
                    <a:cubicBezTo>
                      <a:pt x="1643" y="2"/>
                      <a:pt x="1574" y="19"/>
                      <a:pt x="1519" y="50"/>
                    </a:cubicBezTo>
                    <a:lnTo>
                      <a:pt x="1150" y="264"/>
                    </a:lnTo>
                    <a:lnTo>
                      <a:pt x="3" y="263"/>
                    </a:lnTo>
                    <a:lnTo>
                      <a:pt x="3" y="5685"/>
                    </a:lnTo>
                    <a:lnTo>
                      <a:pt x="3" y="5685"/>
                    </a:lnTo>
                    <a:cubicBezTo>
                      <a:pt x="0" y="5721"/>
                      <a:pt x="20" y="5755"/>
                      <a:pt x="64" y="5780"/>
                    </a:cubicBezTo>
                    <a:lnTo>
                      <a:pt x="2549" y="7197"/>
                    </a:lnTo>
                    <a:lnTo>
                      <a:pt x="2549" y="7197"/>
                    </a:lnTo>
                    <a:cubicBezTo>
                      <a:pt x="2593" y="7222"/>
                      <a:pt x="2652" y="7234"/>
                      <a:pt x="2714" y="7232"/>
                    </a:cubicBezTo>
                    <a:lnTo>
                      <a:pt x="2739" y="1776"/>
                    </a:lnTo>
                    <a:lnTo>
                      <a:pt x="1709" y="0"/>
                    </a:ln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163">
                <a:extLst>
                  <a:ext uri="{FF2B5EF4-FFF2-40B4-BE49-F238E27FC236}">
                    <a16:creationId xmlns:a16="http://schemas.microsoft.com/office/drawing/2014/main" id="{EF7E0CA0-9D5F-F04F-AAE2-20B719DE0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54278" y="5921904"/>
                <a:ext cx="184339" cy="3611899"/>
              </a:xfrm>
              <a:custGeom>
                <a:avLst/>
                <a:gdLst>
                  <a:gd name="T0" fmla="*/ 0 w 284"/>
                  <a:gd name="T1" fmla="*/ 5496 h 5531"/>
                  <a:gd name="T2" fmla="*/ 0 w 284"/>
                  <a:gd name="T3" fmla="*/ 5496 h 5531"/>
                  <a:gd name="T4" fmla="*/ 283 w 284"/>
                  <a:gd name="T5" fmla="*/ 5493 h 5531"/>
                  <a:gd name="T6" fmla="*/ 283 w 284"/>
                  <a:gd name="T7" fmla="*/ 0 h 5531"/>
                  <a:gd name="T8" fmla="*/ 0 w 284"/>
                  <a:gd name="T9" fmla="*/ 0 h 5531"/>
                  <a:gd name="T10" fmla="*/ 0 w 284"/>
                  <a:gd name="T11" fmla="*/ 5496 h 5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4" h="5531">
                    <a:moveTo>
                      <a:pt x="0" y="5496"/>
                    </a:moveTo>
                    <a:lnTo>
                      <a:pt x="0" y="5496"/>
                    </a:lnTo>
                    <a:cubicBezTo>
                      <a:pt x="78" y="5530"/>
                      <a:pt x="192" y="5528"/>
                      <a:pt x="283" y="5493"/>
                    </a:cubicBezTo>
                    <a:lnTo>
                      <a:pt x="283" y="0"/>
                    </a:lnTo>
                    <a:lnTo>
                      <a:pt x="0" y="0"/>
                    </a:lnTo>
                    <a:lnTo>
                      <a:pt x="0" y="5496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164">
                <a:extLst>
                  <a:ext uri="{FF2B5EF4-FFF2-40B4-BE49-F238E27FC236}">
                    <a16:creationId xmlns:a16="http://schemas.microsoft.com/office/drawing/2014/main" id="{3615ABF3-48CF-9440-9761-9C9098778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57781" y="4323337"/>
                <a:ext cx="2923506" cy="1676336"/>
              </a:xfrm>
              <a:custGeom>
                <a:avLst/>
                <a:gdLst>
                  <a:gd name="T0" fmla="*/ 2576 w 4478"/>
                  <a:gd name="T1" fmla="*/ 2515 h 2568"/>
                  <a:gd name="T2" fmla="*/ 91 w 4478"/>
                  <a:gd name="T3" fmla="*/ 1098 h 2568"/>
                  <a:gd name="T4" fmla="*/ 91 w 4478"/>
                  <a:gd name="T5" fmla="*/ 1098 h 2568"/>
                  <a:gd name="T6" fmla="*/ 116 w 4478"/>
                  <a:gd name="T7" fmla="*/ 893 h 2568"/>
                  <a:gd name="T8" fmla="*/ 1546 w 4478"/>
                  <a:gd name="T9" fmla="*/ 67 h 2568"/>
                  <a:gd name="T10" fmla="*/ 1546 w 4478"/>
                  <a:gd name="T11" fmla="*/ 67 h 2568"/>
                  <a:gd name="T12" fmla="*/ 1901 w 4478"/>
                  <a:gd name="T13" fmla="*/ 52 h 2568"/>
                  <a:gd name="T14" fmla="*/ 4386 w 4478"/>
                  <a:gd name="T15" fmla="*/ 1470 h 2568"/>
                  <a:gd name="T16" fmla="*/ 4386 w 4478"/>
                  <a:gd name="T17" fmla="*/ 1470 h 2568"/>
                  <a:gd name="T18" fmla="*/ 4361 w 4478"/>
                  <a:gd name="T19" fmla="*/ 1675 h 2568"/>
                  <a:gd name="T20" fmla="*/ 2930 w 4478"/>
                  <a:gd name="T21" fmla="*/ 2500 h 2568"/>
                  <a:gd name="T22" fmla="*/ 2930 w 4478"/>
                  <a:gd name="T23" fmla="*/ 2500 h 2568"/>
                  <a:gd name="T24" fmla="*/ 2576 w 4478"/>
                  <a:gd name="T25" fmla="*/ 2515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8" h="2568">
                    <a:moveTo>
                      <a:pt x="2576" y="2515"/>
                    </a:moveTo>
                    <a:lnTo>
                      <a:pt x="91" y="1098"/>
                    </a:lnTo>
                    <a:lnTo>
                      <a:pt x="91" y="1098"/>
                    </a:lnTo>
                    <a:cubicBezTo>
                      <a:pt x="0" y="1045"/>
                      <a:pt x="12" y="953"/>
                      <a:pt x="116" y="893"/>
                    </a:cubicBezTo>
                    <a:lnTo>
                      <a:pt x="1546" y="67"/>
                    </a:lnTo>
                    <a:lnTo>
                      <a:pt x="1546" y="67"/>
                    </a:lnTo>
                    <a:cubicBezTo>
                      <a:pt x="1651" y="7"/>
                      <a:pt x="1810" y="0"/>
                      <a:pt x="1901" y="52"/>
                    </a:cubicBezTo>
                    <a:lnTo>
                      <a:pt x="4386" y="1470"/>
                    </a:lnTo>
                    <a:lnTo>
                      <a:pt x="4386" y="1470"/>
                    </a:lnTo>
                    <a:cubicBezTo>
                      <a:pt x="4477" y="1522"/>
                      <a:pt x="4466" y="1614"/>
                      <a:pt x="4361" y="1675"/>
                    </a:cubicBezTo>
                    <a:lnTo>
                      <a:pt x="2930" y="2500"/>
                    </a:lnTo>
                    <a:lnTo>
                      <a:pt x="2930" y="2500"/>
                    </a:lnTo>
                    <a:cubicBezTo>
                      <a:pt x="2826" y="2561"/>
                      <a:pt x="2667" y="2567"/>
                      <a:pt x="2576" y="2515"/>
                    </a:cubicBezTo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165">
                <a:extLst>
                  <a:ext uri="{FF2B5EF4-FFF2-40B4-BE49-F238E27FC236}">
                    <a16:creationId xmlns:a16="http://schemas.microsoft.com/office/drawing/2014/main" id="{0F8B32E6-0154-364C-8C9A-0B0B6EA6BE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6422" y="4948361"/>
                <a:ext cx="2909105" cy="1051311"/>
              </a:xfrm>
              <a:custGeom>
                <a:avLst/>
                <a:gdLst>
                  <a:gd name="T0" fmla="*/ 4347 w 4454"/>
                  <a:gd name="T1" fmla="*/ 617 h 1611"/>
                  <a:gd name="T2" fmla="*/ 2916 w 4454"/>
                  <a:gd name="T3" fmla="*/ 1442 h 1611"/>
                  <a:gd name="T4" fmla="*/ 2916 w 4454"/>
                  <a:gd name="T5" fmla="*/ 1442 h 1611"/>
                  <a:gd name="T6" fmla="*/ 2562 w 4454"/>
                  <a:gd name="T7" fmla="*/ 1457 h 1611"/>
                  <a:gd name="T8" fmla="*/ 77 w 4454"/>
                  <a:gd name="T9" fmla="*/ 40 h 1611"/>
                  <a:gd name="T10" fmla="*/ 77 w 4454"/>
                  <a:gd name="T11" fmla="*/ 40 h 1611"/>
                  <a:gd name="T12" fmla="*/ 31 w 4454"/>
                  <a:gd name="T13" fmla="*/ 0 h 1611"/>
                  <a:gd name="T14" fmla="*/ 31 w 4454"/>
                  <a:gd name="T15" fmla="*/ 0 h 1611"/>
                  <a:gd name="T16" fmla="*/ 77 w 4454"/>
                  <a:gd name="T17" fmla="*/ 141 h 1611"/>
                  <a:gd name="T18" fmla="*/ 2562 w 4454"/>
                  <a:gd name="T19" fmla="*/ 1558 h 1611"/>
                  <a:gd name="T20" fmla="*/ 2562 w 4454"/>
                  <a:gd name="T21" fmla="*/ 1558 h 1611"/>
                  <a:gd name="T22" fmla="*/ 2916 w 4454"/>
                  <a:gd name="T23" fmla="*/ 1543 h 1611"/>
                  <a:gd name="T24" fmla="*/ 4347 w 4454"/>
                  <a:gd name="T25" fmla="*/ 718 h 1611"/>
                  <a:gd name="T26" fmla="*/ 4347 w 4454"/>
                  <a:gd name="T27" fmla="*/ 718 h 1611"/>
                  <a:gd name="T28" fmla="*/ 4418 w 4454"/>
                  <a:gd name="T29" fmla="*/ 553 h 1611"/>
                  <a:gd name="T30" fmla="*/ 4418 w 4454"/>
                  <a:gd name="T31" fmla="*/ 553 h 1611"/>
                  <a:gd name="T32" fmla="*/ 4347 w 4454"/>
                  <a:gd name="T33" fmla="*/ 61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54" h="1611">
                    <a:moveTo>
                      <a:pt x="4347" y="617"/>
                    </a:moveTo>
                    <a:lnTo>
                      <a:pt x="2916" y="1442"/>
                    </a:lnTo>
                    <a:lnTo>
                      <a:pt x="2916" y="1442"/>
                    </a:lnTo>
                    <a:cubicBezTo>
                      <a:pt x="2812" y="1503"/>
                      <a:pt x="2653" y="1510"/>
                      <a:pt x="2562" y="1457"/>
                    </a:cubicBezTo>
                    <a:lnTo>
                      <a:pt x="77" y="40"/>
                    </a:lnTo>
                    <a:lnTo>
                      <a:pt x="77" y="40"/>
                    </a:lnTo>
                    <a:cubicBezTo>
                      <a:pt x="57" y="29"/>
                      <a:pt x="41" y="15"/>
                      <a:pt x="31" y="0"/>
                    </a:cubicBezTo>
                    <a:lnTo>
                      <a:pt x="31" y="0"/>
                    </a:lnTo>
                    <a:cubicBezTo>
                      <a:pt x="0" y="50"/>
                      <a:pt x="15" y="105"/>
                      <a:pt x="77" y="141"/>
                    </a:cubicBezTo>
                    <a:lnTo>
                      <a:pt x="2562" y="1558"/>
                    </a:lnTo>
                    <a:lnTo>
                      <a:pt x="2562" y="1558"/>
                    </a:lnTo>
                    <a:cubicBezTo>
                      <a:pt x="2653" y="1610"/>
                      <a:pt x="2812" y="1604"/>
                      <a:pt x="2916" y="1543"/>
                    </a:cubicBezTo>
                    <a:lnTo>
                      <a:pt x="4347" y="718"/>
                    </a:lnTo>
                    <a:lnTo>
                      <a:pt x="4347" y="718"/>
                    </a:lnTo>
                    <a:cubicBezTo>
                      <a:pt x="4428" y="671"/>
                      <a:pt x="4453" y="605"/>
                      <a:pt x="4418" y="553"/>
                    </a:cubicBezTo>
                    <a:lnTo>
                      <a:pt x="4418" y="553"/>
                    </a:lnTo>
                    <a:cubicBezTo>
                      <a:pt x="4403" y="576"/>
                      <a:pt x="4380" y="598"/>
                      <a:pt x="4347" y="617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5" name="Freeform 166">
                <a:extLst>
                  <a:ext uri="{FF2B5EF4-FFF2-40B4-BE49-F238E27FC236}">
                    <a16:creationId xmlns:a16="http://schemas.microsoft.com/office/drawing/2014/main" id="{2BDD89C2-4404-F946-8676-547E27B86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90738" cy="979303"/>
              </a:xfrm>
              <a:custGeom>
                <a:avLst/>
                <a:gdLst>
                  <a:gd name="T0" fmla="*/ 1697 w 2588"/>
                  <a:gd name="T1" fmla="*/ 1473 h 1498"/>
                  <a:gd name="T2" fmla="*/ 43 w 2588"/>
                  <a:gd name="T3" fmla="*/ 514 h 1498"/>
                  <a:gd name="T4" fmla="*/ 43 w 2588"/>
                  <a:gd name="T5" fmla="*/ 514 h 1498"/>
                  <a:gd name="T6" fmla="*/ 54 w 2588"/>
                  <a:gd name="T7" fmla="*/ 417 h 1498"/>
                  <a:gd name="T8" fmla="*/ 724 w 2588"/>
                  <a:gd name="T9" fmla="*/ 31 h 1498"/>
                  <a:gd name="T10" fmla="*/ 724 w 2588"/>
                  <a:gd name="T11" fmla="*/ 31 h 1498"/>
                  <a:gd name="T12" fmla="*/ 890 w 2588"/>
                  <a:gd name="T13" fmla="*/ 24 h 1498"/>
                  <a:gd name="T14" fmla="*/ 2544 w 2588"/>
                  <a:gd name="T15" fmla="*/ 983 h 1498"/>
                  <a:gd name="T16" fmla="*/ 2544 w 2588"/>
                  <a:gd name="T17" fmla="*/ 983 h 1498"/>
                  <a:gd name="T18" fmla="*/ 2532 w 2588"/>
                  <a:gd name="T19" fmla="*/ 1079 h 1498"/>
                  <a:gd name="T20" fmla="*/ 1863 w 2588"/>
                  <a:gd name="T21" fmla="*/ 1466 h 1498"/>
                  <a:gd name="T22" fmla="*/ 1863 w 2588"/>
                  <a:gd name="T23" fmla="*/ 1466 h 1498"/>
                  <a:gd name="T24" fmla="*/ 1697 w 2588"/>
                  <a:gd name="T25" fmla="*/ 1473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88" h="1498">
                    <a:moveTo>
                      <a:pt x="1697" y="1473"/>
                    </a:moveTo>
                    <a:lnTo>
                      <a:pt x="43" y="514"/>
                    </a:lnTo>
                    <a:lnTo>
                      <a:pt x="43" y="514"/>
                    </a:lnTo>
                    <a:cubicBezTo>
                      <a:pt x="0" y="489"/>
                      <a:pt x="6" y="446"/>
                      <a:pt x="54" y="417"/>
                    </a:cubicBezTo>
                    <a:lnTo>
                      <a:pt x="724" y="31"/>
                    </a:lnTo>
                    <a:lnTo>
                      <a:pt x="724" y="31"/>
                    </a:lnTo>
                    <a:cubicBezTo>
                      <a:pt x="773" y="3"/>
                      <a:pt x="847" y="0"/>
                      <a:pt x="890" y="24"/>
                    </a:cubicBezTo>
                    <a:lnTo>
                      <a:pt x="2544" y="983"/>
                    </a:lnTo>
                    <a:lnTo>
                      <a:pt x="2544" y="983"/>
                    </a:lnTo>
                    <a:cubicBezTo>
                      <a:pt x="2587" y="1008"/>
                      <a:pt x="2582" y="1051"/>
                      <a:pt x="2532" y="1079"/>
                    </a:cubicBezTo>
                    <a:lnTo>
                      <a:pt x="1863" y="1466"/>
                    </a:lnTo>
                    <a:lnTo>
                      <a:pt x="1863" y="1466"/>
                    </a:lnTo>
                    <a:cubicBezTo>
                      <a:pt x="1814" y="1494"/>
                      <a:pt x="1740" y="1497"/>
                      <a:pt x="1697" y="1473"/>
                    </a:cubicBez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6" name="Freeform 255">
                <a:extLst>
                  <a:ext uri="{FF2B5EF4-FFF2-40B4-BE49-F238E27FC236}">
                    <a16:creationId xmlns:a16="http://schemas.microsoft.com/office/drawing/2014/main" id="{1F539A9F-7146-8145-8111-4446B9364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36354" y="4908605"/>
                <a:ext cx="771471" cy="447530"/>
              </a:xfrm>
              <a:custGeom>
                <a:avLst/>
                <a:gdLst>
                  <a:gd name="connsiteX0" fmla="*/ 706513 w 771471"/>
                  <a:gd name="connsiteY0" fmla="*/ 364988 h 447530"/>
                  <a:gd name="connsiteX1" fmla="*/ 768911 w 771471"/>
                  <a:gd name="connsiteY1" fmla="*/ 401266 h 447530"/>
                  <a:gd name="connsiteX2" fmla="*/ 767611 w 771471"/>
                  <a:gd name="connsiteY2" fmla="*/ 409841 h 447530"/>
                  <a:gd name="connsiteX3" fmla="*/ 707813 w 771471"/>
                  <a:gd name="connsiteY3" fmla="*/ 445460 h 447530"/>
                  <a:gd name="connsiteX4" fmla="*/ 692864 w 771471"/>
                  <a:gd name="connsiteY4" fmla="*/ 446120 h 447530"/>
                  <a:gd name="connsiteX5" fmla="*/ 630466 w 771471"/>
                  <a:gd name="connsiteY5" fmla="*/ 409182 h 447530"/>
                  <a:gd name="connsiteX6" fmla="*/ 631766 w 771471"/>
                  <a:gd name="connsiteY6" fmla="*/ 400607 h 447530"/>
                  <a:gd name="connsiteX7" fmla="*/ 692214 w 771471"/>
                  <a:gd name="connsiteY7" fmla="*/ 365647 h 447530"/>
                  <a:gd name="connsiteX8" fmla="*/ 706513 w 771471"/>
                  <a:gd name="connsiteY8" fmla="*/ 364988 h 447530"/>
                  <a:gd name="connsiteX9" fmla="*/ 496252 w 771471"/>
                  <a:gd name="connsiteY9" fmla="*/ 244015 h 447530"/>
                  <a:gd name="connsiteX10" fmla="*/ 558650 w 771471"/>
                  <a:gd name="connsiteY10" fmla="*/ 280294 h 447530"/>
                  <a:gd name="connsiteX11" fmla="*/ 557350 w 771471"/>
                  <a:gd name="connsiteY11" fmla="*/ 288869 h 447530"/>
                  <a:gd name="connsiteX12" fmla="*/ 497552 w 771471"/>
                  <a:gd name="connsiteY12" fmla="*/ 323828 h 447530"/>
                  <a:gd name="connsiteX13" fmla="*/ 481952 w 771471"/>
                  <a:gd name="connsiteY13" fmla="*/ 325147 h 447530"/>
                  <a:gd name="connsiteX14" fmla="*/ 420204 w 771471"/>
                  <a:gd name="connsiteY14" fmla="*/ 288869 h 447530"/>
                  <a:gd name="connsiteX15" fmla="*/ 421504 w 771471"/>
                  <a:gd name="connsiteY15" fmla="*/ 279634 h 447530"/>
                  <a:gd name="connsiteX16" fmla="*/ 481302 w 771471"/>
                  <a:gd name="connsiteY16" fmla="*/ 244675 h 447530"/>
                  <a:gd name="connsiteX17" fmla="*/ 496252 w 771471"/>
                  <a:gd name="connsiteY17" fmla="*/ 244015 h 447530"/>
                  <a:gd name="connsiteX18" fmla="*/ 289225 w 771471"/>
                  <a:gd name="connsiteY18" fmla="*/ 122383 h 447530"/>
                  <a:gd name="connsiteX19" fmla="*/ 351248 w 771471"/>
                  <a:gd name="connsiteY19" fmla="*/ 159321 h 447530"/>
                  <a:gd name="connsiteX20" fmla="*/ 350595 w 771471"/>
                  <a:gd name="connsiteY20" fmla="*/ 167896 h 447530"/>
                  <a:gd name="connsiteX21" fmla="*/ 289878 w 771471"/>
                  <a:gd name="connsiteY21" fmla="*/ 203515 h 447530"/>
                  <a:gd name="connsiteX22" fmla="*/ 275515 w 771471"/>
                  <a:gd name="connsiteY22" fmla="*/ 203515 h 447530"/>
                  <a:gd name="connsiteX23" fmla="*/ 212839 w 771471"/>
                  <a:gd name="connsiteY23" fmla="*/ 167236 h 447530"/>
                  <a:gd name="connsiteX24" fmla="*/ 213492 w 771471"/>
                  <a:gd name="connsiteY24" fmla="*/ 158661 h 447530"/>
                  <a:gd name="connsiteX25" fmla="*/ 274209 w 771471"/>
                  <a:gd name="connsiteY25" fmla="*/ 123702 h 447530"/>
                  <a:gd name="connsiteX26" fmla="*/ 289225 w 771471"/>
                  <a:gd name="connsiteY26" fmla="*/ 122383 h 447530"/>
                  <a:gd name="connsiteX27" fmla="*/ 79257 w 771471"/>
                  <a:gd name="connsiteY27" fmla="*/ 1410 h 447530"/>
                  <a:gd name="connsiteX28" fmla="*/ 141005 w 771471"/>
                  <a:gd name="connsiteY28" fmla="*/ 38348 h 447530"/>
                  <a:gd name="connsiteX29" fmla="*/ 139705 w 771471"/>
                  <a:gd name="connsiteY29" fmla="*/ 46923 h 447530"/>
                  <a:gd name="connsiteX30" fmla="*/ 79907 w 771471"/>
                  <a:gd name="connsiteY30" fmla="*/ 81882 h 447530"/>
                  <a:gd name="connsiteX31" fmla="*/ 64958 w 771471"/>
                  <a:gd name="connsiteY31" fmla="*/ 82542 h 447530"/>
                  <a:gd name="connsiteX32" fmla="*/ 2560 w 771471"/>
                  <a:gd name="connsiteY32" fmla="*/ 46263 h 447530"/>
                  <a:gd name="connsiteX33" fmla="*/ 3860 w 771471"/>
                  <a:gd name="connsiteY33" fmla="*/ 37688 h 447530"/>
                  <a:gd name="connsiteX34" fmla="*/ 64308 w 771471"/>
                  <a:gd name="connsiteY34" fmla="*/ 2069 h 447530"/>
                  <a:gd name="connsiteX35" fmla="*/ 79257 w 771471"/>
                  <a:gd name="connsiteY35" fmla="*/ 1410 h 447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71471" h="447530">
                    <a:moveTo>
                      <a:pt x="706513" y="364988"/>
                    </a:moveTo>
                    <a:lnTo>
                      <a:pt x="768911" y="401266"/>
                    </a:lnTo>
                    <a:cubicBezTo>
                      <a:pt x="772811" y="403245"/>
                      <a:pt x="772161" y="407203"/>
                      <a:pt x="767611" y="409841"/>
                    </a:cubicBezTo>
                    <a:lnTo>
                      <a:pt x="707813" y="445460"/>
                    </a:lnTo>
                    <a:cubicBezTo>
                      <a:pt x="703263" y="448099"/>
                      <a:pt x="696764" y="448099"/>
                      <a:pt x="692864" y="446120"/>
                    </a:cubicBezTo>
                    <a:lnTo>
                      <a:pt x="630466" y="409182"/>
                    </a:lnTo>
                    <a:cubicBezTo>
                      <a:pt x="626566" y="407203"/>
                      <a:pt x="627216" y="403245"/>
                      <a:pt x="631766" y="400607"/>
                    </a:cubicBezTo>
                    <a:lnTo>
                      <a:pt x="692214" y="365647"/>
                    </a:lnTo>
                    <a:cubicBezTo>
                      <a:pt x="696114" y="363009"/>
                      <a:pt x="703263" y="362349"/>
                      <a:pt x="706513" y="364988"/>
                    </a:cubicBezTo>
                    <a:close/>
                    <a:moveTo>
                      <a:pt x="496252" y="244015"/>
                    </a:moveTo>
                    <a:lnTo>
                      <a:pt x="558650" y="280294"/>
                    </a:lnTo>
                    <a:cubicBezTo>
                      <a:pt x="562550" y="282932"/>
                      <a:pt x="561900" y="286890"/>
                      <a:pt x="557350" y="288869"/>
                    </a:cubicBezTo>
                    <a:lnTo>
                      <a:pt x="497552" y="323828"/>
                    </a:lnTo>
                    <a:cubicBezTo>
                      <a:pt x="493002" y="327126"/>
                      <a:pt x="486502" y="327126"/>
                      <a:pt x="481952" y="325147"/>
                    </a:cubicBezTo>
                    <a:lnTo>
                      <a:pt x="420204" y="288869"/>
                    </a:lnTo>
                    <a:cubicBezTo>
                      <a:pt x="416304" y="286230"/>
                      <a:pt x="416304" y="282273"/>
                      <a:pt x="421504" y="279634"/>
                    </a:cubicBezTo>
                    <a:lnTo>
                      <a:pt x="481302" y="244675"/>
                    </a:lnTo>
                    <a:cubicBezTo>
                      <a:pt x="485852" y="242036"/>
                      <a:pt x="492352" y="241377"/>
                      <a:pt x="496252" y="244015"/>
                    </a:cubicBezTo>
                    <a:close/>
                    <a:moveTo>
                      <a:pt x="289225" y="122383"/>
                    </a:moveTo>
                    <a:lnTo>
                      <a:pt x="351248" y="159321"/>
                    </a:lnTo>
                    <a:cubicBezTo>
                      <a:pt x="355165" y="161300"/>
                      <a:pt x="355165" y="165257"/>
                      <a:pt x="350595" y="167896"/>
                    </a:cubicBezTo>
                    <a:lnTo>
                      <a:pt x="289878" y="203515"/>
                    </a:lnTo>
                    <a:cubicBezTo>
                      <a:pt x="285308" y="206153"/>
                      <a:pt x="278779" y="206153"/>
                      <a:pt x="275515" y="203515"/>
                    </a:cubicBezTo>
                    <a:lnTo>
                      <a:pt x="212839" y="167236"/>
                    </a:lnTo>
                    <a:cubicBezTo>
                      <a:pt x="208922" y="165257"/>
                      <a:pt x="209575" y="161300"/>
                      <a:pt x="213492" y="158661"/>
                    </a:cubicBezTo>
                    <a:lnTo>
                      <a:pt x="274209" y="123702"/>
                    </a:lnTo>
                    <a:cubicBezTo>
                      <a:pt x="278779" y="121063"/>
                      <a:pt x="285308" y="120404"/>
                      <a:pt x="289225" y="122383"/>
                    </a:cubicBezTo>
                    <a:close/>
                    <a:moveTo>
                      <a:pt x="79257" y="1410"/>
                    </a:moveTo>
                    <a:lnTo>
                      <a:pt x="141005" y="38348"/>
                    </a:lnTo>
                    <a:cubicBezTo>
                      <a:pt x="144905" y="40327"/>
                      <a:pt x="144905" y="44284"/>
                      <a:pt x="139705" y="46923"/>
                    </a:cubicBezTo>
                    <a:lnTo>
                      <a:pt x="79907" y="81882"/>
                    </a:lnTo>
                    <a:cubicBezTo>
                      <a:pt x="75357" y="84521"/>
                      <a:pt x="68858" y="85180"/>
                      <a:pt x="64958" y="82542"/>
                    </a:cubicBezTo>
                    <a:lnTo>
                      <a:pt x="2560" y="46263"/>
                    </a:lnTo>
                    <a:cubicBezTo>
                      <a:pt x="-1340" y="44284"/>
                      <a:pt x="-690" y="40327"/>
                      <a:pt x="3860" y="37688"/>
                    </a:cubicBezTo>
                    <a:lnTo>
                      <a:pt x="64308" y="2069"/>
                    </a:lnTo>
                    <a:cubicBezTo>
                      <a:pt x="68208" y="-569"/>
                      <a:pt x="75357" y="-569"/>
                      <a:pt x="79257" y="1410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7" name="Freeform 171">
                <a:extLst>
                  <a:ext uri="{FF2B5EF4-FFF2-40B4-BE49-F238E27FC236}">
                    <a16:creationId xmlns:a16="http://schemas.microsoft.com/office/drawing/2014/main" id="{43CBEC27-05C3-4A44-82BB-8B5E1540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7046" y="4628648"/>
                <a:ext cx="1687857" cy="699913"/>
              </a:xfrm>
              <a:custGeom>
                <a:avLst/>
                <a:gdLst>
                  <a:gd name="T0" fmla="*/ 43 w 2585"/>
                  <a:gd name="T1" fmla="*/ 514 h 1073"/>
                  <a:gd name="T2" fmla="*/ 44 w 2585"/>
                  <a:gd name="T3" fmla="*/ 514 h 1073"/>
                  <a:gd name="T4" fmla="*/ 44 w 2585"/>
                  <a:gd name="T5" fmla="*/ 514 h 1073"/>
                  <a:gd name="T6" fmla="*/ 54 w 2585"/>
                  <a:gd name="T7" fmla="*/ 508 h 1073"/>
                  <a:gd name="T8" fmla="*/ 724 w 2585"/>
                  <a:gd name="T9" fmla="*/ 121 h 1073"/>
                  <a:gd name="T10" fmla="*/ 724 w 2585"/>
                  <a:gd name="T11" fmla="*/ 121 h 1073"/>
                  <a:gd name="T12" fmla="*/ 890 w 2585"/>
                  <a:gd name="T13" fmla="*/ 114 h 1073"/>
                  <a:gd name="T14" fmla="*/ 2542 w 2585"/>
                  <a:gd name="T15" fmla="*/ 1072 h 1073"/>
                  <a:gd name="T16" fmla="*/ 2542 w 2585"/>
                  <a:gd name="T17" fmla="*/ 1072 h 1073"/>
                  <a:gd name="T18" fmla="*/ 2544 w 2585"/>
                  <a:gd name="T19" fmla="*/ 983 h 1073"/>
                  <a:gd name="T20" fmla="*/ 890 w 2585"/>
                  <a:gd name="T21" fmla="*/ 24 h 1073"/>
                  <a:gd name="T22" fmla="*/ 890 w 2585"/>
                  <a:gd name="T23" fmla="*/ 24 h 1073"/>
                  <a:gd name="T24" fmla="*/ 724 w 2585"/>
                  <a:gd name="T25" fmla="*/ 31 h 1073"/>
                  <a:gd name="T26" fmla="*/ 54 w 2585"/>
                  <a:gd name="T27" fmla="*/ 417 h 1073"/>
                  <a:gd name="T28" fmla="*/ 54 w 2585"/>
                  <a:gd name="T29" fmla="*/ 417 h 1073"/>
                  <a:gd name="T30" fmla="*/ 43 w 2585"/>
                  <a:gd name="T31" fmla="*/ 514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1073">
                    <a:moveTo>
                      <a:pt x="43" y="514"/>
                    </a:moveTo>
                    <a:lnTo>
                      <a:pt x="44" y="514"/>
                    </a:lnTo>
                    <a:lnTo>
                      <a:pt x="44" y="514"/>
                    </a:lnTo>
                    <a:cubicBezTo>
                      <a:pt x="48" y="513"/>
                      <a:pt x="51" y="509"/>
                      <a:pt x="54" y="508"/>
                    </a:cubicBezTo>
                    <a:lnTo>
                      <a:pt x="724" y="121"/>
                    </a:lnTo>
                    <a:lnTo>
                      <a:pt x="724" y="121"/>
                    </a:lnTo>
                    <a:cubicBezTo>
                      <a:pt x="773" y="93"/>
                      <a:pt x="847" y="90"/>
                      <a:pt x="890" y="114"/>
                    </a:cubicBezTo>
                    <a:lnTo>
                      <a:pt x="2542" y="1072"/>
                    </a:lnTo>
                    <a:lnTo>
                      <a:pt x="2542" y="1072"/>
                    </a:lnTo>
                    <a:cubicBezTo>
                      <a:pt x="2582" y="1044"/>
                      <a:pt x="2584" y="1006"/>
                      <a:pt x="2544" y="983"/>
                    </a:cubicBezTo>
                    <a:lnTo>
                      <a:pt x="890" y="24"/>
                    </a:lnTo>
                    <a:lnTo>
                      <a:pt x="890" y="24"/>
                    </a:lnTo>
                    <a:cubicBezTo>
                      <a:pt x="847" y="0"/>
                      <a:pt x="773" y="3"/>
                      <a:pt x="724" y="31"/>
                    </a:cubicBezTo>
                    <a:lnTo>
                      <a:pt x="54" y="417"/>
                    </a:lnTo>
                    <a:lnTo>
                      <a:pt x="54" y="417"/>
                    </a:lnTo>
                    <a:cubicBezTo>
                      <a:pt x="6" y="446"/>
                      <a:pt x="0" y="489"/>
                      <a:pt x="43" y="514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32FD7CB2-4866-5B46-BEA0-16574A2789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91275" y="5920109"/>
                <a:ext cx="739584" cy="3136669"/>
              </a:xfrm>
              <a:custGeom>
                <a:avLst/>
                <a:gdLst>
                  <a:gd name="connsiteX0" fmla="*/ 721535 w 739584"/>
                  <a:gd name="connsiteY0" fmla="*/ 2388214 h 3136669"/>
                  <a:gd name="connsiteX1" fmla="*/ 739584 w 739584"/>
                  <a:gd name="connsiteY1" fmla="*/ 2436795 h 3136669"/>
                  <a:gd name="connsiteX2" fmla="*/ 739584 w 739584"/>
                  <a:gd name="connsiteY2" fmla="*/ 2656634 h 3136669"/>
                  <a:gd name="connsiteX3" fmla="*/ 677516 w 739584"/>
                  <a:gd name="connsiteY3" fmla="*/ 2777023 h 3136669"/>
                  <a:gd name="connsiteX4" fmla="*/ 62721 w 739584"/>
                  <a:gd name="connsiteY4" fmla="*/ 3129029 h 3136669"/>
                  <a:gd name="connsiteX5" fmla="*/ 0 w 739584"/>
                  <a:gd name="connsiteY5" fmla="*/ 3081920 h 3136669"/>
                  <a:gd name="connsiteX6" fmla="*/ 0 w 739584"/>
                  <a:gd name="connsiteY6" fmla="*/ 2862080 h 3136669"/>
                  <a:gd name="connsiteX7" fmla="*/ 62721 w 739584"/>
                  <a:gd name="connsiteY7" fmla="*/ 2741692 h 3136669"/>
                  <a:gd name="connsiteX8" fmla="*/ 677516 w 739584"/>
                  <a:gd name="connsiteY8" fmla="*/ 2389686 h 3136669"/>
                  <a:gd name="connsiteX9" fmla="*/ 721535 w 739584"/>
                  <a:gd name="connsiteY9" fmla="*/ 2388214 h 3136669"/>
                  <a:gd name="connsiteX10" fmla="*/ 721535 w 739584"/>
                  <a:gd name="connsiteY10" fmla="*/ 1593578 h 3136669"/>
                  <a:gd name="connsiteX11" fmla="*/ 739584 w 739584"/>
                  <a:gd name="connsiteY11" fmla="*/ 1642486 h 3136669"/>
                  <a:gd name="connsiteX12" fmla="*/ 739584 w 739584"/>
                  <a:gd name="connsiteY12" fmla="*/ 1862326 h 3136669"/>
                  <a:gd name="connsiteX13" fmla="*/ 677516 w 739584"/>
                  <a:gd name="connsiteY13" fmla="*/ 1982060 h 3136669"/>
                  <a:gd name="connsiteX14" fmla="*/ 62721 w 739584"/>
                  <a:gd name="connsiteY14" fmla="*/ 2334066 h 3136669"/>
                  <a:gd name="connsiteX15" fmla="*/ 0 w 739584"/>
                  <a:gd name="connsiteY15" fmla="*/ 2286957 h 3136669"/>
                  <a:gd name="connsiteX16" fmla="*/ 0 w 739584"/>
                  <a:gd name="connsiteY16" fmla="*/ 2067117 h 3136669"/>
                  <a:gd name="connsiteX17" fmla="*/ 62721 w 739584"/>
                  <a:gd name="connsiteY17" fmla="*/ 1946729 h 3136669"/>
                  <a:gd name="connsiteX18" fmla="*/ 677516 w 739584"/>
                  <a:gd name="connsiteY18" fmla="*/ 1594723 h 3136669"/>
                  <a:gd name="connsiteX19" fmla="*/ 721535 w 739584"/>
                  <a:gd name="connsiteY19" fmla="*/ 1593578 h 3136669"/>
                  <a:gd name="connsiteX20" fmla="*/ 701822 w 739584"/>
                  <a:gd name="connsiteY20" fmla="*/ 792122 h 3136669"/>
                  <a:gd name="connsiteX21" fmla="*/ 739584 w 739584"/>
                  <a:gd name="connsiteY21" fmla="*/ 847465 h 3136669"/>
                  <a:gd name="connsiteX22" fmla="*/ 739584 w 739584"/>
                  <a:gd name="connsiteY22" fmla="*/ 1067121 h 3136669"/>
                  <a:gd name="connsiteX23" fmla="*/ 677516 w 739584"/>
                  <a:gd name="connsiteY23" fmla="*/ 1187409 h 3136669"/>
                  <a:gd name="connsiteX24" fmla="*/ 62721 w 739584"/>
                  <a:gd name="connsiteY24" fmla="*/ 1539120 h 3136669"/>
                  <a:gd name="connsiteX25" fmla="*/ 0 w 739584"/>
                  <a:gd name="connsiteY25" fmla="*/ 1491397 h 3136669"/>
                  <a:gd name="connsiteX26" fmla="*/ 0 w 739584"/>
                  <a:gd name="connsiteY26" fmla="*/ 1271741 h 3136669"/>
                  <a:gd name="connsiteX27" fmla="*/ 62721 w 739584"/>
                  <a:gd name="connsiteY27" fmla="*/ 1152107 h 3136669"/>
                  <a:gd name="connsiteX28" fmla="*/ 677516 w 739584"/>
                  <a:gd name="connsiteY28" fmla="*/ 799742 h 3136669"/>
                  <a:gd name="connsiteX29" fmla="*/ 701822 w 739584"/>
                  <a:gd name="connsiteY29" fmla="*/ 792122 h 3136669"/>
                  <a:gd name="connsiteX30" fmla="*/ 721535 w 739584"/>
                  <a:gd name="connsiteY30" fmla="*/ 6396 h 3136669"/>
                  <a:gd name="connsiteX31" fmla="*/ 739584 w 739584"/>
                  <a:gd name="connsiteY31" fmla="*/ 54593 h 3136669"/>
                  <a:gd name="connsiteX32" fmla="*/ 739584 w 739584"/>
                  <a:gd name="connsiteY32" fmla="*/ 274458 h 3136669"/>
                  <a:gd name="connsiteX33" fmla="*/ 677516 w 739584"/>
                  <a:gd name="connsiteY33" fmla="*/ 393851 h 3136669"/>
                  <a:gd name="connsiteX34" fmla="*/ 62721 w 739584"/>
                  <a:gd name="connsiteY34" fmla="*/ 744199 h 3136669"/>
                  <a:gd name="connsiteX35" fmla="*/ 0 w 739584"/>
                  <a:gd name="connsiteY35" fmla="*/ 697225 h 3136669"/>
                  <a:gd name="connsiteX36" fmla="*/ 0 w 739584"/>
                  <a:gd name="connsiteY36" fmla="*/ 478665 h 3136669"/>
                  <a:gd name="connsiteX37" fmla="*/ 62721 w 739584"/>
                  <a:gd name="connsiteY37" fmla="*/ 358620 h 3136669"/>
                  <a:gd name="connsiteX38" fmla="*/ 677516 w 739584"/>
                  <a:gd name="connsiteY38" fmla="*/ 7619 h 3136669"/>
                  <a:gd name="connsiteX39" fmla="*/ 721535 w 739584"/>
                  <a:gd name="connsiteY39" fmla="*/ 6396 h 313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39584" h="3136669">
                    <a:moveTo>
                      <a:pt x="721535" y="2388214"/>
                    </a:moveTo>
                    <a:cubicBezTo>
                      <a:pt x="732724" y="2396720"/>
                      <a:pt x="739584" y="2413568"/>
                      <a:pt x="739584" y="2436795"/>
                    </a:cubicBezTo>
                    <a:lnTo>
                      <a:pt x="739584" y="2656634"/>
                    </a:lnTo>
                    <a:cubicBezTo>
                      <a:pt x="739584" y="2703089"/>
                      <a:pt x="712143" y="2756740"/>
                      <a:pt x="677516" y="2777023"/>
                    </a:cubicBezTo>
                    <a:lnTo>
                      <a:pt x="62721" y="3129029"/>
                    </a:lnTo>
                    <a:cubicBezTo>
                      <a:pt x="28094" y="3149312"/>
                      <a:pt x="0" y="3127720"/>
                      <a:pt x="0" y="3081920"/>
                    </a:cubicBezTo>
                    <a:lnTo>
                      <a:pt x="0" y="2862080"/>
                    </a:lnTo>
                    <a:cubicBezTo>
                      <a:pt x="0" y="2815626"/>
                      <a:pt x="28094" y="2761975"/>
                      <a:pt x="62721" y="2741692"/>
                    </a:cubicBezTo>
                    <a:lnTo>
                      <a:pt x="677516" y="2389686"/>
                    </a:lnTo>
                    <a:cubicBezTo>
                      <a:pt x="694830" y="2379545"/>
                      <a:pt x="710347" y="2379708"/>
                      <a:pt x="721535" y="2388214"/>
                    </a:cubicBezTo>
                    <a:close/>
                    <a:moveTo>
                      <a:pt x="721535" y="1593578"/>
                    </a:moveTo>
                    <a:cubicBezTo>
                      <a:pt x="732724" y="1602247"/>
                      <a:pt x="739584" y="1619259"/>
                      <a:pt x="739584" y="1642486"/>
                    </a:cubicBezTo>
                    <a:lnTo>
                      <a:pt x="739584" y="1862326"/>
                    </a:lnTo>
                    <a:cubicBezTo>
                      <a:pt x="739584" y="1908780"/>
                      <a:pt x="712143" y="1961777"/>
                      <a:pt x="677516" y="1982060"/>
                    </a:cubicBezTo>
                    <a:lnTo>
                      <a:pt x="62721" y="2334066"/>
                    </a:lnTo>
                    <a:cubicBezTo>
                      <a:pt x="28094" y="2354349"/>
                      <a:pt x="0" y="2333412"/>
                      <a:pt x="0" y="2286957"/>
                    </a:cubicBezTo>
                    <a:lnTo>
                      <a:pt x="0" y="2067117"/>
                    </a:lnTo>
                    <a:cubicBezTo>
                      <a:pt x="0" y="2020663"/>
                      <a:pt x="28094" y="1967012"/>
                      <a:pt x="62721" y="1946729"/>
                    </a:cubicBezTo>
                    <a:lnTo>
                      <a:pt x="677516" y="1594723"/>
                    </a:lnTo>
                    <a:cubicBezTo>
                      <a:pt x="694830" y="1584582"/>
                      <a:pt x="710347" y="1584909"/>
                      <a:pt x="721535" y="1593578"/>
                    </a:cubicBezTo>
                    <a:close/>
                    <a:moveTo>
                      <a:pt x="701822" y="792122"/>
                    </a:moveTo>
                    <a:cubicBezTo>
                      <a:pt x="724148" y="791816"/>
                      <a:pt x="739584" y="812653"/>
                      <a:pt x="739584" y="847465"/>
                    </a:cubicBezTo>
                    <a:lnTo>
                      <a:pt x="739584" y="1067121"/>
                    </a:lnTo>
                    <a:cubicBezTo>
                      <a:pt x="739584" y="1113536"/>
                      <a:pt x="712143" y="1167143"/>
                      <a:pt x="677516" y="1187409"/>
                    </a:cubicBezTo>
                    <a:lnTo>
                      <a:pt x="62721" y="1539120"/>
                    </a:lnTo>
                    <a:cubicBezTo>
                      <a:pt x="28094" y="1559385"/>
                      <a:pt x="0" y="1537812"/>
                      <a:pt x="0" y="1491397"/>
                    </a:cubicBezTo>
                    <a:lnTo>
                      <a:pt x="0" y="1271741"/>
                    </a:lnTo>
                    <a:cubicBezTo>
                      <a:pt x="0" y="1225325"/>
                      <a:pt x="28094" y="1172373"/>
                      <a:pt x="62721" y="1152107"/>
                    </a:cubicBezTo>
                    <a:lnTo>
                      <a:pt x="677516" y="799742"/>
                    </a:lnTo>
                    <a:cubicBezTo>
                      <a:pt x="686173" y="794676"/>
                      <a:pt x="694380" y="792224"/>
                      <a:pt x="701822" y="792122"/>
                    </a:cubicBezTo>
                    <a:close/>
                    <a:moveTo>
                      <a:pt x="721535" y="6396"/>
                    </a:moveTo>
                    <a:cubicBezTo>
                      <a:pt x="732724" y="14959"/>
                      <a:pt x="739584" y="31759"/>
                      <a:pt x="739584" y="54593"/>
                    </a:cubicBezTo>
                    <a:lnTo>
                      <a:pt x="739584" y="274458"/>
                    </a:lnTo>
                    <a:cubicBezTo>
                      <a:pt x="739584" y="320127"/>
                      <a:pt x="712143" y="373626"/>
                      <a:pt x="677516" y="393851"/>
                    </a:cubicBezTo>
                    <a:lnTo>
                      <a:pt x="62721" y="744199"/>
                    </a:lnTo>
                    <a:cubicBezTo>
                      <a:pt x="28094" y="764424"/>
                      <a:pt x="0" y="743546"/>
                      <a:pt x="0" y="697225"/>
                    </a:cubicBezTo>
                    <a:lnTo>
                      <a:pt x="0" y="478665"/>
                    </a:lnTo>
                    <a:cubicBezTo>
                      <a:pt x="0" y="432343"/>
                      <a:pt x="28094" y="378845"/>
                      <a:pt x="62721" y="358620"/>
                    </a:cubicBezTo>
                    <a:lnTo>
                      <a:pt x="677516" y="7619"/>
                    </a:lnTo>
                    <a:cubicBezTo>
                      <a:pt x="694830" y="-2493"/>
                      <a:pt x="710347" y="-2167"/>
                      <a:pt x="721535" y="6396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9" name="Freeform 173">
                <a:extLst>
                  <a:ext uri="{FF2B5EF4-FFF2-40B4-BE49-F238E27FC236}">
                    <a16:creationId xmlns:a16="http://schemas.microsoft.com/office/drawing/2014/main" id="{84904312-F105-4B47-AF18-A6B8FF2EB5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5919024"/>
                <a:ext cx="722957" cy="754639"/>
              </a:xfrm>
              <a:custGeom>
                <a:avLst/>
                <a:gdLst>
                  <a:gd name="T0" fmla="*/ 1059 w 1109"/>
                  <a:gd name="T1" fmla="*/ 0 h 1157"/>
                  <a:gd name="T2" fmla="*/ 1059 w 1109"/>
                  <a:gd name="T3" fmla="*/ 0 h 1157"/>
                  <a:gd name="T4" fmla="*/ 1083 w 1109"/>
                  <a:gd name="T5" fmla="*/ 70 h 1157"/>
                  <a:gd name="T6" fmla="*/ 1083 w 1109"/>
                  <a:gd name="T7" fmla="*/ 406 h 1157"/>
                  <a:gd name="T8" fmla="*/ 1083 w 1109"/>
                  <a:gd name="T9" fmla="*/ 406 h 1157"/>
                  <a:gd name="T10" fmla="*/ 988 w 1109"/>
                  <a:gd name="T11" fmla="*/ 589 h 1157"/>
                  <a:gd name="T12" fmla="*/ 47 w 1109"/>
                  <a:gd name="T13" fmla="*/ 1127 h 1157"/>
                  <a:gd name="T14" fmla="*/ 47 w 1109"/>
                  <a:gd name="T15" fmla="*/ 1127 h 1157"/>
                  <a:gd name="T16" fmla="*/ 0 w 1109"/>
                  <a:gd name="T17" fmla="*/ 1137 h 1157"/>
                  <a:gd name="T18" fmla="*/ 0 w 1109"/>
                  <a:gd name="T19" fmla="*/ 1137 h 1157"/>
                  <a:gd name="T20" fmla="*/ 72 w 1109"/>
                  <a:gd name="T21" fmla="*/ 1139 h 1157"/>
                  <a:gd name="T22" fmla="*/ 1013 w 1109"/>
                  <a:gd name="T23" fmla="*/ 602 h 1157"/>
                  <a:gd name="T24" fmla="*/ 1013 w 1109"/>
                  <a:gd name="T25" fmla="*/ 602 h 1157"/>
                  <a:gd name="T26" fmla="*/ 1108 w 1109"/>
                  <a:gd name="T27" fmla="*/ 419 h 1157"/>
                  <a:gd name="T28" fmla="*/ 1108 w 1109"/>
                  <a:gd name="T29" fmla="*/ 82 h 1157"/>
                  <a:gd name="T30" fmla="*/ 1108 w 1109"/>
                  <a:gd name="T31" fmla="*/ 82 h 1157"/>
                  <a:gd name="T32" fmla="*/ 1059 w 1109"/>
                  <a:gd name="T33" fmla="*/ 0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7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7"/>
                    </a:lnTo>
                    <a:lnTo>
                      <a:pt x="47" y="1127"/>
                    </a:lnTo>
                    <a:cubicBezTo>
                      <a:pt x="30" y="1137"/>
                      <a:pt x="14" y="1139"/>
                      <a:pt x="0" y="1137"/>
                    </a:cubicBezTo>
                    <a:lnTo>
                      <a:pt x="0" y="1137"/>
                    </a:lnTo>
                    <a:cubicBezTo>
                      <a:pt x="17" y="1153"/>
                      <a:pt x="43" y="1156"/>
                      <a:pt x="72" y="1139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9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0" name="Freeform 177">
                <a:extLst>
                  <a:ext uri="{FF2B5EF4-FFF2-40B4-BE49-F238E27FC236}">
                    <a16:creationId xmlns:a16="http://schemas.microsoft.com/office/drawing/2014/main" id="{D48DB6B9-9F47-D942-AABB-32AA7C1027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7508950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0 h 1159"/>
                  <a:gd name="T22" fmla="*/ 1013 w 1109"/>
                  <a:gd name="T23" fmla="*/ 602 h 1159"/>
                  <a:gd name="T24" fmla="*/ 1013 w 1109"/>
                  <a:gd name="T25" fmla="*/ 602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7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8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1" name="Freeform 181">
                <a:extLst>
                  <a:ext uri="{FF2B5EF4-FFF2-40B4-BE49-F238E27FC236}">
                    <a16:creationId xmlns:a16="http://schemas.microsoft.com/office/drawing/2014/main" id="{F1A50727-1F36-4548-8F75-4763867F2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8301034"/>
                <a:ext cx="722957" cy="757520"/>
              </a:xfrm>
              <a:custGeom>
                <a:avLst/>
                <a:gdLst>
                  <a:gd name="T0" fmla="*/ 1059 w 1109"/>
                  <a:gd name="T1" fmla="*/ 0 h 1158"/>
                  <a:gd name="T2" fmla="*/ 1059 w 1109"/>
                  <a:gd name="T3" fmla="*/ 0 h 1158"/>
                  <a:gd name="T4" fmla="*/ 1083 w 1109"/>
                  <a:gd name="T5" fmla="*/ 69 h 1158"/>
                  <a:gd name="T6" fmla="*/ 1083 w 1109"/>
                  <a:gd name="T7" fmla="*/ 406 h 1158"/>
                  <a:gd name="T8" fmla="*/ 1083 w 1109"/>
                  <a:gd name="T9" fmla="*/ 406 h 1158"/>
                  <a:gd name="T10" fmla="*/ 988 w 1109"/>
                  <a:gd name="T11" fmla="*/ 589 h 1158"/>
                  <a:gd name="T12" fmla="*/ 47 w 1109"/>
                  <a:gd name="T13" fmla="*/ 1128 h 1158"/>
                  <a:gd name="T14" fmla="*/ 47 w 1109"/>
                  <a:gd name="T15" fmla="*/ 1128 h 1158"/>
                  <a:gd name="T16" fmla="*/ 0 w 1109"/>
                  <a:gd name="T17" fmla="*/ 1138 h 1158"/>
                  <a:gd name="T18" fmla="*/ 0 w 1109"/>
                  <a:gd name="T19" fmla="*/ 1138 h 1158"/>
                  <a:gd name="T20" fmla="*/ 72 w 1109"/>
                  <a:gd name="T21" fmla="*/ 1140 h 1158"/>
                  <a:gd name="T22" fmla="*/ 1013 w 1109"/>
                  <a:gd name="T23" fmla="*/ 602 h 1158"/>
                  <a:gd name="T24" fmla="*/ 1013 w 1109"/>
                  <a:gd name="T25" fmla="*/ 602 h 1158"/>
                  <a:gd name="T26" fmla="*/ 1108 w 1109"/>
                  <a:gd name="T27" fmla="*/ 418 h 1158"/>
                  <a:gd name="T28" fmla="*/ 1108 w 1109"/>
                  <a:gd name="T29" fmla="*/ 82 h 1158"/>
                  <a:gd name="T30" fmla="*/ 1108 w 1109"/>
                  <a:gd name="T31" fmla="*/ 82 h 1158"/>
                  <a:gd name="T32" fmla="*/ 1059 w 1109"/>
                  <a:gd name="T33" fmla="*/ 0 h 1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8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3"/>
                      <a:pt x="1083" y="37"/>
                      <a:pt x="1083" y="69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8"/>
                      <a:pt x="988" y="589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7"/>
                      <a:pt x="14" y="1140"/>
                      <a:pt x="0" y="1138"/>
                    </a:cubicBezTo>
                    <a:lnTo>
                      <a:pt x="0" y="1138"/>
                    </a:lnTo>
                    <a:cubicBezTo>
                      <a:pt x="17" y="1154"/>
                      <a:pt x="43" y="1157"/>
                      <a:pt x="72" y="1140"/>
                    </a:cubicBezTo>
                    <a:lnTo>
                      <a:pt x="1013" y="602"/>
                    </a:lnTo>
                    <a:lnTo>
                      <a:pt x="1013" y="602"/>
                    </a:lnTo>
                    <a:cubicBezTo>
                      <a:pt x="1066" y="571"/>
                      <a:pt x="1108" y="489"/>
                      <a:pt x="1108" y="418"/>
                    </a:cubicBezTo>
                    <a:lnTo>
                      <a:pt x="1108" y="82"/>
                    </a:lnTo>
                    <a:lnTo>
                      <a:pt x="1108" y="82"/>
                    </a:lnTo>
                    <a:cubicBezTo>
                      <a:pt x="1108" y="34"/>
                      <a:pt x="1089" y="4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2" name="Freeform 185">
                <a:extLst>
                  <a:ext uri="{FF2B5EF4-FFF2-40B4-BE49-F238E27FC236}">
                    <a16:creationId xmlns:a16="http://schemas.microsoft.com/office/drawing/2014/main" id="{511FAC62-BEC0-D34A-A319-D8AAF186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6713987"/>
                <a:ext cx="722957" cy="757519"/>
              </a:xfrm>
              <a:custGeom>
                <a:avLst/>
                <a:gdLst>
                  <a:gd name="T0" fmla="*/ 1059 w 1109"/>
                  <a:gd name="T1" fmla="*/ 0 h 1159"/>
                  <a:gd name="T2" fmla="*/ 1059 w 1109"/>
                  <a:gd name="T3" fmla="*/ 0 h 1159"/>
                  <a:gd name="T4" fmla="*/ 1083 w 1109"/>
                  <a:gd name="T5" fmla="*/ 70 h 1159"/>
                  <a:gd name="T6" fmla="*/ 1083 w 1109"/>
                  <a:gd name="T7" fmla="*/ 406 h 1159"/>
                  <a:gd name="T8" fmla="*/ 1083 w 1109"/>
                  <a:gd name="T9" fmla="*/ 406 h 1159"/>
                  <a:gd name="T10" fmla="*/ 988 w 1109"/>
                  <a:gd name="T11" fmla="*/ 590 h 1159"/>
                  <a:gd name="T12" fmla="*/ 47 w 1109"/>
                  <a:gd name="T13" fmla="*/ 1128 h 1159"/>
                  <a:gd name="T14" fmla="*/ 47 w 1109"/>
                  <a:gd name="T15" fmla="*/ 1128 h 1159"/>
                  <a:gd name="T16" fmla="*/ 0 w 1109"/>
                  <a:gd name="T17" fmla="*/ 1138 h 1159"/>
                  <a:gd name="T18" fmla="*/ 0 w 1109"/>
                  <a:gd name="T19" fmla="*/ 1138 h 1159"/>
                  <a:gd name="T20" fmla="*/ 72 w 1109"/>
                  <a:gd name="T21" fmla="*/ 1141 h 1159"/>
                  <a:gd name="T22" fmla="*/ 1013 w 1109"/>
                  <a:gd name="T23" fmla="*/ 603 h 1159"/>
                  <a:gd name="T24" fmla="*/ 1013 w 1109"/>
                  <a:gd name="T25" fmla="*/ 603 h 1159"/>
                  <a:gd name="T26" fmla="*/ 1108 w 1109"/>
                  <a:gd name="T27" fmla="*/ 419 h 1159"/>
                  <a:gd name="T28" fmla="*/ 1108 w 1109"/>
                  <a:gd name="T29" fmla="*/ 83 h 1159"/>
                  <a:gd name="T30" fmla="*/ 1108 w 1109"/>
                  <a:gd name="T31" fmla="*/ 83 h 1159"/>
                  <a:gd name="T32" fmla="*/ 1059 w 1109"/>
                  <a:gd name="T33" fmla="*/ 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9" h="1159">
                    <a:moveTo>
                      <a:pt x="1059" y="0"/>
                    </a:moveTo>
                    <a:lnTo>
                      <a:pt x="1059" y="0"/>
                    </a:lnTo>
                    <a:cubicBezTo>
                      <a:pt x="1074" y="14"/>
                      <a:pt x="1083" y="38"/>
                      <a:pt x="1083" y="70"/>
                    </a:cubicBezTo>
                    <a:lnTo>
                      <a:pt x="1083" y="406"/>
                    </a:lnTo>
                    <a:lnTo>
                      <a:pt x="1083" y="406"/>
                    </a:lnTo>
                    <a:cubicBezTo>
                      <a:pt x="1083" y="477"/>
                      <a:pt x="1040" y="559"/>
                      <a:pt x="988" y="590"/>
                    </a:cubicBezTo>
                    <a:lnTo>
                      <a:pt x="47" y="1128"/>
                    </a:lnTo>
                    <a:lnTo>
                      <a:pt x="47" y="1128"/>
                    </a:lnTo>
                    <a:cubicBezTo>
                      <a:pt x="30" y="1138"/>
                      <a:pt x="14" y="1141"/>
                      <a:pt x="0" y="1138"/>
                    </a:cubicBezTo>
                    <a:lnTo>
                      <a:pt x="0" y="1138"/>
                    </a:lnTo>
                    <a:cubicBezTo>
                      <a:pt x="17" y="1155"/>
                      <a:pt x="43" y="1158"/>
                      <a:pt x="72" y="1141"/>
                    </a:cubicBezTo>
                    <a:lnTo>
                      <a:pt x="1013" y="603"/>
                    </a:lnTo>
                    <a:lnTo>
                      <a:pt x="1013" y="603"/>
                    </a:lnTo>
                    <a:cubicBezTo>
                      <a:pt x="1066" y="572"/>
                      <a:pt x="1108" y="490"/>
                      <a:pt x="1108" y="419"/>
                    </a:cubicBezTo>
                    <a:lnTo>
                      <a:pt x="1108" y="83"/>
                    </a:lnTo>
                    <a:lnTo>
                      <a:pt x="1108" y="83"/>
                    </a:lnTo>
                    <a:cubicBezTo>
                      <a:pt x="1108" y="35"/>
                      <a:pt x="1089" y="5"/>
                      <a:pt x="105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50CE3931-B2E6-3449-B2B0-508475BF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24578" y="6186526"/>
                <a:ext cx="270102" cy="2624016"/>
              </a:xfrm>
              <a:custGeom>
                <a:avLst/>
                <a:gdLst>
                  <a:gd name="connsiteX0" fmla="*/ 69285 w 270102"/>
                  <a:gd name="connsiteY0" fmla="*/ 2492875 h 2624016"/>
                  <a:gd name="connsiteX1" fmla="*/ 82882 w 270102"/>
                  <a:gd name="connsiteY1" fmla="*/ 2503359 h 2624016"/>
                  <a:gd name="connsiteX2" fmla="*/ 82882 w 270102"/>
                  <a:gd name="connsiteY2" fmla="*/ 2563641 h 2624016"/>
                  <a:gd name="connsiteX3" fmla="*/ 69285 w 270102"/>
                  <a:gd name="connsiteY3" fmla="*/ 2589850 h 2624016"/>
                  <a:gd name="connsiteX4" fmla="*/ 13598 w 270102"/>
                  <a:gd name="connsiteY4" fmla="*/ 2622612 h 2624016"/>
                  <a:gd name="connsiteX5" fmla="*/ 0 w 270102"/>
                  <a:gd name="connsiteY5" fmla="*/ 2612129 h 2624016"/>
                  <a:gd name="connsiteX6" fmla="*/ 0 w 270102"/>
                  <a:gd name="connsiteY6" fmla="*/ 2551847 h 2624016"/>
                  <a:gd name="connsiteX7" fmla="*/ 13598 w 270102"/>
                  <a:gd name="connsiteY7" fmla="*/ 2525637 h 2624016"/>
                  <a:gd name="connsiteX8" fmla="*/ 257152 w 270102"/>
                  <a:gd name="connsiteY8" fmla="*/ 2383424 h 2624016"/>
                  <a:gd name="connsiteX9" fmla="*/ 270102 w 270102"/>
                  <a:gd name="connsiteY9" fmla="*/ 2393908 h 2624016"/>
                  <a:gd name="connsiteX10" fmla="*/ 270102 w 270102"/>
                  <a:gd name="connsiteY10" fmla="*/ 2454190 h 2624016"/>
                  <a:gd name="connsiteX11" fmla="*/ 257152 w 270102"/>
                  <a:gd name="connsiteY11" fmla="*/ 2480399 h 2624016"/>
                  <a:gd name="connsiteX12" fmla="*/ 200820 w 270102"/>
                  <a:gd name="connsiteY12" fmla="*/ 2513161 h 2624016"/>
                  <a:gd name="connsiteX13" fmla="*/ 187222 w 270102"/>
                  <a:gd name="connsiteY13" fmla="*/ 2502678 h 2624016"/>
                  <a:gd name="connsiteX14" fmla="*/ 187222 w 270102"/>
                  <a:gd name="connsiteY14" fmla="*/ 2442396 h 2624016"/>
                  <a:gd name="connsiteX15" fmla="*/ 200820 w 270102"/>
                  <a:gd name="connsiteY15" fmla="*/ 2416186 h 2624016"/>
                  <a:gd name="connsiteX16" fmla="*/ 69285 w 270102"/>
                  <a:gd name="connsiteY16" fmla="*/ 1697894 h 2624016"/>
                  <a:gd name="connsiteX17" fmla="*/ 82882 w 270102"/>
                  <a:gd name="connsiteY17" fmla="*/ 1708328 h 2624016"/>
                  <a:gd name="connsiteX18" fmla="*/ 82882 w 270102"/>
                  <a:gd name="connsiteY18" fmla="*/ 1768326 h 2624016"/>
                  <a:gd name="connsiteX19" fmla="*/ 69285 w 270102"/>
                  <a:gd name="connsiteY19" fmla="*/ 1794412 h 2624016"/>
                  <a:gd name="connsiteX20" fmla="*/ 13598 w 270102"/>
                  <a:gd name="connsiteY20" fmla="*/ 1827019 h 2624016"/>
                  <a:gd name="connsiteX21" fmla="*/ 0 w 270102"/>
                  <a:gd name="connsiteY21" fmla="*/ 1816585 h 2624016"/>
                  <a:gd name="connsiteX22" fmla="*/ 0 w 270102"/>
                  <a:gd name="connsiteY22" fmla="*/ 1756587 h 2624016"/>
                  <a:gd name="connsiteX23" fmla="*/ 13598 w 270102"/>
                  <a:gd name="connsiteY23" fmla="*/ 1730501 h 2624016"/>
                  <a:gd name="connsiteX24" fmla="*/ 266298 w 270102"/>
                  <a:gd name="connsiteY24" fmla="*/ 1588688 h 2624016"/>
                  <a:gd name="connsiteX25" fmla="*/ 270102 w 270102"/>
                  <a:gd name="connsiteY25" fmla="*/ 1599530 h 2624016"/>
                  <a:gd name="connsiteX26" fmla="*/ 270102 w 270102"/>
                  <a:gd name="connsiteY26" fmla="*/ 1659527 h 2624016"/>
                  <a:gd name="connsiteX27" fmla="*/ 257152 w 270102"/>
                  <a:gd name="connsiteY27" fmla="*/ 1685613 h 2624016"/>
                  <a:gd name="connsiteX28" fmla="*/ 200820 w 270102"/>
                  <a:gd name="connsiteY28" fmla="*/ 1717568 h 2624016"/>
                  <a:gd name="connsiteX29" fmla="*/ 187222 w 270102"/>
                  <a:gd name="connsiteY29" fmla="*/ 1707134 h 2624016"/>
                  <a:gd name="connsiteX30" fmla="*/ 187222 w 270102"/>
                  <a:gd name="connsiteY30" fmla="*/ 1647788 h 2624016"/>
                  <a:gd name="connsiteX31" fmla="*/ 200820 w 270102"/>
                  <a:gd name="connsiteY31" fmla="*/ 1621703 h 2624016"/>
                  <a:gd name="connsiteX32" fmla="*/ 257152 w 270102"/>
                  <a:gd name="connsiteY32" fmla="*/ 1589095 h 2624016"/>
                  <a:gd name="connsiteX33" fmla="*/ 266298 w 270102"/>
                  <a:gd name="connsiteY33" fmla="*/ 1588688 h 2624016"/>
                  <a:gd name="connsiteX34" fmla="*/ 78997 w 270102"/>
                  <a:gd name="connsiteY34" fmla="*/ 903176 h 2624016"/>
                  <a:gd name="connsiteX35" fmla="*/ 82882 w 270102"/>
                  <a:gd name="connsiteY35" fmla="*/ 914018 h 2624016"/>
                  <a:gd name="connsiteX36" fmla="*/ 82882 w 270102"/>
                  <a:gd name="connsiteY36" fmla="*/ 974015 h 2624016"/>
                  <a:gd name="connsiteX37" fmla="*/ 69285 w 270102"/>
                  <a:gd name="connsiteY37" fmla="*/ 1000101 h 2624016"/>
                  <a:gd name="connsiteX38" fmla="*/ 13598 w 270102"/>
                  <a:gd name="connsiteY38" fmla="*/ 1032056 h 2624016"/>
                  <a:gd name="connsiteX39" fmla="*/ 0 w 270102"/>
                  <a:gd name="connsiteY39" fmla="*/ 1021622 h 2624016"/>
                  <a:gd name="connsiteX40" fmla="*/ 0 w 270102"/>
                  <a:gd name="connsiteY40" fmla="*/ 962276 h 2624016"/>
                  <a:gd name="connsiteX41" fmla="*/ 13598 w 270102"/>
                  <a:gd name="connsiteY41" fmla="*/ 936191 h 2624016"/>
                  <a:gd name="connsiteX42" fmla="*/ 69285 w 270102"/>
                  <a:gd name="connsiteY42" fmla="*/ 903583 h 2624016"/>
                  <a:gd name="connsiteX43" fmla="*/ 78997 w 270102"/>
                  <a:gd name="connsiteY43" fmla="*/ 903176 h 2624016"/>
                  <a:gd name="connsiteX44" fmla="*/ 257152 w 270102"/>
                  <a:gd name="connsiteY44" fmla="*/ 796379 h 2624016"/>
                  <a:gd name="connsiteX45" fmla="*/ 270102 w 270102"/>
                  <a:gd name="connsiteY45" fmla="*/ 806862 h 2624016"/>
                  <a:gd name="connsiteX46" fmla="*/ 270102 w 270102"/>
                  <a:gd name="connsiteY46" fmla="*/ 867144 h 2624016"/>
                  <a:gd name="connsiteX47" fmla="*/ 257152 w 270102"/>
                  <a:gd name="connsiteY47" fmla="*/ 893354 h 2624016"/>
                  <a:gd name="connsiteX48" fmla="*/ 200820 w 270102"/>
                  <a:gd name="connsiteY48" fmla="*/ 926116 h 2624016"/>
                  <a:gd name="connsiteX49" fmla="*/ 187222 w 270102"/>
                  <a:gd name="connsiteY49" fmla="*/ 915632 h 2624016"/>
                  <a:gd name="connsiteX50" fmla="*/ 187222 w 270102"/>
                  <a:gd name="connsiteY50" fmla="*/ 855350 h 2624016"/>
                  <a:gd name="connsiteX51" fmla="*/ 200820 w 270102"/>
                  <a:gd name="connsiteY51" fmla="*/ 829141 h 2624016"/>
                  <a:gd name="connsiteX52" fmla="*/ 69285 w 270102"/>
                  <a:gd name="connsiteY52" fmla="*/ 110848 h 2624016"/>
                  <a:gd name="connsiteX53" fmla="*/ 82882 w 270102"/>
                  <a:gd name="connsiteY53" fmla="*/ 121282 h 2624016"/>
                  <a:gd name="connsiteX54" fmla="*/ 82882 w 270102"/>
                  <a:gd name="connsiteY54" fmla="*/ 181279 h 2624016"/>
                  <a:gd name="connsiteX55" fmla="*/ 69285 w 270102"/>
                  <a:gd name="connsiteY55" fmla="*/ 207365 h 2624016"/>
                  <a:gd name="connsiteX56" fmla="*/ 13598 w 270102"/>
                  <a:gd name="connsiteY56" fmla="*/ 239973 h 2624016"/>
                  <a:gd name="connsiteX57" fmla="*/ 0 w 270102"/>
                  <a:gd name="connsiteY57" fmla="*/ 229538 h 2624016"/>
                  <a:gd name="connsiteX58" fmla="*/ 0 w 270102"/>
                  <a:gd name="connsiteY58" fmla="*/ 169541 h 2624016"/>
                  <a:gd name="connsiteX59" fmla="*/ 13598 w 270102"/>
                  <a:gd name="connsiteY59" fmla="*/ 143455 h 2624016"/>
                  <a:gd name="connsiteX60" fmla="*/ 257152 w 270102"/>
                  <a:gd name="connsiteY60" fmla="*/ 1397 h 2624016"/>
                  <a:gd name="connsiteX61" fmla="*/ 270102 w 270102"/>
                  <a:gd name="connsiteY61" fmla="*/ 11831 h 2624016"/>
                  <a:gd name="connsiteX62" fmla="*/ 270102 w 270102"/>
                  <a:gd name="connsiteY62" fmla="*/ 72481 h 2624016"/>
                  <a:gd name="connsiteX63" fmla="*/ 257152 w 270102"/>
                  <a:gd name="connsiteY63" fmla="*/ 97914 h 2624016"/>
                  <a:gd name="connsiteX64" fmla="*/ 200820 w 270102"/>
                  <a:gd name="connsiteY64" fmla="*/ 130522 h 2624016"/>
                  <a:gd name="connsiteX65" fmla="*/ 187222 w 270102"/>
                  <a:gd name="connsiteY65" fmla="*/ 120087 h 2624016"/>
                  <a:gd name="connsiteX66" fmla="*/ 187222 w 270102"/>
                  <a:gd name="connsiteY66" fmla="*/ 60090 h 2624016"/>
                  <a:gd name="connsiteX67" fmla="*/ 200820 w 270102"/>
                  <a:gd name="connsiteY67" fmla="*/ 34004 h 262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70102" h="2624016">
                    <a:moveTo>
                      <a:pt x="69285" y="2492875"/>
                    </a:moveTo>
                    <a:cubicBezTo>
                      <a:pt x="77055" y="2488944"/>
                      <a:pt x="82882" y="2493531"/>
                      <a:pt x="82882" y="2503359"/>
                    </a:cubicBezTo>
                    <a:lnTo>
                      <a:pt x="82882" y="2563641"/>
                    </a:lnTo>
                    <a:cubicBezTo>
                      <a:pt x="82882" y="2573470"/>
                      <a:pt x="77055" y="2585264"/>
                      <a:pt x="69285" y="2589850"/>
                    </a:cubicBezTo>
                    <a:lnTo>
                      <a:pt x="13598" y="2622612"/>
                    </a:lnTo>
                    <a:cubicBezTo>
                      <a:pt x="5828" y="2626544"/>
                      <a:pt x="0" y="2621957"/>
                      <a:pt x="0" y="2612129"/>
                    </a:cubicBezTo>
                    <a:lnTo>
                      <a:pt x="0" y="2551847"/>
                    </a:lnTo>
                    <a:cubicBezTo>
                      <a:pt x="0" y="2542018"/>
                      <a:pt x="5828" y="2529569"/>
                      <a:pt x="13598" y="2525637"/>
                    </a:cubicBezTo>
                    <a:close/>
                    <a:moveTo>
                      <a:pt x="257152" y="2383424"/>
                    </a:moveTo>
                    <a:cubicBezTo>
                      <a:pt x="264275" y="2379493"/>
                      <a:pt x="270102" y="2384080"/>
                      <a:pt x="270102" y="2393908"/>
                    </a:cubicBezTo>
                    <a:lnTo>
                      <a:pt x="270102" y="2454190"/>
                    </a:lnTo>
                    <a:cubicBezTo>
                      <a:pt x="270102" y="2464019"/>
                      <a:pt x="264275" y="2476468"/>
                      <a:pt x="257152" y="2480399"/>
                    </a:cubicBezTo>
                    <a:lnTo>
                      <a:pt x="200820" y="2513161"/>
                    </a:lnTo>
                    <a:cubicBezTo>
                      <a:pt x="193697" y="2517093"/>
                      <a:pt x="187222" y="2512506"/>
                      <a:pt x="187222" y="2502678"/>
                    </a:cubicBezTo>
                    <a:lnTo>
                      <a:pt x="187222" y="2442396"/>
                    </a:lnTo>
                    <a:cubicBezTo>
                      <a:pt x="187222" y="2432567"/>
                      <a:pt x="193697" y="2420773"/>
                      <a:pt x="200820" y="2416186"/>
                    </a:cubicBezTo>
                    <a:close/>
                    <a:moveTo>
                      <a:pt x="69285" y="1697894"/>
                    </a:moveTo>
                    <a:cubicBezTo>
                      <a:pt x="77055" y="1693981"/>
                      <a:pt x="82882" y="1698546"/>
                      <a:pt x="82882" y="1708328"/>
                    </a:cubicBezTo>
                    <a:lnTo>
                      <a:pt x="82882" y="1768326"/>
                    </a:lnTo>
                    <a:cubicBezTo>
                      <a:pt x="82882" y="1778760"/>
                      <a:pt x="77055" y="1790499"/>
                      <a:pt x="69285" y="1794412"/>
                    </a:cubicBezTo>
                    <a:lnTo>
                      <a:pt x="13598" y="1827019"/>
                    </a:lnTo>
                    <a:cubicBezTo>
                      <a:pt x="5828" y="1831584"/>
                      <a:pt x="0" y="1827019"/>
                      <a:pt x="0" y="1816585"/>
                    </a:cubicBezTo>
                    <a:lnTo>
                      <a:pt x="0" y="1756587"/>
                    </a:lnTo>
                    <a:cubicBezTo>
                      <a:pt x="0" y="1746805"/>
                      <a:pt x="5828" y="1735066"/>
                      <a:pt x="13598" y="1730501"/>
                    </a:cubicBezTo>
                    <a:close/>
                    <a:moveTo>
                      <a:pt x="266298" y="1588688"/>
                    </a:moveTo>
                    <a:cubicBezTo>
                      <a:pt x="268645" y="1590563"/>
                      <a:pt x="270102" y="1594312"/>
                      <a:pt x="270102" y="1599530"/>
                    </a:cubicBezTo>
                    <a:lnTo>
                      <a:pt x="270102" y="1659527"/>
                    </a:lnTo>
                    <a:cubicBezTo>
                      <a:pt x="270102" y="1669309"/>
                      <a:pt x="264275" y="1681048"/>
                      <a:pt x="257152" y="1685613"/>
                    </a:cubicBezTo>
                    <a:lnTo>
                      <a:pt x="200820" y="1717568"/>
                    </a:lnTo>
                    <a:cubicBezTo>
                      <a:pt x="193697" y="1722133"/>
                      <a:pt x="187222" y="1717568"/>
                      <a:pt x="187222" y="1707134"/>
                    </a:cubicBezTo>
                    <a:lnTo>
                      <a:pt x="187222" y="1647788"/>
                    </a:lnTo>
                    <a:cubicBezTo>
                      <a:pt x="187222" y="1637354"/>
                      <a:pt x="193697" y="1625615"/>
                      <a:pt x="200820" y="1621703"/>
                    </a:cubicBezTo>
                    <a:lnTo>
                      <a:pt x="257152" y="1589095"/>
                    </a:lnTo>
                    <a:cubicBezTo>
                      <a:pt x="260714" y="1586813"/>
                      <a:pt x="263951" y="1586813"/>
                      <a:pt x="266298" y="1588688"/>
                    </a:cubicBezTo>
                    <a:close/>
                    <a:moveTo>
                      <a:pt x="78997" y="903176"/>
                    </a:moveTo>
                    <a:cubicBezTo>
                      <a:pt x="81425" y="905051"/>
                      <a:pt x="82882" y="908801"/>
                      <a:pt x="82882" y="914018"/>
                    </a:cubicBezTo>
                    <a:lnTo>
                      <a:pt x="82882" y="974015"/>
                    </a:lnTo>
                    <a:cubicBezTo>
                      <a:pt x="82882" y="983797"/>
                      <a:pt x="77055" y="995536"/>
                      <a:pt x="69285" y="1000101"/>
                    </a:cubicBezTo>
                    <a:lnTo>
                      <a:pt x="13598" y="1032056"/>
                    </a:lnTo>
                    <a:cubicBezTo>
                      <a:pt x="5828" y="1036621"/>
                      <a:pt x="0" y="1032056"/>
                      <a:pt x="0" y="1021622"/>
                    </a:cubicBezTo>
                    <a:lnTo>
                      <a:pt x="0" y="962276"/>
                    </a:lnTo>
                    <a:cubicBezTo>
                      <a:pt x="0" y="951842"/>
                      <a:pt x="5828" y="940103"/>
                      <a:pt x="13598" y="936191"/>
                    </a:cubicBezTo>
                    <a:lnTo>
                      <a:pt x="69285" y="903583"/>
                    </a:lnTo>
                    <a:cubicBezTo>
                      <a:pt x="73170" y="901301"/>
                      <a:pt x="76569" y="901301"/>
                      <a:pt x="78997" y="903176"/>
                    </a:cubicBezTo>
                    <a:close/>
                    <a:moveTo>
                      <a:pt x="257152" y="796379"/>
                    </a:moveTo>
                    <a:cubicBezTo>
                      <a:pt x="264275" y="792447"/>
                      <a:pt x="270102" y="797034"/>
                      <a:pt x="270102" y="806862"/>
                    </a:cubicBezTo>
                    <a:lnTo>
                      <a:pt x="270102" y="867144"/>
                    </a:lnTo>
                    <a:cubicBezTo>
                      <a:pt x="270102" y="876973"/>
                      <a:pt x="264275" y="889422"/>
                      <a:pt x="257152" y="893354"/>
                    </a:cubicBezTo>
                    <a:lnTo>
                      <a:pt x="200820" y="926116"/>
                    </a:lnTo>
                    <a:cubicBezTo>
                      <a:pt x="193697" y="930047"/>
                      <a:pt x="187222" y="925460"/>
                      <a:pt x="187222" y="915632"/>
                    </a:cubicBezTo>
                    <a:lnTo>
                      <a:pt x="187222" y="855350"/>
                    </a:lnTo>
                    <a:cubicBezTo>
                      <a:pt x="187222" y="845521"/>
                      <a:pt x="193697" y="833727"/>
                      <a:pt x="200820" y="829141"/>
                    </a:cubicBezTo>
                    <a:close/>
                    <a:moveTo>
                      <a:pt x="69285" y="110848"/>
                    </a:moveTo>
                    <a:cubicBezTo>
                      <a:pt x="77055" y="106935"/>
                      <a:pt x="82882" y="111500"/>
                      <a:pt x="82882" y="121282"/>
                    </a:cubicBezTo>
                    <a:lnTo>
                      <a:pt x="82882" y="181279"/>
                    </a:lnTo>
                    <a:cubicBezTo>
                      <a:pt x="82882" y="191714"/>
                      <a:pt x="77055" y="203452"/>
                      <a:pt x="69285" y="207365"/>
                    </a:cubicBezTo>
                    <a:lnTo>
                      <a:pt x="13598" y="239973"/>
                    </a:lnTo>
                    <a:cubicBezTo>
                      <a:pt x="5828" y="244538"/>
                      <a:pt x="0" y="239973"/>
                      <a:pt x="0" y="229538"/>
                    </a:cubicBezTo>
                    <a:lnTo>
                      <a:pt x="0" y="169541"/>
                    </a:lnTo>
                    <a:cubicBezTo>
                      <a:pt x="0" y="159759"/>
                      <a:pt x="5828" y="148020"/>
                      <a:pt x="13598" y="143455"/>
                    </a:cubicBezTo>
                    <a:close/>
                    <a:moveTo>
                      <a:pt x="257152" y="1397"/>
                    </a:moveTo>
                    <a:cubicBezTo>
                      <a:pt x="264275" y="-2516"/>
                      <a:pt x="270102" y="2049"/>
                      <a:pt x="270102" y="11831"/>
                    </a:cubicBezTo>
                    <a:lnTo>
                      <a:pt x="270102" y="72481"/>
                    </a:lnTo>
                    <a:cubicBezTo>
                      <a:pt x="270102" y="82263"/>
                      <a:pt x="264275" y="94001"/>
                      <a:pt x="257152" y="97914"/>
                    </a:cubicBezTo>
                    <a:lnTo>
                      <a:pt x="200820" y="130522"/>
                    </a:lnTo>
                    <a:cubicBezTo>
                      <a:pt x="193697" y="135087"/>
                      <a:pt x="187222" y="130522"/>
                      <a:pt x="187222" y="120087"/>
                    </a:cubicBezTo>
                    <a:lnTo>
                      <a:pt x="187222" y="60090"/>
                    </a:lnTo>
                    <a:cubicBezTo>
                      <a:pt x="187222" y="50308"/>
                      <a:pt x="193697" y="38569"/>
                      <a:pt x="200820" y="34004"/>
                    </a:cubicBez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C0BD8CD1-28A3-F74C-8E91-D9DDA99F8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44190" y="5190218"/>
                <a:ext cx="1531668" cy="4115487"/>
              </a:xfrm>
              <a:custGeom>
                <a:avLst/>
                <a:gdLst>
                  <a:gd name="connsiteX0" fmla="*/ 17049 w 1531668"/>
                  <a:gd name="connsiteY0" fmla="*/ 2866171 h 4115487"/>
                  <a:gd name="connsiteX1" fmla="*/ 58082 w 1531668"/>
                  <a:gd name="connsiteY1" fmla="*/ 2867640 h 4115487"/>
                  <a:gd name="connsiteX2" fmla="*/ 1474239 w 1531668"/>
                  <a:gd name="connsiteY2" fmla="*/ 3684957 h 4115487"/>
                  <a:gd name="connsiteX3" fmla="*/ 1531668 w 1531668"/>
                  <a:gd name="connsiteY3" fmla="*/ 3794629 h 4115487"/>
                  <a:gd name="connsiteX4" fmla="*/ 1531668 w 1531668"/>
                  <a:gd name="connsiteY4" fmla="*/ 4065545 h 4115487"/>
                  <a:gd name="connsiteX5" fmla="*/ 1474239 w 1531668"/>
                  <a:gd name="connsiteY5" fmla="*/ 4108630 h 4115487"/>
                  <a:gd name="connsiteX6" fmla="*/ 58082 w 1531668"/>
                  <a:gd name="connsiteY6" fmla="*/ 3290660 h 4115487"/>
                  <a:gd name="connsiteX7" fmla="*/ 0 w 1531668"/>
                  <a:gd name="connsiteY7" fmla="*/ 3180988 h 4115487"/>
                  <a:gd name="connsiteX8" fmla="*/ 0 w 1531668"/>
                  <a:gd name="connsiteY8" fmla="*/ 2910725 h 4115487"/>
                  <a:gd name="connsiteX9" fmla="*/ 17049 w 1531668"/>
                  <a:gd name="connsiteY9" fmla="*/ 2866171 h 4115487"/>
                  <a:gd name="connsiteX10" fmla="*/ 17049 w 1531668"/>
                  <a:gd name="connsiteY10" fmla="*/ 2390920 h 4115487"/>
                  <a:gd name="connsiteX11" fmla="*/ 58082 w 1531668"/>
                  <a:gd name="connsiteY11" fmla="*/ 2392389 h 4115487"/>
                  <a:gd name="connsiteX12" fmla="*/ 1474239 w 1531668"/>
                  <a:gd name="connsiteY12" fmla="*/ 3210359 h 4115487"/>
                  <a:gd name="connsiteX13" fmla="*/ 1531668 w 1531668"/>
                  <a:gd name="connsiteY13" fmla="*/ 3320031 h 4115487"/>
                  <a:gd name="connsiteX14" fmla="*/ 1531668 w 1531668"/>
                  <a:gd name="connsiteY14" fmla="*/ 3590294 h 4115487"/>
                  <a:gd name="connsiteX15" fmla="*/ 1474239 w 1531668"/>
                  <a:gd name="connsiteY15" fmla="*/ 3633380 h 4115487"/>
                  <a:gd name="connsiteX16" fmla="*/ 58082 w 1531668"/>
                  <a:gd name="connsiteY16" fmla="*/ 2815409 h 4115487"/>
                  <a:gd name="connsiteX17" fmla="*/ 0 w 1531668"/>
                  <a:gd name="connsiteY17" fmla="*/ 2705737 h 4115487"/>
                  <a:gd name="connsiteX18" fmla="*/ 0 w 1531668"/>
                  <a:gd name="connsiteY18" fmla="*/ 2435474 h 4115487"/>
                  <a:gd name="connsiteX19" fmla="*/ 17049 w 1531668"/>
                  <a:gd name="connsiteY19" fmla="*/ 2390920 h 4115487"/>
                  <a:gd name="connsiteX20" fmla="*/ 17049 w 1531668"/>
                  <a:gd name="connsiteY20" fmla="*/ 1912391 h 4115487"/>
                  <a:gd name="connsiteX21" fmla="*/ 58082 w 1531668"/>
                  <a:gd name="connsiteY21" fmla="*/ 1913615 h 4115487"/>
                  <a:gd name="connsiteX22" fmla="*/ 1474239 w 1531668"/>
                  <a:gd name="connsiteY22" fmla="*/ 2732003 h 4115487"/>
                  <a:gd name="connsiteX23" fmla="*/ 1531668 w 1531668"/>
                  <a:gd name="connsiteY23" fmla="*/ 2841731 h 4115487"/>
                  <a:gd name="connsiteX24" fmla="*/ 1531668 w 1531668"/>
                  <a:gd name="connsiteY24" fmla="*/ 3112133 h 4115487"/>
                  <a:gd name="connsiteX25" fmla="*/ 1474239 w 1531668"/>
                  <a:gd name="connsiteY25" fmla="*/ 3155240 h 4115487"/>
                  <a:gd name="connsiteX26" fmla="*/ 58082 w 1531668"/>
                  <a:gd name="connsiteY26" fmla="*/ 2336852 h 4115487"/>
                  <a:gd name="connsiteX27" fmla="*/ 0 w 1531668"/>
                  <a:gd name="connsiteY27" fmla="*/ 2227124 h 4115487"/>
                  <a:gd name="connsiteX28" fmla="*/ 0 w 1531668"/>
                  <a:gd name="connsiteY28" fmla="*/ 1956723 h 4115487"/>
                  <a:gd name="connsiteX29" fmla="*/ 17049 w 1531668"/>
                  <a:gd name="connsiteY29" fmla="*/ 1912391 h 4115487"/>
                  <a:gd name="connsiteX30" fmla="*/ 35516 w 1531668"/>
                  <a:gd name="connsiteY30" fmla="*/ 1431508 h 4115487"/>
                  <a:gd name="connsiteX31" fmla="*/ 58082 w 1531668"/>
                  <a:gd name="connsiteY31" fmla="*/ 1438366 h 4115487"/>
                  <a:gd name="connsiteX32" fmla="*/ 1474239 w 1531668"/>
                  <a:gd name="connsiteY32" fmla="*/ 2256754 h 4115487"/>
                  <a:gd name="connsiteX33" fmla="*/ 1531668 w 1531668"/>
                  <a:gd name="connsiteY33" fmla="*/ 2366482 h 4115487"/>
                  <a:gd name="connsiteX34" fmla="*/ 1531668 w 1531668"/>
                  <a:gd name="connsiteY34" fmla="*/ 2636884 h 4115487"/>
                  <a:gd name="connsiteX35" fmla="*/ 1474239 w 1531668"/>
                  <a:gd name="connsiteY35" fmla="*/ 2679991 h 4115487"/>
                  <a:gd name="connsiteX36" fmla="*/ 58082 w 1531668"/>
                  <a:gd name="connsiteY36" fmla="*/ 1861603 h 4115487"/>
                  <a:gd name="connsiteX37" fmla="*/ 0 w 1531668"/>
                  <a:gd name="connsiteY37" fmla="*/ 1752528 h 4115487"/>
                  <a:gd name="connsiteX38" fmla="*/ 0 w 1531668"/>
                  <a:gd name="connsiteY38" fmla="*/ 1481474 h 4115487"/>
                  <a:gd name="connsiteX39" fmla="*/ 35516 w 1531668"/>
                  <a:gd name="connsiteY39" fmla="*/ 1431508 h 4115487"/>
                  <a:gd name="connsiteX40" fmla="*/ 35516 w 1531668"/>
                  <a:gd name="connsiteY40" fmla="*/ 953378 h 4115487"/>
                  <a:gd name="connsiteX41" fmla="*/ 58082 w 1531668"/>
                  <a:gd name="connsiteY41" fmla="*/ 960236 h 4115487"/>
                  <a:gd name="connsiteX42" fmla="*/ 1474239 w 1531668"/>
                  <a:gd name="connsiteY42" fmla="*/ 1777971 h 4115487"/>
                  <a:gd name="connsiteX43" fmla="*/ 1531668 w 1531668"/>
                  <a:gd name="connsiteY43" fmla="*/ 1887699 h 4115487"/>
                  <a:gd name="connsiteX44" fmla="*/ 1531668 w 1531668"/>
                  <a:gd name="connsiteY44" fmla="*/ 2158100 h 4115487"/>
                  <a:gd name="connsiteX45" fmla="*/ 1474239 w 1531668"/>
                  <a:gd name="connsiteY45" fmla="*/ 2201861 h 4115487"/>
                  <a:gd name="connsiteX46" fmla="*/ 58082 w 1531668"/>
                  <a:gd name="connsiteY46" fmla="*/ 1382820 h 4115487"/>
                  <a:gd name="connsiteX47" fmla="*/ 0 w 1531668"/>
                  <a:gd name="connsiteY47" fmla="*/ 1273745 h 4115487"/>
                  <a:gd name="connsiteX48" fmla="*/ 0 w 1531668"/>
                  <a:gd name="connsiteY48" fmla="*/ 1003344 h 4115487"/>
                  <a:gd name="connsiteX49" fmla="*/ 35516 w 1531668"/>
                  <a:gd name="connsiteY49" fmla="*/ 953378 h 4115487"/>
                  <a:gd name="connsiteX50" fmla="*/ 35516 w 1531668"/>
                  <a:gd name="connsiteY50" fmla="*/ 478138 h 4115487"/>
                  <a:gd name="connsiteX51" fmla="*/ 58082 w 1531668"/>
                  <a:gd name="connsiteY51" fmla="*/ 484985 h 4115487"/>
                  <a:gd name="connsiteX52" fmla="*/ 1474239 w 1531668"/>
                  <a:gd name="connsiteY52" fmla="*/ 1303373 h 4115487"/>
                  <a:gd name="connsiteX53" fmla="*/ 1531668 w 1531668"/>
                  <a:gd name="connsiteY53" fmla="*/ 1412448 h 4115487"/>
                  <a:gd name="connsiteX54" fmla="*/ 1531668 w 1531668"/>
                  <a:gd name="connsiteY54" fmla="*/ 1682849 h 4115487"/>
                  <a:gd name="connsiteX55" fmla="*/ 1474239 w 1531668"/>
                  <a:gd name="connsiteY55" fmla="*/ 1726610 h 4115487"/>
                  <a:gd name="connsiteX56" fmla="*/ 58082 w 1531668"/>
                  <a:gd name="connsiteY56" fmla="*/ 908875 h 4115487"/>
                  <a:gd name="connsiteX57" fmla="*/ 0 w 1531668"/>
                  <a:gd name="connsiteY57" fmla="*/ 798494 h 4115487"/>
                  <a:gd name="connsiteX58" fmla="*/ 0 w 1531668"/>
                  <a:gd name="connsiteY58" fmla="*/ 528746 h 4115487"/>
                  <a:gd name="connsiteX59" fmla="*/ 35516 w 1531668"/>
                  <a:gd name="connsiteY59" fmla="*/ 478138 h 4115487"/>
                  <a:gd name="connsiteX60" fmla="*/ 35516 w 1531668"/>
                  <a:gd name="connsiteY60" fmla="*/ 2 h 4115487"/>
                  <a:gd name="connsiteX61" fmla="*/ 58082 w 1531668"/>
                  <a:gd name="connsiteY61" fmla="*/ 6846 h 4115487"/>
                  <a:gd name="connsiteX62" fmla="*/ 1474239 w 1531668"/>
                  <a:gd name="connsiteY62" fmla="*/ 825469 h 4115487"/>
                  <a:gd name="connsiteX63" fmla="*/ 1531668 w 1531668"/>
                  <a:gd name="connsiteY63" fmla="*/ 935141 h 4115487"/>
                  <a:gd name="connsiteX64" fmla="*/ 1531668 w 1531668"/>
                  <a:gd name="connsiteY64" fmla="*/ 1204751 h 4115487"/>
                  <a:gd name="connsiteX65" fmla="*/ 1474239 w 1531668"/>
                  <a:gd name="connsiteY65" fmla="*/ 1248490 h 4115487"/>
                  <a:gd name="connsiteX66" fmla="*/ 58082 w 1531668"/>
                  <a:gd name="connsiteY66" fmla="*/ 430519 h 4115487"/>
                  <a:gd name="connsiteX67" fmla="*/ 0 w 1531668"/>
                  <a:gd name="connsiteY67" fmla="*/ 320847 h 4115487"/>
                  <a:gd name="connsiteX68" fmla="*/ 0 w 1531668"/>
                  <a:gd name="connsiteY68" fmla="*/ 50584 h 4115487"/>
                  <a:gd name="connsiteX69" fmla="*/ 35516 w 1531668"/>
                  <a:gd name="connsiteY69" fmla="*/ 2 h 41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531668" h="4115487">
                    <a:moveTo>
                      <a:pt x="17049" y="2866171"/>
                    </a:moveTo>
                    <a:cubicBezTo>
                      <a:pt x="27573" y="2858337"/>
                      <a:pt x="42093" y="2858174"/>
                      <a:pt x="58082" y="2867640"/>
                    </a:cubicBezTo>
                    <a:lnTo>
                      <a:pt x="1474239" y="3684957"/>
                    </a:lnTo>
                    <a:cubicBezTo>
                      <a:pt x="1505564" y="3703889"/>
                      <a:pt x="1531668" y="3752849"/>
                      <a:pt x="1531668" y="3794629"/>
                    </a:cubicBezTo>
                    <a:lnTo>
                      <a:pt x="1531668" y="4065545"/>
                    </a:lnTo>
                    <a:cubicBezTo>
                      <a:pt x="1531668" y="4107325"/>
                      <a:pt x="1505564" y="4126909"/>
                      <a:pt x="1474239" y="4108630"/>
                    </a:cubicBezTo>
                    <a:lnTo>
                      <a:pt x="58082" y="3290660"/>
                    </a:lnTo>
                    <a:cubicBezTo>
                      <a:pt x="26104" y="3272381"/>
                      <a:pt x="0" y="3223421"/>
                      <a:pt x="0" y="3180988"/>
                    </a:cubicBezTo>
                    <a:lnTo>
                      <a:pt x="0" y="2910725"/>
                    </a:lnTo>
                    <a:cubicBezTo>
                      <a:pt x="0" y="2889509"/>
                      <a:pt x="6526" y="2874005"/>
                      <a:pt x="17049" y="2866171"/>
                    </a:cubicBezTo>
                    <a:close/>
                    <a:moveTo>
                      <a:pt x="17049" y="2390920"/>
                    </a:moveTo>
                    <a:cubicBezTo>
                      <a:pt x="27573" y="2383086"/>
                      <a:pt x="42093" y="2382923"/>
                      <a:pt x="58082" y="2392389"/>
                    </a:cubicBezTo>
                    <a:lnTo>
                      <a:pt x="1474239" y="3210359"/>
                    </a:lnTo>
                    <a:cubicBezTo>
                      <a:pt x="1505564" y="3228638"/>
                      <a:pt x="1531668" y="3277598"/>
                      <a:pt x="1531668" y="3320031"/>
                    </a:cubicBezTo>
                    <a:lnTo>
                      <a:pt x="1531668" y="3590294"/>
                    </a:lnTo>
                    <a:cubicBezTo>
                      <a:pt x="1531668" y="3632727"/>
                      <a:pt x="1505564" y="3651658"/>
                      <a:pt x="1474239" y="3633380"/>
                    </a:cubicBezTo>
                    <a:lnTo>
                      <a:pt x="58082" y="2815409"/>
                    </a:lnTo>
                    <a:cubicBezTo>
                      <a:pt x="26104" y="2797131"/>
                      <a:pt x="0" y="2748170"/>
                      <a:pt x="0" y="2705737"/>
                    </a:cubicBezTo>
                    <a:lnTo>
                      <a:pt x="0" y="2435474"/>
                    </a:lnTo>
                    <a:cubicBezTo>
                      <a:pt x="0" y="2414258"/>
                      <a:pt x="6526" y="2398754"/>
                      <a:pt x="17049" y="2390920"/>
                    </a:cubicBezTo>
                    <a:close/>
                    <a:moveTo>
                      <a:pt x="17049" y="1912391"/>
                    </a:moveTo>
                    <a:cubicBezTo>
                      <a:pt x="27573" y="1904635"/>
                      <a:pt x="42093" y="1904471"/>
                      <a:pt x="58082" y="1913615"/>
                    </a:cubicBezTo>
                    <a:lnTo>
                      <a:pt x="1474239" y="2732003"/>
                    </a:lnTo>
                    <a:cubicBezTo>
                      <a:pt x="1505564" y="2750291"/>
                      <a:pt x="1531668" y="2799277"/>
                      <a:pt x="1531668" y="2841731"/>
                    </a:cubicBezTo>
                    <a:lnTo>
                      <a:pt x="1531668" y="3112133"/>
                    </a:lnTo>
                    <a:cubicBezTo>
                      <a:pt x="1531668" y="3153934"/>
                      <a:pt x="1505564" y="3173528"/>
                      <a:pt x="1474239" y="3155240"/>
                    </a:cubicBezTo>
                    <a:lnTo>
                      <a:pt x="58082" y="2336852"/>
                    </a:lnTo>
                    <a:cubicBezTo>
                      <a:pt x="26104" y="2318564"/>
                      <a:pt x="0" y="2269578"/>
                      <a:pt x="0" y="2227124"/>
                    </a:cubicBezTo>
                    <a:lnTo>
                      <a:pt x="0" y="1956723"/>
                    </a:lnTo>
                    <a:cubicBezTo>
                      <a:pt x="0" y="1935496"/>
                      <a:pt x="6526" y="1920147"/>
                      <a:pt x="17049" y="1912391"/>
                    </a:cubicBezTo>
                    <a:close/>
                    <a:moveTo>
                      <a:pt x="35516" y="1431508"/>
                    </a:moveTo>
                    <a:cubicBezTo>
                      <a:pt x="42460" y="1431590"/>
                      <a:pt x="50088" y="1433794"/>
                      <a:pt x="58082" y="1438366"/>
                    </a:cubicBezTo>
                    <a:lnTo>
                      <a:pt x="1474239" y="2256754"/>
                    </a:lnTo>
                    <a:cubicBezTo>
                      <a:pt x="1505564" y="2275042"/>
                      <a:pt x="1531668" y="2324028"/>
                      <a:pt x="1531668" y="2366482"/>
                    </a:cubicBezTo>
                    <a:lnTo>
                      <a:pt x="1531668" y="2636884"/>
                    </a:lnTo>
                    <a:cubicBezTo>
                      <a:pt x="1531668" y="2679338"/>
                      <a:pt x="1505564" y="2698279"/>
                      <a:pt x="1474239" y="2679991"/>
                    </a:cubicBezTo>
                    <a:lnTo>
                      <a:pt x="58082" y="1861603"/>
                    </a:lnTo>
                    <a:cubicBezTo>
                      <a:pt x="26104" y="1843315"/>
                      <a:pt x="0" y="1794329"/>
                      <a:pt x="0" y="1752528"/>
                    </a:cubicBezTo>
                    <a:lnTo>
                      <a:pt x="0" y="1481474"/>
                    </a:lnTo>
                    <a:cubicBezTo>
                      <a:pt x="0" y="1450123"/>
                      <a:pt x="14684" y="1431263"/>
                      <a:pt x="35516" y="1431508"/>
                    </a:cubicBezTo>
                    <a:close/>
                    <a:moveTo>
                      <a:pt x="35516" y="953378"/>
                    </a:moveTo>
                    <a:cubicBezTo>
                      <a:pt x="42460" y="953460"/>
                      <a:pt x="50088" y="955664"/>
                      <a:pt x="58082" y="960236"/>
                    </a:cubicBezTo>
                    <a:lnTo>
                      <a:pt x="1474239" y="1777971"/>
                    </a:lnTo>
                    <a:cubicBezTo>
                      <a:pt x="1505564" y="1796912"/>
                      <a:pt x="1531668" y="1845898"/>
                      <a:pt x="1531668" y="1887699"/>
                    </a:cubicBezTo>
                    <a:lnTo>
                      <a:pt x="1531668" y="2158100"/>
                    </a:lnTo>
                    <a:cubicBezTo>
                      <a:pt x="1531668" y="2200555"/>
                      <a:pt x="1505564" y="2220149"/>
                      <a:pt x="1474239" y="2201861"/>
                    </a:cubicBezTo>
                    <a:lnTo>
                      <a:pt x="58082" y="1382820"/>
                    </a:lnTo>
                    <a:cubicBezTo>
                      <a:pt x="26104" y="1364532"/>
                      <a:pt x="0" y="1315546"/>
                      <a:pt x="0" y="1273745"/>
                    </a:cubicBezTo>
                    <a:lnTo>
                      <a:pt x="0" y="1003344"/>
                    </a:lnTo>
                    <a:cubicBezTo>
                      <a:pt x="0" y="971993"/>
                      <a:pt x="14684" y="953133"/>
                      <a:pt x="35516" y="953378"/>
                    </a:cubicBezTo>
                    <a:close/>
                    <a:moveTo>
                      <a:pt x="35516" y="478138"/>
                    </a:moveTo>
                    <a:cubicBezTo>
                      <a:pt x="42460" y="478209"/>
                      <a:pt x="50088" y="480413"/>
                      <a:pt x="58082" y="484985"/>
                    </a:cubicBezTo>
                    <a:lnTo>
                      <a:pt x="1474239" y="1303373"/>
                    </a:lnTo>
                    <a:cubicBezTo>
                      <a:pt x="1505564" y="1321661"/>
                      <a:pt x="1531668" y="1370647"/>
                      <a:pt x="1531668" y="1412448"/>
                    </a:cubicBezTo>
                    <a:lnTo>
                      <a:pt x="1531668" y="1682849"/>
                    </a:lnTo>
                    <a:cubicBezTo>
                      <a:pt x="1531668" y="1725304"/>
                      <a:pt x="1505564" y="1744898"/>
                      <a:pt x="1474239" y="1726610"/>
                    </a:cubicBezTo>
                    <a:lnTo>
                      <a:pt x="58082" y="908875"/>
                    </a:lnTo>
                    <a:cubicBezTo>
                      <a:pt x="26104" y="890587"/>
                      <a:pt x="0" y="840948"/>
                      <a:pt x="0" y="798494"/>
                    </a:cubicBezTo>
                    <a:lnTo>
                      <a:pt x="0" y="528746"/>
                    </a:lnTo>
                    <a:cubicBezTo>
                      <a:pt x="0" y="496905"/>
                      <a:pt x="14684" y="477923"/>
                      <a:pt x="35516" y="478138"/>
                    </a:cubicBezTo>
                    <a:close/>
                    <a:moveTo>
                      <a:pt x="35516" y="2"/>
                    </a:moveTo>
                    <a:cubicBezTo>
                      <a:pt x="42460" y="73"/>
                      <a:pt x="50088" y="2276"/>
                      <a:pt x="58082" y="6846"/>
                    </a:cubicBezTo>
                    <a:lnTo>
                      <a:pt x="1474239" y="825469"/>
                    </a:lnTo>
                    <a:cubicBezTo>
                      <a:pt x="1505564" y="843748"/>
                      <a:pt x="1531668" y="892709"/>
                      <a:pt x="1531668" y="935141"/>
                    </a:cubicBezTo>
                    <a:lnTo>
                      <a:pt x="1531668" y="1204751"/>
                    </a:lnTo>
                    <a:cubicBezTo>
                      <a:pt x="1531668" y="1247837"/>
                      <a:pt x="1505564" y="1266768"/>
                      <a:pt x="1474239" y="1248490"/>
                    </a:cubicBezTo>
                    <a:lnTo>
                      <a:pt x="58082" y="430519"/>
                    </a:lnTo>
                    <a:cubicBezTo>
                      <a:pt x="26104" y="412241"/>
                      <a:pt x="0" y="362627"/>
                      <a:pt x="0" y="320847"/>
                    </a:cubicBezTo>
                    <a:lnTo>
                      <a:pt x="0" y="50584"/>
                    </a:lnTo>
                    <a:cubicBezTo>
                      <a:pt x="0" y="18760"/>
                      <a:pt x="14684" y="-212"/>
                      <a:pt x="35516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CB8729B2-EDF9-0741-A461-D764C05C0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3319" y="5288564"/>
                <a:ext cx="1393413" cy="3919145"/>
              </a:xfrm>
              <a:custGeom>
                <a:avLst/>
                <a:gdLst>
                  <a:gd name="connsiteX0" fmla="*/ 8566 w 1393413"/>
                  <a:gd name="connsiteY0" fmla="*/ 2862465 h 3919145"/>
                  <a:gd name="connsiteX1" fmla="*/ 29369 w 1393413"/>
                  <a:gd name="connsiteY1" fmla="*/ 2863200 h 3919145"/>
                  <a:gd name="connsiteX2" fmla="*/ 1364044 w 1393413"/>
                  <a:gd name="connsiteY2" fmla="*/ 3634790 h 3919145"/>
                  <a:gd name="connsiteX3" fmla="*/ 1393413 w 1393413"/>
                  <a:gd name="connsiteY3" fmla="*/ 3690324 h 3919145"/>
                  <a:gd name="connsiteX4" fmla="*/ 1393413 w 1393413"/>
                  <a:gd name="connsiteY4" fmla="*/ 3893512 h 3919145"/>
                  <a:gd name="connsiteX5" fmla="*/ 1364044 w 1393413"/>
                  <a:gd name="connsiteY5" fmla="*/ 3915725 h 3919145"/>
                  <a:gd name="connsiteX6" fmla="*/ 29369 w 1393413"/>
                  <a:gd name="connsiteY6" fmla="*/ 3144134 h 3919145"/>
                  <a:gd name="connsiteX7" fmla="*/ 0 w 1393413"/>
                  <a:gd name="connsiteY7" fmla="*/ 3087948 h 3919145"/>
                  <a:gd name="connsiteX8" fmla="*/ 0 w 1393413"/>
                  <a:gd name="connsiteY8" fmla="*/ 2884760 h 3919145"/>
                  <a:gd name="connsiteX9" fmla="*/ 8566 w 1393413"/>
                  <a:gd name="connsiteY9" fmla="*/ 2862465 h 3919145"/>
                  <a:gd name="connsiteX10" fmla="*/ 8566 w 1393413"/>
                  <a:gd name="connsiteY10" fmla="*/ 2387540 h 3919145"/>
                  <a:gd name="connsiteX11" fmla="*/ 29369 w 1393413"/>
                  <a:gd name="connsiteY11" fmla="*/ 2387948 h 3919145"/>
                  <a:gd name="connsiteX12" fmla="*/ 1364044 w 1393413"/>
                  <a:gd name="connsiteY12" fmla="*/ 3159539 h 3919145"/>
                  <a:gd name="connsiteX13" fmla="*/ 1393413 w 1393413"/>
                  <a:gd name="connsiteY13" fmla="*/ 3215073 h 3919145"/>
                  <a:gd name="connsiteX14" fmla="*/ 1393413 w 1393413"/>
                  <a:gd name="connsiteY14" fmla="*/ 3418260 h 3919145"/>
                  <a:gd name="connsiteX15" fmla="*/ 1364044 w 1393413"/>
                  <a:gd name="connsiteY15" fmla="*/ 3440474 h 3919145"/>
                  <a:gd name="connsiteX16" fmla="*/ 29369 w 1393413"/>
                  <a:gd name="connsiteY16" fmla="*/ 2668883 h 3919145"/>
                  <a:gd name="connsiteX17" fmla="*/ 0 w 1393413"/>
                  <a:gd name="connsiteY17" fmla="*/ 2612696 h 3919145"/>
                  <a:gd name="connsiteX18" fmla="*/ 0 w 1393413"/>
                  <a:gd name="connsiteY18" fmla="*/ 2410162 h 3919145"/>
                  <a:gd name="connsiteX19" fmla="*/ 8566 w 1393413"/>
                  <a:gd name="connsiteY19" fmla="*/ 2387540 h 3919145"/>
                  <a:gd name="connsiteX20" fmla="*/ 8566 w 1393413"/>
                  <a:gd name="connsiteY20" fmla="*/ 1909813 h 3919145"/>
                  <a:gd name="connsiteX21" fmla="*/ 29369 w 1393413"/>
                  <a:gd name="connsiteY21" fmla="*/ 1910466 h 3919145"/>
                  <a:gd name="connsiteX22" fmla="*/ 1364044 w 1393413"/>
                  <a:gd name="connsiteY22" fmla="*/ 2681586 h 3919145"/>
                  <a:gd name="connsiteX23" fmla="*/ 1393413 w 1393413"/>
                  <a:gd name="connsiteY23" fmla="*/ 2737739 h 3919145"/>
                  <a:gd name="connsiteX24" fmla="*/ 1393413 w 1393413"/>
                  <a:gd name="connsiteY24" fmla="*/ 2940803 h 3919145"/>
                  <a:gd name="connsiteX25" fmla="*/ 1364044 w 1393413"/>
                  <a:gd name="connsiteY25" fmla="*/ 2962350 h 3919145"/>
                  <a:gd name="connsiteX26" fmla="*/ 29369 w 1393413"/>
                  <a:gd name="connsiteY26" fmla="*/ 2191229 h 3919145"/>
                  <a:gd name="connsiteX27" fmla="*/ 0 w 1393413"/>
                  <a:gd name="connsiteY27" fmla="*/ 2135730 h 3919145"/>
                  <a:gd name="connsiteX28" fmla="*/ 0 w 1393413"/>
                  <a:gd name="connsiteY28" fmla="*/ 1932666 h 3919145"/>
                  <a:gd name="connsiteX29" fmla="*/ 8566 w 1393413"/>
                  <a:gd name="connsiteY29" fmla="*/ 1909813 h 3919145"/>
                  <a:gd name="connsiteX30" fmla="*/ 8566 w 1393413"/>
                  <a:gd name="connsiteY30" fmla="*/ 1434156 h 3919145"/>
                  <a:gd name="connsiteX31" fmla="*/ 29369 w 1393413"/>
                  <a:gd name="connsiteY31" fmla="*/ 1434564 h 3919145"/>
                  <a:gd name="connsiteX32" fmla="*/ 1364044 w 1393413"/>
                  <a:gd name="connsiteY32" fmla="*/ 2205684 h 3919145"/>
                  <a:gd name="connsiteX33" fmla="*/ 1393413 w 1393413"/>
                  <a:gd name="connsiteY33" fmla="*/ 2261184 h 3919145"/>
                  <a:gd name="connsiteX34" fmla="*/ 1393413 w 1393413"/>
                  <a:gd name="connsiteY34" fmla="*/ 2464901 h 3919145"/>
                  <a:gd name="connsiteX35" fmla="*/ 1364044 w 1393413"/>
                  <a:gd name="connsiteY35" fmla="*/ 2486448 h 3919145"/>
                  <a:gd name="connsiteX36" fmla="*/ 29369 w 1393413"/>
                  <a:gd name="connsiteY36" fmla="*/ 1715327 h 3919145"/>
                  <a:gd name="connsiteX37" fmla="*/ 0 w 1393413"/>
                  <a:gd name="connsiteY37" fmla="*/ 1659828 h 3919145"/>
                  <a:gd name="connsiteX38" fmla="*/ 0 w 1393413"/>
                  <a:gd name="connsiteY38" fmla="*/ 1456764 h 3919145"/>
                  <a:gd name="connsiteX39" fmla="*/ 8566 w 1393413"/>
                  <a:gd name="connsiteY39" fmla="*/ 1434156 h 3919145"/>
                  <a:gd name="connsiteX40" fmla="*/ 8566 w 1393413"/>
                  <a:gd name="connsiteY40" fmla="*/ 956031 h 3919145"/>
                  <a:gd name="connsiteX41" fmla="*/ 29369 w 1393413"/>
                  <a:gd name="connsiteY41" fmla="*/ 956439 h 3919145"/>
                  <a:gd name="connsiteX42" fmla="*/ 1364044 w 1393413"/>
                  <a:gd name="connsiteY42" fmla="*/ 1727377 h 3919145"/>
                  <a:gd name="connsiteX43" fmla="*/ 1393413 w 1393413"/>
                  <a:gd name="connsiteY43" fmla="*/ 1783564 h 3919145"/>
                  <a:gd name="connsiteX44" fmla="*/ 1393413 w 1393413"/>
                  <a:gd name="connsiteY44" fmla="*/ 1986751 h 3919145"/>
                  <a:gd name="connsiteX45" fmla="*/ 1364044 w 1393413"/>
                  <a:gd name="connsiteY45" fmla="*/ 2008965 h 3919145"/>
                  <a:gd name="connsiteX46" fmla="*/ 29369 w 1393413"/>
                  <a:gd name="connsiteY46" fmla="*/ 1236721 h 3919145"/>
                  <a:gd name="connsiteX47" fmla="*/ 0 w 1393413"/>
                  <a:gd name="connsiteY47" fmla="*/ 1181841 h 3919145"/>
                  <a:gd name="connsiteX48" fmla="*/ 0 w 1393413"/>
                  <a:gd name="connsiteY48" fmla="*/ 978653 h 3919145"/>
                  <a:gd name="connsiteX49" fmla="*/ 8566 w 1393413"/>
                  <a:gd name="connsiteY49" fmla="*/ 956031 h 3919145"/>
                  <a:gd name="connsiteX50" fmla="*/ 8566 w 1393413"/>
                  <a:gd name="connsiteY50" fmla="*/ 480862 h 3919145"/>
                  <a:gd name="connsiteX51" fmla="*/ 29369 w 1393413"/>
                  <a:gd name="connsiteY51" fmla="*/ 481842 h 3919145"/>
                  <a:gd name="connsiteX52" fmla="*/ 1364044 w 1393413"/>
                  <a:gd name="connsiteY52" fmla="*/ 1252779 h 3919145"/>
                  <a:gd name="connsiteX53" fmla="*/ 1393413 w 1393413"/>
                  <a:gd name="connsiteY53" fmla="*/ 1308313 h 3919145"/>
                  <a:gd name="connsiteX54" fmla="*/ 1393413 w 1393413"/>
                  <a:gd name="connsiteY54" fmla="*/ 1511500 h 3919145"/>
                  <a:gd name="connsiteX55" fmla="*/ 1364044 w 1393413"/>
                  <a:gd name="connsiteY55" fmla="*/ 1533714 h 3919145"/>
                  <a:gd name="connsiteX56" fmla="*/ 29369 w 1393413"/>
                  <a:gd name="connsiteY56" fmla="*/ 762123 h 3919145"/>
                  <a:gd name="connsiteX57" fmla="*/ 0 w 1393413"/>
                  <a:gd name="connsiteY57" fmla="*/ 706590 h 3919145"/>
                  <a:gd name="connsiteX58" fmla="*/ 0 w 1393413"/>
                  <a:gd name="connsiteY58" fmla="*/ 503402 h 3919145"/>
                  <a:gd name="connsiteX59" fmla="*/ 8566 w 1393413"/>
                  <a:gd name="connsiteY59" fmla="*/ 480862 h 3919145"/>
                  <a:gd name="connsiteX60" fmla="*/ 8566 w 1393413"/>
                  <a:gd name="connsiteY60" fmla="*/ 2971 h 3919145"/>
                  <a:gd name="connsiteX61" fmla="*/ 29369 w 1393413"/>
                  <a:gd name="connsiteY61" fmla="*/ 3706 h 3919145"/>
                  <a:gd name="connsiteX62" fmla="*/ 1364044 w 1393413"/>
                  <a:gd name="connsiteY62" fmla="*/ 774826 h 3919145"/>
                  <a:gd name="connsiteX63" fmla="*/ 1393413 w 1393413"/>
                  <a:gd name="connsiteY63" fmla="*/ 830326 h 3919145"/>
                  <a:gd name="connsiteX64" fmla="*/ 1393413 w 1393413"/>
                  <a:gd name="connsiteY64" fmla="*/ 1033390 h 3919145"/>
                  <a:gd name="connsiteX65" fmla="*/ 1364044 w 1393413"/>
                  <a:gd name="connsiteY65" fmla="*/ 1055590 h 3919145"/>
                  <a:gd name="connsiteX66" fmla="*/ 29369 w 1393413"/>
                  <a:gd name="connsiteY66" fmla="*/ 283816 h 3919145"/>
                  <a:gd name="connsiteX67" fmla="*/ 0 w 1393413"/>
                  <a:gd name="connsiteY67" fmla="*/ 228317 h 3919145"/>
                  <a:gd name="connsiteX68" fmla="*/ 0 w 1393413"/>
                  <a:gd name="connsiteY68" fmla="*/ 25253 h 3919145"/>
                  <a:gd name="connsiteX69" fmla="*/ 8566 w 1393413"/>
                  <a:gd name="connsiteY69" fmla="*/ 2971 h 3919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393413" h="3919145">
                    <a:moveTo>
                      <a:pt x="8566" y="2862465"/>
                    </a:moveTo>
                    <a:cubicBezTo>
                      <a:pt x="13869" y="2858627"/>
                      <a:pt x="21211" y="2858627"/>
                      <a:pt x="29369" y="2863200"/>
                    </a:cubicBezTo>
                    <a:lnTo>
                      <a:pt x="1364044" y="3634790"/>
                    </a:lnTo>
                    <a:cubicBezTo>
                      <a:pt x="1380360" y="3643937"/>
                      <a:pt x="1393413" y="3668764"/>
                      <a:pt x="1393413" y="3690324"/>
                    </a:cubicBezTo>
                    <a:lnTo>
                      <a:pt x="1393413" y="3893512"/>
                    </a:lnTo>
                    <a:cubicBezTo>
                      <a:pt x="1393413" y="3915072"/>
                      <a:pt x="1380360" y="3924872"/>
                      <a:pt x="1364044" y="3915725"/>
                    </a:cubicBezTo>
                    <a:lnTo>
                      <a:pt x="29369" y="3144134"/>
                    </a:lnTo>
                    <a:cubicBezTo>
                      <a:pt x="13053" y="3134988"/>
                      <a:pt x="0" y="3109508"/>
                      <a:pt x="0" y="3087948"/>
                    </a:cubicBezTo>
                    <a:lnTo>
                      <a:pt x="0" y="2884760"/>
                    </a:lnTo>
                    <a:cubicBezTo>
                      <a:pt x="0" y="2873980"/>
                      <a:pt x="3263" y="2866303"/>
                      <a:pt x="8566" y="2862465"/>
                    </a:cubicBezTo>
                    <a:close/>
                    <a:moveTo>
                      <a:pt x="8566" y="2387540"/>
                    </a:moveTo>
                    <a:cubicBezTo>
                      <a:pt x="13869" y="2383538"/>
                      <a:pt x="21211" y="2383375"/>
                      <a:pt x="29369" y="2387948"/>
                    </a:cubicBezTo>
                    <a:lnTo>
                      <a:pt x="1364044" y="3159539"/>
                    </a:lnTo>
                    <a:cubicBezTo>
                      <a:pt x="1380360" y="3168686"/>
                      <a:pt x="1393413" y="3194166"/>
                      <a:pt x="1393413" y="3215073"/>
                    </a:cubicBezTo>
                    <a:lnTo>
                      <a:pt x="1393413" y="3418260"/>
                    </a:lnTo>
                    <a:cubicBezTo>
                      <a:pt x="1393413" y="3439821"/>
                      <a:pt x="1380360" y="3449621"/>
                      <a:pt x="1364044" y="3440474"/>
                    </a:cubicBezTo>
                    <a:lnTo>
                      <a:pt x="29369" y="2668883"/>
                    </a:lnTo>
                    <a:cubicBezTo>
                      <a:pt x="13053" y="2659083"/>
                      <a:pt x="0" y="2634256"/>
                      <a:pt x="0" y="2612696"/>
                    </a:cubicBezTo>
                    <a:lnTo>
                      <a:pt x="0" y="2410162"/>
                    </a:lnTo>
                    <a:cubicBezTo>
                      <a:pt x="0" y="2399382"/>
                      <a:pt x="3263" y="2391542"/>
                      <a:pt x="8566" y="2387540"/>
                    </a:cubicBezTo>
                    <a:close/>
                    <a:moveTo>
                      <a:pt x="8566" y="1909813"/>
                    </a:moveTo>
                    <a:cubicBezTo>
                      <a:pt x="13869" y="1905732"/>
                      <a:pt x="21211" y="1905569"/>
                      <a:pt x="29369" y="1910466"/>
                    </a:cubicBezTo>
                    <a:lnTo>
                      <a:pt x="1364044" y="2681586"/>
                    </a:lnTo>
                    <a:cubicBezTo>
                      <a:pt x="1380360" y="2690727"/>
                      <a:pt x="1393413" y="2716192"/>
                      <a:pt x="1393413" y="2737739"/>
                    </a:cubicBezTo>
                    <a:lnTo>
                      <a:pt x="1393413" y="2940803"/>
                    </a:lnTo>
                    <a:cubicBezTo>
                      <a:pt x="1393413" y="2962350"/>
                      <a:pt x="1380360" y="2971491"/>
                      <a:pt x="1364044" y="2962350"/>
                    </a:cubicBezTo>
                    <a:lnTo>
                      <a:pt x="29369" y="2191229"/>
                    </a:lnTo>
                    <a:cubicBezTo>
                      <a:pt x="13053" y="2182088"/>
                      <a:pt x="0" y="2157277"/>
                      <a:pt x="0" y="2135730"/>
                    </a:cubicBezTo>
                    <a:lnTo>
                      <a:pt x="0" y="1932666"/>
                    </a:lnTo>
                    <a:cubicBezTo>
                      <a:pt x="0" y="1921892"/>
                      <a:pt x="3263" y="1913894"/>
                      <a:pt x="8566" y="1909813"/>
                    </a:cubicBezTo>
                    <a:close/>
                    <a:moveTo>
                      <a:pt x="8566" y="1434156"/>
                    </a:moveTo>
                    <a:cubicBezTo>
                      <a:pt x="13869" y="1430157"/>
                      <a:pt x="21211" y="1429993"/>
                      <a:pt x="29369" y="1434564"/>
                    </a:cubicBezTo>
                    <a:lnTo>
                      <a:pt x="1364044" y="2205684"/>
                    </a:lnTo>
                    <a:cubicBezTo>
                      <a:pt x="1380360" y="2214825"/>
                      <a:pt x="1393413" y="2240290"/>
                      <a:pt x="1393413" y="2261184"/>
                    </a:cubicBezTo>
                    <a:lnTo>
                      <a:pt x="1393413" y="2464901"/>
                    </a:lnTo>
                    <a:cubicBezTo>
                      <a:pt x="1393413" y="2486448"/>
                      <a:pt x="1380360" y="2496242"/>
                      <a:pt x="1364044" y="2486448"/>
                    </a:cubicBezTo>
                    <a:lnTo>
                      <a:pt x="29369" y="1715327"/>
                    </a:lnTo>
                    <a:cubicBezTo>
                      <a:pt x="13053" y="1706186"/>
                      <a:pt x="0" y="1681375"/>
                      <a:pt x="0" y="1659828"/>
                    </a:cubicBezTo>
                    <a:lnTo>
                      <a:pt x="0" y="1456764"/>
                    </a:lnTo>
                    <a:cubicBezTo>
                      <a:pt x="0" y="1445990"/>
                      <a:pt x="3263" y="1438155"/>
                      <a:pt x="8566" y="1434156"/>
                    </a:cubicBezTo>
                    <a:close/>
                    <a:moveTo>
                      <a:pt x="8566" y="956031"/>
                    </a:moveTo>
                    <a:cubicBezTo>
                      <a:pt x="13869" y="952029"/>
                      <a:pt x="21211" y="951866"/>
                      <a:pt x="29369" y="956439"/>
                    </a:cubicBezTo>
                    <a:lnTo>
                      <a:pt x="1364044" y="1727377"/>
                    </a:lnTo>
                    <a:cubicBezTo>
                      <a:pt x="1380360" y="1737177"/>
                      <a:pt x="1393413" y="1762004"/>
                      <a:pt x="1393413" y="1783564"/>
                    </a:cubicBezTo>
                    <a:lnTo>
                      <a:pt x="1393413" y="1986751"/>
                    </a:lnTo>
                    <a:cubicBezTo>
                      <a:pt x="1393413" y="2008311"/>
                      <a:pt x="1380360" y="2018111"/>
                      <a:pt x="1364044" y="2008965"/>
                    </a:cubicBezTo>
                    <a:lnTo>
                      <a:pt x="29369" y="1236721"/>
                    </a:lnTo>
                    <a:cubicBezTo>
                      <a:pt x="13053" y="1227574"/>
                      <a:pt x="0" y="1203401"/>
                      <a:pt x="0" y="1181841"/>
                    </a:cubicBezTo>
                    <a:lnTo>
                      <a:pt x="0" y="978653"/>
                    </a:lnTo>
                    <a:cubicBezTo>
                      <a:pt x="0" y="967873"/>
                      <a:pt x="3263" y="960033"/>
                      <a:pt x="8566" y="956031"/>
                    </a:cubicBezTo>
                    <a:close/>
                    <a:moveTo>
                      <a:pt x="8566" y="480862"/>
                    </a:moveTo>
                    <a:cubicBezTo>
                      <a:pt x="13869" y="476942"/>
                      <a:pt x="21211" y="476942"/>
                      <a:pt x="29369" y="481842"/>
                    </a:cubicBezTo>
                    <a:lnTo>
                      <a:pt x="1364044" y="1252779"/>
                    </a:lnTo>
                    <a:cubicBezTo>
                      <a:pt x="1380360" y="1261926"/>
                      <a:pt x="1393413" y="1286753"/>
                      <a:pt x="1393413" y="1308313"/>
                    </a:cubicBezTo>
                    <a:lnTo>
                      <a:pt x="1393413" y="1511500"/>
                    </a:lnTo>
                    <a:cubicBezTo>
                      <a:pt x="1393413" y="1533060"/>
                      <a:pt x="1380360" y="1542860"/>
                      <a:pt x="1364044" y="1533714"/>
                    </a:cubicBezTo>
                    <a:lnTo>
                      <a:pt x="29369" y="762123"/>
                    </a:lnTo>
                    <a:cubicBezTo>
                      <a:pt x="13053" y="753630"/>
                      <a:pt x="0" y="728150"/>
                      <a:pt x="0" y="706590"/>
                    </a:cubicBezTo>
                    <a:lnTo>
                      <a:pt x="0" y="503402"/>
                    </a:lnTo>
                    <a:cubicBezTo>
                      <a:pt x="0" y="492622"/>
                      <a:pt x="3263" y="484782"/>
                      <a:pt x="8566" y="480862"/>
                    </a:cubicBezTo>
                    <a:close/>
                    <a:moveTo>
                      <a:pt x="8566" y="2971"/>
                    </a:moveTo>
                    <a:cubicBezTo>
                      <a:pt x="13869" y="-1028"/>
                      <a:pt x="21211" y="-1191"/>
                      <a:pt x="29369" y="3706"/>
                    </a:cubicBezTo>
                    <a:lnTo>
                      <a:pt x="1364044" y="774826"/>
                    </a:lnTo>
                    <a:cubicBezTo>
                      <a:pt x="1380360" y="783967"/>
                      <a:pt x="1393413" y="808779"/>
                      <a:pt x="1393413" y="830326"/>
                    </a:cubicBezTo>
                    <a:lnTo>
                      <a:pt x="1393413" y="1033390"/>
                    </a:lnTo>
                    <a:cubicBezTo>
                      <a:pt x="1393413" y="1054937"/>
                      <a:pt x="1380360" y="1064731"/>
                      <a:pt x="1364044" y="1055590"/>
                    </a:cubicBezTo>
                    <a:lnTo>
                      <a:pt x="29369" y="283816"/>
                    </a:lnTo>
                    <a:cubicBezTo>
                      <a:pt x="13053" y="274675"/>
                      <a:pt x="0" y="249864"/>
                      <a:pt x="0" y="228317"/>
                    </a:cubicBezTo>
                    <a:lnTo>
                      <a:pt x="0" y="25253"/>
                    </a:lnTo>
                    <a:cubicBezTo>
                      <a:pt x="0" y="14806"/>
                      <a:pt x="3263" y="6971"/>
                      <a:pt x="8566" y="2971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6" name="Freeform 239">
                <a:extLst>
                  <a:ext uri="{FF2B5EF4-FFF2-40B4-BE49-F238E27FC236}">
                    <a16:creationId xmlns:a16="http://schemas.microsoft.com/office/drawing/2014/main" id="{2EEA4A0B-2C22-BB49-923B-335F7D992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5039" y="8450809"/>
                <a:ext cx="123852" cy="181460"/>
              </a:xfrm>
              <a:custGeom>
                <a:avLst/>
                <a:gdLst>
                  <a:gd name="T0" fmla="*/ 189 w 190"/>
                  <a:gd name="T1" fmla="*/ 193 h 279"/>
                  <a:gd name="T2" fmla="*/ 189 w 190"/>
                  <a:gd name="T3" fmla="*/ 193 h 279"/>
                  <a:gd name="T4" fmla="*/ 95 w 190"/>
                  <a:gd name="T5" fmla="*/ 248 h 279"/>
                  <a:gd name="T6" fmla="*/ 95 w 190"/>
                  <a:gd name="T7" fmla="*/ 248 h 279"/>
                  <a:gd name="T8" fmla="*/ 0 w 190"/>
                  <a:gd name="T9" fmla="*/ 84 h 279"/>
                  <a:gd name="T10" fmla="*/ 0 w 190"/>
                  <a:gd name="T11" fmla="*/ 84 h 279"/>
                  <a:gd name="T12" fmla="*/ 95 w 190"/>
                  <a:gd name="T13" fmla="*/ 30 h 279"/>
                  <a:gd name="T14" fmla="*/ 95 w 190"/>
                  <a:gd name="T15" fmla="*/ 30 h 279"/>
                  <a:gd name="T16" fmla="*/ 189 w 190"/>
                  <a:gd name="T17" fmla="*/ 19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279">
                    <a:moveTo>
                      <a:pt x="189" y="193"/>
                    </a:moveTo>
                    <a:lnTo>
                      <a:pt x="189" y="193"/>
                    </a:lnTo>
                    <a:cubicBezTo>
                      <a:pt x="189" y="254"/>
                      <a:pt x="147" y="278"/>
                      <a:pt x="95" y="248"/>
                    </a:cubicBezTo>
                    <a:lnTo>
                      <a:pt x="95" y="248"/>
                    </a:lnTo>
                    <a:cubicBezTo>
                      <a:pt x="42" y="218"/>
                      <a:pt x="0" y="145"/>
                      <a:pt x="0" y="84"/>
                    </a:cubicBezTo>
                    <a:lnTo>
                      <a:pt x="0" y="84"/>
                    </a:lnTo>
                    <a:cubicBezTo>
                      <a:pt x="0" y="24"/>
                      <a:pt x="42" y="0"/>
                      <a:pt x="95" y="30"/>
                    </a:cubicBezTo>
                    <a:lnTo>
                      <a:pt x="95" y="30"/>
                    </a:lnTo>
                    <a:cubicBezTo>
                      <a:pt x="147" y="60"/>
                      <a:pt x="189" y="133"/>
                      <a:pt x="189" y="193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7" name="Freeform 244">
                <a:extLst>
                  <a:ext uri="{FF2B5EF4-FFF2-40B4-BE49-F238E27FC236}">
                    <a16:creationId xmlns:a16="http://schemas.microsoft.com/office/drawing/2014/main" id="{E1D4FDEF-3A93-3749-8730-3AD162D0EE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39776" y="8453689"/>
                <a:ext cx="385961" cy="457967"/>
              </a:xfrm>
              <a:custGeom>
                <a:avLst/>
                <a:gdLst>
                  <a:gd name="T0" fmla="*/ 36 w 591"/>
                  <a:gd name="T1" fmla="*/ 701 h 702"/>
                  <a:gd name="T2" fmla="*/ 36 w 591"/>
                  <a:gd name="T3" fmla="*/ 701 h 702"/>
                  <a:gd name="T4" fmla="*/ 9 w 591"/>
                  <a:gd name="T5" fmla="*/ 685 h 702"/>
                  <a:gd name="T6" fmla="*/ 9 w 591"/>
                  <a:gd name="T7" fmla="*/ 685 h 702"/>
                  <a:gd name="T8" fmla="*/ 20 w 591"/>
                  <a:gd name="T9" fmla="*/ 642 h 702"/>
                  <a:gd name="T10" fmla="*/ 448 w 591"/>
                  <a:gd name="T11" fmla="*/ 394 h 702"/>
                  <a:gd name="T12" fmla="*/ 448 w 591"/>
                  <a:gd name="T13" fmla="*/ 394 h 702"/>
                  <a:gd name="T14" fmla="*/ 527 w 591"/>
                  <a:gd name="T15" fmla="*/ 258 h 702"/>
                  <a:gd name="T16" fmla="*/ 527 w 591"/>
                  <a:gd name="T17" fmla="*/ 32 h 702"/>
                  <a:gd name="T18" fmla="*/ 527 w 591"/>
                  <a:gd name="T19" fmla="*/ 32 h 702"/>
                  <a:gd name="T20" fmla="*/ 558 w 591"/>
                  <a:gd name="T21" fmla="*/ 0 h 702"/>
                  <a:gd name="T22" fmla="*/ 558 w 591"/>
                  <a:gd name="T23" fmla="*/ 0 h 702"/>
                  <a:gd name="T24" fmla="*/ 590 w 591"/>
                  <a:gd name="T25" fmla="*/ 32 h 702"/>
                  <a:gd name="T26" fmla="*/ 590 w 591"/>
                  <a:gd name="T27" fmla="*/ 258 h 702"/>
                  <a:gd name="T28" fmla="*/ 590 w 591"/>
                  <a:gd name="T29" fmla="*/ 258 h 702"/>
                  <a:gd name="T30" fmla="*/ 480 w 591"/>
                  <a:gd name="T31" fmla="*/ 450 h 702"/>
                  <a:gd name="T32" fmla="*/ 51 w 591"/>
                  <a:gd name="T33" fmla="*/ 697 h 702"/>
                  <a:gd name="T34" fmla="*/ 51 w 591"/>
                  <a:gd name="T35" fmla="*/ 697 h 702"/>
                  <a:gd name="T36" fmla="*/ 36 w 591"/>
                  <a:gd name="T37" fmla="*/ 701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1" h="702">
                    <a:moveTo>
                      <a:pt x="36" y="701"/>
                    </a:moveTo>
                    <a:lnTo>
                      <a:pt x="36" y="701"/>
                    </a:lnTo>
                    <a:cubicBezTo>
                      <a:pt x="25" y="701"/>
                      <a:pt x="15" y="696"/>
                      <a:pt x="9" y="685"/>
                    </a:cubicBezTo>
                    <a:lnTo>
                      <a:pt x="9" y="685"/>
                    </a:lnTo>
                    <a:cubicBezTo>
                      <a:pt x="0" y="671"/>
                      <a:pt x="5" y="651"/>
                      <a:pt x="20" y="642"/>
                    </a:cubicBezTo>
                    <a:lnTo>
                      <a:pt x="448" y="394"/>
                    </a:lnTo>
                    <a:lnTo>
                      <a:pt x="448" y="394"/>
                    </a:lnTo>
                    <a:cubicBezTo>
                      <a:pt x="496" y="367"/>
                      <a:pt x="527" y="315"/>
                      <a:pt x="527" y="258"/>
                    </a:cubicBezTo>
                    <a:lnTo>
                      <a:pt x="527" y="32"/>
                    </a:lnTo>
                    <a:lnTo>
                      <a:pt x="527" y="32"/>
                    </a:lnTo>
                    <a:cubicBezTo>
                      <a:pt x="527" y="14"/>
                      <a:pt x="541" y="0"/>
                      <a:pt x="558" y="0"/>
                    </a:cubicBezTo>
                    <a:lnTo>
                      <a:pt x="558" y="0"/>
                    </a:lnTo>
                    <a:cubicBezTo>
                      <a:pt x="576" y="0"/>
                      <a:pt x="590" y="14"/>
                      <a:pt x="590" y="32"/>
                    </a:cubicBezTo>
                    <a:lnTo>
                      <a:pt x="590" y="258"/>
                    </a:lnTo>
                    <a:lnTo>
                      <a:pt x="590" y="258"/>
                    </a:lnTo>
                    <a:cubicBezTo>
                      <a:pt x="590" y="337"/>
                      <a:pt x="548" y="410"/>
                      <a:pt x="480" y="450"/>
                    </a:cubicBezTo>
                    <a:lnTo>
                      <a:pt x="51" y="697"/>
                    </a:lnTo>
                    <a:lnTo>
                      <a:pt x="51" y="697"/>
                    </a:lnTo>
                    <a:cubicBezTo>
                      <a:pt x="47" y="700"/>
                      <a:pt x="41" y="701"/>
                      <a:pt x="36" y="701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D75426FF-A7B1-DB41-9DF1-EA544271F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31582" y="8795716"/>
                <a:ext cx="419875" cy="337071"/>
              </a:xfrm>
              <a:custGeom>
                <a:avLst/>
                <a:gdLst>
                  <a:gd name="connsiteX0" fmla="*/ 336695 w 419875"/>
                  <a:gd name="connsiteY0" fmla="*/ 165 h 337071"/>
                  <a:gd name="connsiteX1" fmla="*/ 360038 w 419875"/>
                  <a:gd name="connsiteY1" fmla="*/ 8178 h 337071"/>
                  <a:gd name="connsiteX2" fmla="*/ 419875 w 419875"/>
                  <a:gd name="connsiteY2" fmla="*/ 112840 h 337071"/>
                  <a:gd name="connsiteX3" fmla="*/ 402152 w 419875"/>
                  <a:gd name="connsiteY3" fmla="*/ 152006 h 337071"/>
                  <a:gd name="connsiteX4" fmla="*/ 401299 w 419875"/>
                  <a:gd name="connsiteY4" fmla="*/ 152176 h 337071"/>
                  <a:gd name="connsiteX5" fmla="*/ 402591 w 419875"/>
                  <a:gd name="connsiteY5" fmla="*/ 154433 h 337071"/>
                  <a:gd name="connsiteX6" fmla="*/ 84687 w 419875"/>
                  <a:gd name="connsiteY6" fmla="*/ 337071 h 337071"/>
                  <a:gd name="connsiteX7" fmla="*/ 0 w 419875"/>
                  <a:gd name="connsiteY7" fmla="*/ 189128 h 337071"/>
                  <a:gd name="connsiteX8" fmla="*/ 312901 w 419875"/>
                  <a:gd name="connsiteY8" fmla="*/ 9364 h 337071"/>
                  <a:gd name="connsiteX9" fmla="*/ 317681 w 419875"/>
                  <a:gd name="connsiteY9" fmla="*/ 3926 h 337071"/>
                  <a:gd name="connsiteX10" fmla="*/ 336695 w 419875"/>
                  <a:gd name="connsiteY10" fmla="*/ 165 h 33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875" h="337071">
                    <a:moveTo>
                      <a:pt x="336695" y="165"/>
                    </a:moveTo>
                    <a:cubicBezTo>
                      <a:pt x="343860" y="819"/>
                      <a:pt x="351746" y="3436"/>
                      <a:pt x="360038" y="8178"/>
                    </a:cubicBezTo>
                    <a:cubicBezTo>
                      <a:pt x="393209" y="27802"/>
                      <a:pt x="419875" y="74246"/>
                      <a:pt x="419875" y="112840"/>
                    </a:cubicBezTo>
                    <a:cubicBezTo>
                      <a:pt x="419875" y="132137"/>
                      <a:pt x="413046" y="145710"/>
                      <a:pt x="402152" y="152006"/>
                    </a:cubicBezTo>
                    <a:lnTo>
                      <a:pt x="401299" y="152176"/>
                    </a:lnTo>
                    <a:lnTo>
                      <a:pt x="402591" y="154433"/>
                    </a:lnTo>
                    <a:lnTo>
                      <a:pt x="84687" y="337071"/>
                    </a:lnTo>
                    <a:lnTo>
                      <a:pt x="0" y="189128"/>
                    </a:lnTo>
                    <a:lnTo>
                      <a:pt x="312901" y="9364"/>
                    </a:lnTo>
                    <a:lnTo>
                      <a:pt x="317681" y="3926"/>
                    </a:lnTo>
                    <a:cubicBezTo>
                      <a:pt x="323088" y="819"/>
                      <a:pt x="329531" y="-489"/>
                      <a:pt x="336695" y="16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69" name="Freeform 248">
                <a:extLst>
                  <a:ext uri="{FF2B5EF4-FFF2-40B4-BE49-F238E27FC236}">
                    <a16:creationId xmlns:a16="http://schemas.microsoft.com/office/drawing/2014/main" id="{4A191AD7-C377-8447-B929-3884D70F8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83428" y="8891496"/>
                <a:ext cx="192981" cy="210261"/>
              </a:xfrm>
              <a:custGeom>
                <a:avLst/>
                <a:gdLst>
                  <a:gd name="T0" fmla="*/ 0 w 296"/>
                  <a:gd name="T1" fmla="*/ 94 h 321"/>
                  <a:gd name="T2" fmla="*/ 166 w 296"/>
                  <a:gd name="T3" fmla="*/ 0 h 321"/>
                  <a:gd name="T4" fmla="*/ 166 w 296"/>
                  <a:gd name="T5" fmla="*/ 0 h 321"/>
                  <a:gd name="T6" fmla="*/ 295 w 296"/>
                  <a:gd name="T7" fmla="*/ 225 h 321"/>
                  <a:gd name="T8" fmla="*/ 130 w 296"/>
                  <a:gd name="T9" fmla="*/ 320 h 321"/>
                  <a:gd name="T10" fmla="*/ 130 w 296"/>
                  <a:gd name="T11" fmla="*/ 320 h 321"/>
                  <a:gd name="T12" fmla="*/ 0 w 296"/>
                  <a:gd name="T13" fmla="*/ 94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6" h="321">
                    <a:moveTo>
                      <a:pt x="0" y="94"/>
                    </a:moveTo>
                    <a:lnTo>
                      <a:pt x="166" y="0"/>
                    </a:lnTo>
                    <a:lnTo>
                      <a:pt x="166" y="0"/>
                    </a:lnTo>
                    <a:cubicBezTo>
                      <a:pt x="234" y="49"/>
                      <a:pt x="288" y="142"/>
                      <a:pt x="295" y="225"/>
                    </a:cubicBezTo>
                    <a:lnTo>
                      <a:pt x="130" y="320"/>
                    </a:lnTo>
                    <a:lnTo>
                      <a:pt x="130" y="320"/>
                    </a:lnTo>
                    <a:cubicBezTo>
                      <a:pt x="61" y="271"/>
                      <a:pt x="8" y="178"/>
                      <a:pt x="0" y="9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166C875-A181-4849-97BC-6AF368A25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62093" y="8897850"/>
                <a:ext cx="664694" cy="534489"/>
              </a:xfrm>
              <a:custGeom>
                <a:avLst/>
                <a:gdLst>
                  <a:gd name="connsiteX0" fmla="*/ 529456 w 664694"/>
                  <a:gd name="connsiteY0" fmla="*/ 258 h 534489"/>
                  <a:gd name="connsiteX1" fmla="*/ 567746 w 664694"/>
                  <a:gd name="connsiteY1" fmla="*/ 13403 h 534489"/>
                  <a:gd name="connsiteX2" fmla="*/ 664694 w 664694"/>
                  <a:gd name="connsiteY2" fmla="*/ 182181 h 534489"/>
                  <a:gd name="connsiteX3" fmla="*/ 636035 w 664694"/>
                  <a:gd name="connsiteY3" fmla="*/ 245147 h 534489"/>
                  <a:gd name="connsiteX4" fmla="*/ 634414 w 664694"/>
                  <a:gd name="connsiteY4" fmla="*/ 245472 h 534489"/>
                  <a:gd name="connsiteX5" fmla="*/ 635894 w 664694"/>
                  <a:gd name="connsiteY5" fmla="*/ 248052 h 534489"/>
                  <a:gd name="connsiteX6" fmla="*/ 136962 w 664694"/>
                  <a:gd name="connsiteY6" fmla="*/ 534489 h 534489"/>
                  <a:gd name="connsiteX7" fmla="*/ 0 w 664694"/>
                  <a:gd name="connsiteY7" fmla="*/ 295138 h 534489"/>
                  <a:gd name="connsiteX8" fmla="*/ 495326 w 664694"/>
                  <a:gd name="connsiteY8" fmla="*/ 9749 h 534489"/>
                  <a:gd name="connsiteX9" fmla="*/ 498229 w 664694"/>
                  <a:gd name="connsiteY9" fmla="*/ 6479 h 534489"/>
                  <a:gd name="connsiteX10" fmla="*/ 529456 w 664694"/>
                  <a:gd name="connsiteY10" fmla="*/ 258 h 534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694" h="534489">
                    <a:moveTo>
                      <a:pt x="529456" y="258"/>
                    </a:moveTo>
                    <a:cubicBezTo>
                      <a:pt x="541216" y="1307"/>
                      <a:pt x="554154" y="5583"/>
                      <a:pt x="567746" y="13403"/>
                    </a:cubicBezTo>
                    <a:cubicBezTo>
                      <a:pt x="621460" y="44683"/>
                      <a:pt x="664694" y="120274"/>
                      <a:pt x="664694" y="182181"/>
                    </a:cubicBezTo>
                    <a:cubicBezTo>
                      <a:pt x="664694" y="213135"/>
                      <a:pt x="653722" y="234965"/>
                      <a:pt x="636035" y="245147"/>
                    </a:cubicBezTo>
                    <a:lnTo>
                      <a:pt x="634414" y="245472"/>
                    </a:lnTo>
                    <a:lnTo>
                      <a:pt x="635894" y="248052"/>
                    </a:lnTo>
                    <a:lnTo>
                      <a:pt x="136962" y="534489"/>
                    </a:lnTo>
                    <a:lnTo>
                      <a:pt x="0" y="295138"/>
                    </a:lnTo>
                    <a:lnTo>
                      <a:pt x="495326" y="9749"/>
                    </a:lnTo>
                    <a:lnTo>
                      <a:pt x="498229" y="6479"/>
                    </a:lnTo>
                    <a:cubicBezTo>
                      <a:pt x="507113" y="1388"/>
                      <a:pt x="517696" y="-791"/>
                      <a:pt x="529456" y="25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1" name="Freeform 251">
                <a:extLst>
                  <a:ext uri="{FF2B5EF4-FFF2-40B4-BE49-F238E27FC236}">
                    <a16:creationId xmlns:a16="http://schemas.microsoft.com/office/drawing/2014/main" id="{EBD969B3-2D47-8D47-A751-3BB0216F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591945"/>
                <a:ext cx="6529645" cy="3770315"/>
              </a:xfrm>
              <a:custGeom>
                <a:avLst/>
                <a:gdLst>
                  <a:gd name="T0" fmla="*/ 5539 w 9996"/>
                  <a:gd name="T1" fmla="*/ 5684 h 5773"/>
                  <a:gd name="T2" fmla="*/ 152 w 9996"/>
                  <a:gd name="T3" fmla="*/ 2574 h 5773"/>
                  <a:gd name="T4" fmla="*/ 152 w 9996"/>
                  <a:gd name="T5" fmla="*/ 2574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4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4"/>
                    </a:moveTo>
                    <a:lnTo>
                      <a:pt x="152" y="2574"/>
                    </a:lnTo>
                    <a:lnTo>
                      <a:pt x="152" y="2574"/>
                    </a:lnTo>
                    <a:cubicBezTo>
                      <a:pt x="0" y="2486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2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1"/>
                      <a:pt x="5691" y="5772"/>
                      <a:pt x="5539" y="568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2" name="Freeform 252">
                <a:extLst>
                  <a:ext uri="{FF2B5EF4-FFF2-40B4-BE49-F238E27FC236}">
                    <a16:creationId xmlns:a16="http://schemas.microsoft.com/office/drawing/2014/main" id="{8BB2BFD9-9DE2-4940-AF2B-969D23FC0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4774" y="11763157"/>
                <a:ext cx="720076" cy="443567"/>
              </a:xfrm>
              <a:custGeom>
                <a:avLst/>
                <a:gdLst>
                  <a:gd name="T0" fmla="*/ 1066 w 1103"/>
                  <a:gd name="T1" fmla="*/ 678 h 679"/>
                  <a:gd name="T2" fmla="*/ 1066 w 1103"/>
                  <a:gd name="T3" fmla="*/ 678 h 679"/>
                  <a:gd name="T4" fmla="*/ 1050 w 1103"/>
                  <a:gd name="T5" fmla="*/ 673 h 679"/>
                  <a:gd name="T6" fmla="*/ 20 w 1103"/>
                  <a:gd name="T7" fmla="*/ 63 h 679"/>
                  <a:gd name="T8" fmla="*/ 20 w 1103"/>
                  <a:gd name="T9" fmla="*/ 63 h 679"/>
                  <a:gd name="T10" fmla="*/ 9 w 1103"/>
                  <a:gd name="T11" fmla="*/ 20 h 679"/>
                  <a:gd name="T12" fmla="*/ 9 w 1103"/>
                  <a:gd name="T13" fmla="*/ 20 h 679"/>
                  <a:gd name="T14" fmla="*/ 52 w 1103"/>
                  <a:gd name="T15" fmla="*/ 9 h 679"/>
                  <a:gd name="T16" fmla="*/ 1082 w 1103"/>
                  <a:gd name="T17" fmla="*/ 619 h 679"/>
                  <a:gd name="T18" fmla="*/ 1082 w 1103"/>
                  <a:gd name="T19" fmla="*/ 619 h 679"/>
                  <a:gd name="T20" fmla="*/ 1093 w 1103"/>
                  <a:gd name="T21" fmla="*/ 662 h 679"/>
                  <a:gd name="T22" fmla="*/ 1093 w 1103"/>
                  <a:gd name="T23" fmla="*/ 662 h 679"/>
                  <a:gd name="T24" fmla="*/ 1066 w 1103"/>
                  <a:gd name="T25" fmla="*/ 678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3" h="679">
                    <a:moveTo>
                      <a:pt x="1066" y="678"/>
                    </a:moveTo>
                    <a:lnTo>
                      <a:pt x="1066" y="678"/>
                    </a:lnTo>
                    <a:cubicBezTo>
                      <a:pt x="1060" y="678"/>
                      <a:pt x="1054" y="677"/>
                      <a:pt x="1050" y="673"/>
                    </a:cubicBezTo>
                    <a:lnTo>
                      <a:pt x="20" y="63"/>
                    </a:lnTo>
                    <a:lnTo>
                      <a:pt x="20" y="63"/>
                    </a:lnTo>
                    <a:cubicBezTo>
                      <a:pt x="5" y="54"/>
                      <a:pt x="0" y="35"/>
                      <a:pt x="9" y="20"/>
                    </a:cubicBezTo>
                    <a:lnTo>
                      <a:pt x="9" y="20"/>
                    </a:lnTo>
                    <a:cubicBezTo>
                      <a:pt x="17" y="4"/>
                      <a:pt x="37" y="0"/>
                      <a:pt x="52" y="9"/>
                    </a:cubicBezTo>
                    <a:lnTo>
                      <a:pt x="1082" y="619"/>
                    </a:lnTo>
                    <a:lnTo>
                      <a:pt x="1082" y="619"/>
                    </a:lnTo>
                    <a:cubicBezTo>
                      <a:pt x="1097" y="628"/>
                      <a:pt x="1102" y="648"/>
                      <a:pt x="1093" y="662"/>
                    </a:cubicBezTo>
                    <a:lnTo>
                      <a:pt x="1093" y="662"/>
                    </a:lnTo>
                    <a:cubicBezTo>
                      <a:pt x="1087" y="672"/>
                      <a:pt x="1076" y="678"/>
                      <a:pt x="1066" y="67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3" name="Freeform 253">
                <a:extLst>
                  <a:ext uri="{FF2B5EF4-FFF2-40B4-BE49-F238E27FC236}">
                    <a16:creationId xmlns:a16="http://schemas.microsoft.com/office/drawing/2014/main" id="{FC250A21-E986-304A-AB39-934FB63ED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1" y="8387443"/>
                <a:ext cx="6469159" cy="3660865"/>
              </a:xfrm>
              <a:custGeom>
                <a:avLst/>
                <a:gdLst>
                  <a:gd name="T0" fmla="*/ 9899 w 9903"/>
                  <a:gd name="T1" fmla="*/ 2930 h 5606"/>
                  <a:gd name="T2" fmla="*/ 9162 w 9903"/>
                  <a:gd name="T3" fmla="*/ 2833 h 5606"/>
                  <a:gd name="T4" fmla="*/ 4410 w 9903"/>
                  <a:gd name="T5" fmla="*/ 88 h 5606"/>
                  <a:gd name="T6" fmla="*/ 4410 w 9903"/>
                  <a:gd name="T7" fmla="*/ 88 h 5606"/>
                  <a:gd name="T8" fmla="*/ 3816 w 9903"/>
                  <a:gd name="T9" fmla="*/ 113 h 5606"/>
                  <a:gd name="T10" fmla="*/ 448 w 9903"/>
                  <a:gd name="T11" fmla="*/ 2057 h 5606"/>
                  <a:gd name="T12" fmla="*/ 2 w 9903"/>
                  <a:gd name="T13" fmla="*/ 1998 h 5606"/>
                  <a:gd name="T14" fmla="*/ 2 w 9903"/>
                  <a:gd name="T15" fmla="*/ 2251 h 5606"/>
                  <a:gd name="T16" fmla="*/ 3 w 9903"/>
                  <a:gd name="T17" fmla="*/ 2251 h 5606"/>
                  <a:gd name="T18" fmla="*/ 3 w 9903"/>
                  <a:gd name="T19" fmla="*/ 2251 h 5606"/>
                  <a:gd name="T20" fmla="*/ 105 w 9903"/>
                  <a:gd name="T21" fmla="*/ 2407 h 5606"/>
                  <a:gd name="T22" fmla="*/ 5492 w 9903"/>
                  <a:gd name="T23" fmla="*/ 5517 h 5606"/>
                  <a:gd name="T24" fmla="*/ 5492 w 9903"/>
                  <a:gd name="T25" fmla="*/ 5517 h 5606"/>
                  <a:gd name="T26" fmla="*/ 6086 w 9903"/>
                  <a:gd name="T27" fmla="*/ 5492 h 5606"/>
                  <a:gd name="T28" fmla="*/ 9753 w 9903"/>
                  <a:gd name="T29" fmla="*/ 3376 h 5606"/>
                  <a:gd name="T30" fmla="*/ 9753 w 9903"/>
                  <a:gd name="T31" fmla="*/ 3376 h 5606"/>
                  <a:gd name="T32" fmla="*/ 9899 w 9903"/>
                  <a:gd name="T33" fmla="*/ 3175 h 5606"/>
                  <a:gd name="T34" fmla="*/ 9899 w 9903"/>
                  <a:gd name="T35" fmla="*/ 2930 h 5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03" h="5606">
                    <a:moveTo>
                      <a:pt x="9899" y="2930"/>
                    </a:moveTo>
                    <a:lnTo>
                      <a:pt x="9162" y="2833"/>
                    </a:lnTo>
                    <a:lnTo>
                      <a:pt x="4410" y="88"/>
                    </a:lnTo>
                    <a:lnTo>
                      <a:pt x="4410" y="88"/>
                    </a:lnTo>
                    <a:cubicBezTo>
                      <a:pt x="4258" y="0"/>
                      <a:pt x="3992" y="11"/>
                      <a:pt x="3816" y="113"/>
                    </a:cubicBezTo>
                    <a:lnTo>
                      <a:pt x="448" y="2057"/>
                    </a:lnTo>
                    <a:lnTo>
                      <a:pt x="2" y="1998"/>
                    </a:lnTo>
                    <a:lnTo>
                      <a:pt x="2" y="2251"/>
                    </a:lnTo>
                    <a:lnTo>
                      <a:pt x="3" y="2251"/>
                    </a:lnTo>
                    <a:lnTo>
                      <a:pt x="3" y="2251"/>
                    </a:lnTo>
                    <a:cubicBezTo>
                      <a:pt x="0" y="2309"/>
                      <a:pt x="34" y="2365"/>
                      <a:pt x="105" y="2407"/>
                    </a:cubicBezTo>
                    <a:lnTo>
                      <a:pt x="5492" y="5517"/>
                    </a:lnTo>
                    <a:lnTo>
                      <a:pt x="5492" y="5517"/>
                    </a:lnTo>
                    <a:cubicBezTo>
                      <a:pt x="5644" y="5605"/>
                      <a:pt x="5910" y="5594"/>
                      <a:pt x="6086" y="5492"/>
                    </a:cubicBezTo>
                    <a:lnTo>
                      <a:pt x="9753" y="3376"/>
                    </a:lnTo>
                    <a:lnTo>
                      <a:pt x="9753" y="3376"/>
                    </a:lnTo>
                    <a:cubicBezTo>
                      <a:pt x="9852" y="3318"/>
                      <a:pt x="9902" y="3245"/>
                      <a:pt x="9899" y="3175"/>
                    </a:cubicBezTo>
                    <a:lnTo>
                      <a:pt x="9899" y="293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F282DFA6-B45A-AA4C-8088-13DB2752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7447" y="9041271"/>
                <a:ext cx="4131276" cy="2988361"/>
              </a:xfrm>
              <a:custGeom>
                <a:avLst/>
                <a:gdLst>
                  <a:gd name="connsiteX0" fmla="*/ 1486371 w 4131276"/>
                  <a:gd name="connsiteY0" fmla="*/ 0 h 2988361"/>
                  <a:gd name="connsiteX1" fmla="*/ 3911194 w 4131276"/>
                  <a:gd name="connsiteY1" fmla="*/ 0 h 2988361"/>
                  <a:gd name="connsiteX2" fmla="*/ 4131276 w 4131276"/>
                  <a:gd name="connsiteY2" fmla="*/ 127360 h 2988361"/>
                  <a:gd name="connsiteX3" fmla="*/ 3785806 w 4131276"/>
                  <a:gd name="connsiteY3" fmla="*/ 2987408 h 2988361"/>
                  <a:gd name="connsiteX4" fmla="*/ 3585315 w 4131276"/>
                  <a:gd name="connsiteY4" fmla="*/ 2949527 h 2988361"/>
                  <a:gd name="connsiteX5" fmla="*/ 67266 w 4131276"/>
                  <a:gd name="connsiteY5" fmla="*/ 918298 h 2988361"/>
                  <a:gd name="connsiteX6" fmla="*/ 653 w 4131276"/>
                  <a:gd name="connsiteY6" fmla="*/ 816410 h 2988361"/>
                  <a:gd name="connsiteX7" fmla="*/ 0 w 4131276"/>
                  <a:gd name="connsiteY7" fmla="*/ 816410 h 2988361"/>
                  <a:gd name="connsiteX8" fmla="*/ 0 w 4131276"/>
                  <a:gd name="connsiteY8" fmla="*/ 651169 h 2988361"/>
                  <a:gd name="connsiteX9" fmla="*/ 6 w 4131276"/>
                  <a:gd name="connsiteY9" fmla="*/ 651170 h 2988361"/>
                  <a:gd name="connsiteX10" fmla="*/ 6 w 4131276"/>
                  <a:gd name="connsiteY10" fmla="*/ 650949 h 2988361"/>
                  <a:gd name="connsiteX11" fmla="*/ 130532 w 4131276"/>
                  <a:gd name="connsiteY11" fmla="*/ 667859 h 2988361"/>
                  <a:gd name="connsiteX12" fmla="*/ 130532 w 4131276"/>
                  <a:gd name="connsiteY12" fmla="*/ 668438 h 2988361"/>
                  <a:gd name="connsiteX13" fmla="*/ 291266 w 4131276"/>
                  <a:gd name="connsiteY13" fmla="*/ 689703 h 2988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31276" h="2988361">
                    <a:moveTo>
                      <a:pt x="1486371" y="0"/>
                    </a:moveTo>
                    <a:lnTo>
                      <a:pt x="3911194" y="0"/>
                    </a:lnTo>
                    <a:lnTo>
                      <a:pt x="4131276" y="127360"/>
                    </a:lnTo>
                    <a:lnTo>
                      <a:pt x="3785806" y="2987408"/>
                    </a:lnTo>
                    <a:cubicBezTo>
                      <a:pt x="3711357" y="2991980"/>
                      <a:pt x="3638213" y="2980223"/>
                      <a:pt x="3585315" y="2949527"/>
                    </a:cubicBezTo>
                    <a:lnTo>
                      <a:pt x="67266" y="918298"/>
                    </a:lnTo>
                    <a:cubicBezTo>
                      <a:pt x="20898" y="890867"/>
                      <a:pt x="-1306" y="854292"/>
                      <a:pt x="653" y="816410"/>
                    </a:cubicBezTo>
                    <a:lnTo>
                      <a:pt x="0" y="816410"/>
                    </a:lnTo>
                    <a:lnTo>
                      <a:pt x="0" y="651169"/>
                    </a:lnTo>
                    <a:lnTo>
                      <a:pt x="6" y="651170"/>
                    </a:lnTo>
                    <a:lnTo>
                      <a:pt x="6" y="650949"/>
                    </a:lnTo>
                    <a:lnTo>
                      <a:pt x="130532" y="667859"/>
                    </a:lnTo>
                    <a:lnTo>
                      <a:pt x="130532" y="668438"/>
                    </a:lnTo>
                    <a:lnTo>
                      <a:pt x="291266" y="68970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5" name="Freeform 256">
                <a:extLst>
                  <a:ext uri="{FF2B5EF4-FFF2-40B4-BE49-F238E27FC236}">
                    <a16:creationId xmlns:a16="http://schemas.microsoft.com/office/drawing/2014/main" id="{712CC92A-7931-5E46-A8DE-0072186BB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66681" y="11619141"/>
                <a:ext cx="331234" cy="426285"/>
              </a:xfrm>
              <a:custGeom>
                <a:avLst/>
                <a:gdLst>
                  <a:gd name="T0" fmla="*/ 0 w 506"/>
                  <a:gd name="T1" fmla="*/ 595 h 651"/>
                  <a:gd name="T2" fmla="*/ 0 w 506"/>
                  <a:gd name="T3" fmla="*/ 595 h 651"/>
                  <a:gd name="T4" fmla="*/ 505 w 506"/>
                  <a:gd name="T5" fmla="*/ 564 h 651"/>
                  <a:gd name="T6" fmla="*/ 505 w 506"/>
                  <a:gd name="T7" fmla="*/ 0 h 651"/>
                  <a:gd name="T8" fmla="*/ 0 w 506"/>
                  <a:gd name="T9" fmla="*/ 0 h 651"/>
                  <a:gd name="T10" fmla="*/ 0 w 506"/>
                  <a:gd name="T11" fmla="*/ 595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6" h="651">
                    <a:moveTo>
                      <a:pt x="0" y="595"/>
                    </a:moveTo>
                    <a:lnTo>
                      <a:pt x="0" y="595"/>
                    </a:lnTo>
                    <a:cubicBezTo>
                      <a:pt x="145" y="650"/>
                      <a:pt x="351" y="638"/>
                      <a:pt x="505" y="564"/>
                    </a:cubicBezTo>
                    <a:lnTo>
                      <a:pt x="505" y="0"/>
                    </a:lnTo>
                    <a:lnTo>
                      <a:pt x="0" y="0"/>
                    </a:lnTo>
                    <a:lnTo>
                      <a:pt x="0" y="59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6" name="Freeform 257">
                <a:extLst>
                  <a:ext uri="{FF2B5EF4-FFF2-40B4-BE49-F238E27FC236}">
                    <a16:creationId xmlns:a16="http://schemas.microsoft.com/office/drawing/2014/main" id="{A210CF52-F281-0241-995D-56CA7D523B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4458" y="8113815"/>
                <a:ext cx="6529645" cy="3770315"/>
              </a:xfrm>
              <a:custGeom>
                <a:avLst/>
                <a:gdLst>
                  <a:gd name="T0" fmla="*/ 5539 w 9996"/>
                  <a:gd name="T1" fmla="*/ 5683 h 5773"/>
                  <a:gd name="T2" fmla="*/ 152 w 9996"/>
                  <a:gd name="T3" fmla="*/ 2573 h 5773"/>
                  <a:gd name="T4" fmla="*/ 152 w 9996"/>
                  <a:gd name="T5" fmla="*/ 2573 h 5773"/>
                  <a:gd name="T6" fmla="*/ 195 w 9996"/>
                  <a:gd name="T7" fmla="*/ 2230 h 5773"/>
                  <a:gd name="T8" fmla="*/ 3863 w 9996"/>
                  <a:gd name="T9" fmla="*/ 113 h 5773"/>
                  <a:gd name="T10" fmla="*/ 3863 w 9996"/>
                  <a:gd name="T11" fmla="*/ 113 h 5773"/>
                  <a:gd name="T12" fmla="*/ 4457 w 9996"/>
                  <a:gd name="T13" fmla="*/ 89 h 5773"/>
                  <a:gd name="T14" fmla="*/ 9843 w 9996"/>
                  <a:gd name="T15" fmla="*/ 3199 h 5773"/>
                  <a:gd name="T16" fmla="*/ 9843 w 9996"/>
                  <a:gd name="T17" fmla="*/ 3199 h 5773"/>
                  <a:gd name="T18" fmla="*/ 9800 w 9996"/>
                  <a:gd name="T19" fmla="*/ 3542 h 5773"/>
                  <a:gd name="T20" fmla="*/ 6133 w 9996"/>
                  <a:gd name="T21" fmla="*/ 5659 h 5773"/>
                  <a:gd name="T22" fmla="*/ 6133 w 9996"/>
                  <a:gd name="T23" fmla="*/ 5659 h 5773"/>
                  <a:gd name="T24" fmla="*/ 5539 w 9996"/>
                  <a:gd name="T25" fmla="*/ 5683 h 5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96" h="5773">
                    <a:moveTo>
                      <a:pt x="5539" y="5683"/>
                    </a:moveTo>
                    <a:lnTo>
                      <a:pt x="152" y="2573"/>
                    </a:lnTo>
                    <a:lnTo>
                      <a:pt x="152" y="2573"/>
                    </a:lnTo>
                    <a:cubicBezTo>
                      <a:pt x="0" y="2485"/>
                      <a:pt x="19" y="2332"/>
                      <a:pt x="195" y="2230"/>
                    </a:cubicBezTo>
                    <a:lnTo>
                      <a:pt x="3863" y="113"/>
                    </a:lnTo>
                    <a:lnTo>
                      <a:pt x="3863" y="113"/>
                    </a:lnTo>
                    <a:cubicBezTo>
                      <a:pt x="4039" y="11"/>
                      <a:pt x="4305" y="0"/>
                      <a:pt x="4457" y="89"/>
                    </a:cubicBezTo>
                    <a:lnTo>
                      <a:pt x="9843" y="3199"/>
                    </a:lnTo>
                    <a:lnTo>
                      <a:pt x="9843" y="3199"/>
                    </a:lnTo>
                    <a:cubicBezTo>
                      <a:pt x="9995" y="3287"/>
                      <a:pt x="9977" y="3441"/>
                      <a:pt x="9800" y="3542"/>
                    </a:cubicBezTo>
                    <a:lnTo>
                      <a:pt x="6133" y="5659"/>
                    </a:lnTo>
                    <a:lnTo>
                      <a:pt x="6133" y="5659"/>
                    </a:lnTo>
                    <a:cubicBezTo>
                      <a:pt x="5957" y="5760"/>
                      <a:pt x="5691" y="5772"/>
                      <a:pt x="5539" y="5683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7" name="Freeform 258">
                <a:extLst>
                  <a:ext uri="{FF2B5EF4-FFF2-40B4-BE49-F238E27FC236}">
                    <a16:creationId xmlns:a16="http://schemas.microsoft.com/office/drawing/2014/main" id="{366893D0-E8F7-B241-BEF4-AB9616A34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7502" y="9666297"/>
                <a:ext cx="6489320" cy="2217833"/>
              </a:xfrm>
              <a:custGeom>
                <a:avLst/>
                <a:gdLst>
                  <a:gd name="T0" fmla="*/ 9766 w 9933"/>
                  <a:gd name="T1" fmla="*/ 1072 h 3395"/>
                  <a:gd name="T2" fmla="*/ 6099 w 9933"/>
                  <a:gd name="T3" fmla="*/ 3189 h 3395"/>
                  <a:gd name="T4" fmla="*/ 6099 w 9933"/>
                  <a:gd name="T5" fmla="*/ 3189 h 3395"/>
                  <a:gd name="T6" fmla="*/ 5505 w 9933"/>
                  <a:gd name="T7" fmla="*/ 3213 h 3395"/>
                  <a:gd name="T8" fmla="*/ 118 w 9933"/>
                  <a:gd name="T9" fmla="*/ 103 h 3395"/>
                  <a:gd name="T10" fmla="*/ 118 w 9933"/>
                  <a:gd name="T11" fmla="*/ 103 h 3395"/>
                  <a:gd name="T12" fmla="*/ 24 w 9933"/>
                  <a:gd name="T13" fmla="*/ 0 h 3395"/>
                  <a:gd name="T14" fmla="*/ 24 w 9933"/>
                  <a:gd name="T15" fmla="*/ 0 h 3395"/>
                  <a:gd name="T16" fmla="*/ 118 w 9933"/>
                  <a:gd name="T17" fmla="*/ 195 h 3395"/>
                  <a:gd name="T18" fmla="*/ 5505 w 9933"/>
                  <a:gd name="T19" fmla="*/ 3305 h 3395"/>
                  <a:gd name="T20" fmla="*/ 5505 w 9933"/>
                  <a:gd name="T21" fmla="*/ 3305 h 3395"/>
                  <a:gd name="T22" fmla="*/ 6099 w 9933"/>
                  <a:gd name="T23" fmla="*/ 3281 h 3395"/>
                  <a:gd name="T24" fmla="*/ 9766 w 9933"/>
                  <a:gd name="T25" fmla="*/ 1164 h 3395"/>
                  <a:gd name="T26" fmla="*/ 9766 w 9933"/>
                  <a:gd name="T27" fmla="*/ 1164 h 3395"/>
                  <a:gd name="T28" fmla="*/ 9904 w 9933"/>
                  <a:gd name="T29" fmla="*/ 924 h 3395"/>
                  <a:gd name="T30" fmla="*/ 9904 w 9933"/>
                  <a:gd name="T31" fmla="*/ 924 h 3395"/>
                  <a:gd name="T32" fmla="*/ 9766 w 9933"/>
                  <a:gd name="T33" fmla="*/ 1072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33" h="3395">
                    <a:moveTo>
                      <a:pt x="9766" y="1072"/>
                    </a:moveTo>
                    <a:lnTo>
                      <a:pt x="6099" y="3189"/>
                    </a:lnTo>
                    <a:lnTo>
                      <a:pt x="6099" y="3189"/>
                    </a:lnTo>
                    <a:cubicBezTo>
                      <a:pt x="5923" y="3290"/>
                      <a:pt x="5657" y="3301"/>
                      <a:pt x="5505" y="3213"/>
                    </a:cubicBezTo>
                    <a:lnTo>
                      <a:pt x="118" y="103"/>
                    </a:lnTo>
                    <a:lnTo>
                      <a:pt x="118" y="103"/>
                    </a:lnTo>
                    <a:cubicBezTo>
                      <a:pt x="68" y="74"/>
                      <a:pt x="37" y="39"/>
                      <a:pt x="24" y="0"/>
                    </a:cubicBezTo>
                    <a:lnTo>
                      <a:pt x="24" y="0"/>
                    </a:lnTo>
                    <a:cubicBezTo>
                      <a:pt x="0" y="72"/>
                      <a:pt x="30" y="144"/>
                      <a:pt x="118" y="195"/>
                    </a:cubicBezTo>
                    <a:lnTo>
                      <a:pt x="5505" y="3305"/>
                    </a:lnTo>
                    <a:lnTo>
                      <a:pt x="5505" y="3305"/>
                    </a:lnTo>
                    <a:cubicBezTo>
                      <a:pt x="5657" y="3394"/>
                      <a:pt x="5923" y="3382"/>
                      <a:pt x="6099" y="3281"/>
                    </a:cubicBezTo>
                    <a:lnTo>
                      <a:pt x="9766" y="1164"/>
                    </a:lnTo>
                    <a:lnTo>
                      <a:pt x="9766" y="1164"/>
                    </a:lnTo>
                    <a:cubicBezTo>
                      <a:pt x="9885" y="1096"/>
                      <a:pt x="9932" y="1004"/>
                      <a:pt x="9904" y="924"/>
                    </a:cubicBezTo>
                    <a:lnTo>
                      <a:pt x="9904" y="924"/>
                    </a:lnTo>
                    <a:cubicBezTo>
                      <a:pt x="9887" y="977"/>
                      <a:pt x="9840" y="1029"/>
                      <a:pt x="9766" y="107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E198E12D-A151-6349-A6FE-C660CD10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1640" y="8257271"/>
                <a:ext cx="4708662" cy="2809236"/>
              </a:xfrm>
              <a:custGeom>
                <a:avLst/>
                <a:gdLst>
                  <a:gd name="connsiteX0" fmla="*/ 3453928 w 4708662"/>
                  <a:gd name="connsiteY0" fmla="*/ 2629347 h 2809236"/>
                  <a:gd name="connsiteX1" fmla="*/ 3473747 w 4708662"/>
                  <a:gd name="connsiteY1" fmla="*/ 2633255 h 2809236"/>
                  <a:gd name="connsiteX2" fmla="*/ 3650567 w 4708662"/>
                  <a:gd name="connsiteY2" fmla="*/ 2735521 h 2809236"/>
                  <a:gd name="connsiteX3" fmla="*/ 3647958 w 4708662"/>
                  <a:gd name="connsiteY3" fmla="*/ 2758971 h 2809236"/>
                  <a:gd name="connsiteX4" fmla="*/ 3570965 w 4708662"/>
                  <a:gd name="connsiteY4" fmla="*/ 2803916 h 2809236"/>
                  <a:gd name="connsiteX5" fmla="*/ 3530512 w 4708662"/>
                  <a:gd name="connsiteY5" fmla="*/ 2805218 h 2809236"/>
                  <a:gd name="connsiteX6" fmla="*/ 3353039 w 4708662"/>
                  <a:gd name="connsiteY6" fmla="*/ 2702952 h 2809236"/>
                  <a:gd name="connsiteX7" fmla="*/ 3356301 w 4708662"/>
                  <a:gd name="connsiteY7" fmla="*/ 2679503 h 2809236"/>
                  <a:gd name="connsiteX8" fmla="*/ 3432641 w 4708662"/>
                  <a:gd name="connsiteY8" fmla="*/ 2635209 h 2809236"/>
                  <a:gd name="connsiteX9" fmla="*/ 3453928 w 4708662"/>
                  <a:gd name="connsiteY9" fmla="*/ 2629347 h 2809236"/>
                  <a:gd name="connsiteX10" fmla="*/ 3206302 w 4708662"/>
                  <a:gd name="connsiteY10" fmla="*/ 2485331 h 2809236"/>
                  <a:gd name="connsiteX11" fmla="*/ 3226040 w 4708662"/>
                  <a:gd name="connsiteY11" fmla="*/ 2489239 h 2809236"/>
                  <a:gd name="connsiteX12" fmla="*/ 3403513 w 4708662"/>
                  <a:gd name="connsiteY12" fmla="*/ 2591505 h 2809236"/>
                  <a:gd name="connsiteX13" fmla="*/ 3400903 w 4708662"/>
                  <a:gd name="connsiteY13" fmla="*/ 2614955 h 2809236"/>
                  <a:gd name="connsiteX14" fmla="*/ 3323911 w 4708662"/>
                  <a:gd name="connsiteY14" fmla="*/ 2659248 h 2809236"/>
                  <a:gd name="connsiteX15" fmla="*/ 3282805 w 4708662"/>
                  <a:gd name="connsiteY15" fmla="*/ 2661202 h 2809236"/>
                  <a:gd name="connsiteX16" fmla="*/ 3105332 w 4708662"/>
                  <a:gd name="connsiteY16" fmla="*/ 2558936 h 2809236"/>
                  <a:gd name="connsiteX17" fmla="*/ 3108594 w 4708662"/>
                  <a:gd name="connsiteY17" fmla="*/ 2534836 h 2809236"/>
                  <a:gd name="connsiteX18" fmla="*/ 3185586 w 4708662"/>
                  <a:gd name="connsiteY18" fmla="*/ 2491193 h 2809236"/>
                  <a:gd name="connsiteX19" fmla="*/ 3206302 w 4708662"/>
                  <a:gd name="connsiteY19" fmla="*/ 2485331 h 2809236"/>
                  <a:gd name="connsiteX20" fmla="*/ 3341169 w 4708662"/>
                  <a:gd name="connsiteY20" fmla="*/ 2407562 h 2809236"/>
                  <a:gd name="connsiteX21" fmla="*/ 3361028 w 4708662"/>
                  <a:gd name="connsiteY21" fmla="*/ 2411470 h 2809236"/>
                  <a:gd name="connsiteX22" fmla="*/ 3538865 w 4708662"/>
                  <a:gd name="connsiteY22" fmla="*/ 2513736 h 2809236"/>
                  <a:gd name="connsiteX23" fmla="*/ 3535596 w 4708662"/>
                  <a:gd name="connsiteY23" fmla="*/ 2537186 h 2809236"/>
                  <a:gd name="connsiteX24" fmla="*/ 3458446 w 4708662"/>
                  <a:gd name="connsiteY24" fmla="*/ 2581479 h 2809236"/>
                  <a:gd name="connsiteX25" fmla="*/ 3417910 w 4708662"/>
                  <a:gd name="connsiteY25" fmla="*/ 2583433 h 2809236"/>
                  <a:gd name="connsiteX26" fmla="*/ 3240073 w 4708662"/>
                  <a:gd name="connsiteY26" fmla="*/ 2481167 h 2809236"/>
                  <a:gd name="connsiteX27" fmla="*/ 3243342 w 4708662"/>
                  <a:gd name="connsiteY27" fmla="*/ 2457718 h 2809236"/>
                  <a:gd name="connsiteX28" fmla="*/ 3319838 w 4708662"/>
                  <a:gd name="connsiteY28" fmla="*/ 2413424 h 2809236"/>
                  <a:gd name="connsiteX29" fmla="*/ 3341169 w 4708662"/>
                  <a:gd name="connsiteY29" fmla="*/ 2407562 h 2809236"/>
                  <a:gd name="connsiteX30" fmla="*/ 2961051 w 4708662"/>
                  <a:gd name="connsiteY30" fmla="*/ 2344195 h 2809236"/>
                  <a:gd name="connsiteX31" fmla="*/ 2980828 w 4708662"/>
                  <a:gd name="connsiteY31" fmla="*/ 2348103 h 2809236"/>
                  <a:gd name="connsiteX32" fmla="*/ 3158011 w 4708662"/>
                  <a:gd name="connsiteY32" fmla="*/ 2449718 h 2809236"/>
                  <a:gd name="connsiteX33" fmla="*/ 3155396 w 4708662"/>
                  <a:gd name="connsiteY33" fmla="*/ 2473819 h 2809236"/>
                  <a:gd name="connsiteX34" fmla="*/ 3078246 w 4708662"/>
                  <a:gd name="connsiteY34" fmla="*/ 2518112 h 2809236"/>
                  <a:gd name="connsiteX35" fmla="*/ 3037710 w 4708662"/>
                  <a:gd name="connsiteY35" fmla="*/ 2519415 h 2809236"/>
                  <a:gd name="connsiteX36" fmla="*/ 2861181 w 4708662"/>
                  <a:gd name="connsiteY36" fmla="*/ 2417800 h 2809236"/>
                  <a:gd name="connsiteX37" fmla="*/ 2863796 w 4708662"/>
                  <a:gd name="connsiteY37" fmla="*/ 2393700 h 2809236"/>
                  <a:gd name="connsiteX38" fmla="*/ 2940292 w 4708662"/>
                  <a:gd name="connsiteY38" fmla="*/ 2350057 h 2809236"/>
                  <a:gd name="connsiteX39" fmla="*/ 2961051 w 4708662"/>
                  <a:gd name="connsiteY39" fmla="*/ 2344195 h 2809236"/>
                  <a:gd name="connsiteX40" fmla="*/ 3487301 w 4708662"/>
                  <a:gd name="connsiteY40" fmla="*/ 2232201 h 2809236"/>
                  <a:gd name="connsiteX41" fmla="*/ 3511128 w 4708662"/>
                  <a:gd name="connsiteY41" fmla="*/ 2237109 h 2809236"/>
                  <a:gd name="connsiteX42" fmla="*/ 3980490 w 4708662"/>
                  <a:gd name="connsiteY42" fmla="*/ 2508687 h 2809236"/>
                  <a:gd name="connsiteX43" fmla="*/ 3976573 w 4708662"/>
                  <a:gd name="connsiteY43" fmla="*/ 2537481 h 2809236"/>
                  <a:gd name="connsiteX44" fmla="*/ 3819249 w 4708662"/>
                  <a:gd name="connsiteY44" fmla="*/ 2628444 h 2809236"/>
                  <a:gd name="connsiteX45" fmla="*/ 3768983 w 4708662"/>
                  <a:gd name="connsiteY45" fmla="*/ 2630407 h 2809236"/>
                  <a:gd name="connsiteX46" fmla="*/ 3300274 w 4708662"/>
                  <a:gd name="connsiteY46" fmla="*/ 2359483 h 2809236"/>
                  <a:gd name="connsiteX47" fmla="*/ 3304191 w 4708662"/>
                  <a:gd name="connsiteY47" fmla="*/ 2330689 h 2809236"/>
                  <a:gd name="connsiteX48" fmla="*/ 3461515 w 4708662"/>
                  <a:gd name="connsiteY48" fmla="*/ 2239073 h 2809236"/>
                  <a:gd name="connsiteX49" fmla="*/ 3487301 w 4708662"/>
                  <a:gd name="connsiteY49" fmla="*/ 2232201 h 2809236"/>
                  <a:gd name="connsiteX50" fmla="*/ 3850372 w 4708662"/>
                  <a:gd name="connsiteY50" fmla="*/ 2166346 h 2809236"/>
                  <a:gd name="connsiteX51" fmla="*/ 3874218 w 4708662"/>
                  <a:gd name="connsiteY51" fmla="*/ 2171469 h 2809236"/>
                  <a:gd name="connsiteX52" fmla="*/ 4221773 w 4708662"/>
                  <a:gd name="connsiteY52" fmla="*/ 2370544 h 2809236"/>
                  <a:gd name="connsiteX53" fmla="*/ 4217853 w 4708662"/>
                  <a:gd name="connsiteY53" fmla="*/ 2399819 h 2809236"/>
                  <a:gd name="connsiteX54" fmla="*/ 4060408 w 4708662"/>
                  <a:gd name="connsiteY54" fmla="*/ 2490249 h 2809236"/>
                  <a:gd name="connsiteX55" fmla="*/ 4010757 w 4708662"/>
                  <a:gd name="connsiteY55" fmla="*/ 2492201 h 2809236"/>
                  <a:gd name="connsiteX56" fmla="*/ 3663203 w 4708662"/>
                  <a:gd name="connsiteY56" fmla="*/ 2292475 h 2809236"/>
                  <a:gd name="connsiteX57" fmla="*/ 3667122 w 4708662"/>
                  <a:gd name="connsiteY57" fmla="*/ 2263850 h 2809236"/>
                  <a:gd name="connsiteX58" fmla="*/ 3824567 w 4708662"/>
                  <a:gd name="connsiteY58" fmla="*/ 2173421 h 2809236"/>
                  <a:gd name="connsiteX59" fmla="*/ 3850372 w 4708662"/>
                  <a:gd name="connsiteY59" fmla="*/ 2166346 h 2809236"/>
                  <a:gd name="connsiteX60" fmla="*/ 2846658 w 4708662"/>
                  <a:gd name="connsiteY60" fmla="*/ 2140034 h 2809236"/>
                  <a:gd name="connsiteX61" fmla="*/ 2871095 w 4708662"/>
                  <a:gd name="connsiteY61" fmla="*/ 2144949 h 2809236"/>
                  <a:gd name="connsiteX62" fmla="*/ 3029317 w 4708662"/>
                  <a:gd name="connsiteY62" fmla="*/ 2237348 h 2809236"/>
                  <a:gd name="connsiteX63" fmla="*/ 3026048 w 4708662"/>
                  <a:gd name="connsiteY63" fmla="*/ 2266181 h 2809236"/>
                  <a:gd name="connsiteX64" fmla="*/ 2838404 w 4708662"/>
                  <a:gd name="connsiteY64" fmla="*/ 2374962 h 2809236"/>
                  <a:gd name="connsiteX65" fmla="*/ 2788714 w 4708662"/>
                  <a:gd name="connsiteY65" fmla="*/ 2377583 h 2809236"/>
                  <a:gd name="connsiteX66" fmla="*/ 2629184 w 4708662"/>
                  <a:gd name="connsiteY66" fmla="*/ 2285185 h 2809236"/>
                  <a:gd name="connsiteX67" fmla="*/ 2632453 w 4708662"/>
                  <a:gd name="connsiteY67" fmla="*/ 2256352 h 2809236"/>
                  <a:gd name="connsiteX68" fmla="*/ 2820751 w 4708662"/>
                  <a:gd name="connsiteY68" fmla="*/ 2146915 h 2809236"/>
                  <a:gd name="connsiteX69" fmla="*/ 2846658 w 4708662"/>
                  <a:gd name="connsiteY69" fmla="*/ 2140034 h 2809236"/>
                  <a:gd name="connsiteX70" fmla="*/ 4280170 w 4708662"/>
                  <a:gd name="connsiteY70" fmla="*/ 2137567 h 2809236"/>
                  <a:gd name="connsiteX71" fmla="*/ 4304563 w 4708662"/>
                  <a:gd name="connsiteY71" fmla="*/ 2142737 h 2809236"/>
                  <a:gd name="connsiteX72" fmla="*/ 4464341 w 4708662"/>
                  <a:gd name="connsiteY72" fmla="*/ 2234644 h 2809236"/>
                  <a:gd name="connsiteX73" fmla="*/ 4460412 w 4708662"/>
                  <a:gd name="connsiteY73" fmla="*/ 2263529 h 2809236"/>
                  <a:gd name="connsiteX74" fmla="*/ 4302598 w 4708662"/>
                  <a:gd name="connsiteY74" fmla="*/ 2355436 h 2809236"/>
                  <a:gd name="connsiteX75" fmla="*/ 4252176 w 4708662"/>
                  <a:gd name="connsiteY75" fmla="*/ 2357405 h 2809236"/>
                  <a:gd name="connsiteX76" fmla="*/ 4092398 w 4708662"/>
                  <a:gd name="connsiteY76" fmla="*/ 2264842 h 2809236"/>
                  <a:gd name="connsiteX77" fmla="*/ 4096327 w 4708662"/>
                  <a:gd name="connsiteY77" fmla="*/ 2235957 h 2809236"/>
                  <a:gd name="connsiteX78" fmla="*/ 4254796 w 4708662"/>
                  <a:gd name="connsiteY78" fmla="*/ 2144706 h 2809236"/>
                  <a:gd name="connsiteX79" fmla="*/ 4280170 w 4708662"/>
                  <a:gd name="connsiteY79" fmla="*/ 2137567 h 2809236"/>
                  <a:gd name="connsiteX80" fmla="*/ 3240299 w 4708662"/>
                  <a:gd name="connsiteY80" fmla="*/ 2091154 h 2809236"/>
                  <a:gd name="connsiteX81" fmla="*/ 3264773 w 4708662"/>
                  <a:gd name="connsiteY81" fmla="*/ 2095995 h 2809236"/>
                  <a:gd name="connsiteX82" fmla="*/ 3423897 w 4708662"/>
                  <a:gd name="connsiteY82" fmla="*/ 2188559 h 2809236"/>
                  <a:gd name="connsiteX83" fmla="*/ 3420622 w 4708662"/>
                  <a:gd name="connsiteY83" fmla="*/ 2218100 h 2809236"/>
                  <a:gd name="connsiteX84" fmla="*/ 3262808 w 4708662"/>
                  <a:gd name="connsiteY84" fmla="*/ 2309351 h 2809236"/>
                  <a:gd name="connsiteX85" fmla="*/ 3212386 w 4708662"/>
                  <a:gd name="connsiteY85" fmla="*/ 2311320 h 2809236"/>
                  <a:gd name="connsiteX86" fmla="*/ 3053263 w 4708662"/>
                  <a:gd name="connsiteY86" fmla="*/ 2218757 h 2809236"/>
                  <a:gd name="connsiteX87" fmla="*/ 3056537 w 4708662"/>
                  <a:gd name="connsiteY87" fmla="*/ 2189872 h 2809236"/>
                  <a:gd name="connsiteX88" fmla="*/ 3214351 w 4708662"/>
                  <a:gd name="connsiteY88" fmla="*/ 2098621 h 2809236"/>
                  <a:gd name="connsiteX89" fmla="*/ 3240299 w 4708662"/>
                  <a:gd name="connsiteY89" fmla="*/ 2091154 h 2809236"/>
                  <a:gd name="connsiteX90" fmla="*/ 3603217 w 4708662"/>
                  <a:gd name="connsiteY90" fmla="*/ 2022347 h 2809236"/>
                  <a:gd name="connsiteX91" fmla="*/ 3627691 w 4708662"/>
                  <a:gd name="connsiteY91" fmla="*/ 2027502 h 2809236"/>
                  <a:gd name="connsiteX92" fmla="*/ 3786815 w 4708662"/>
                  <a:gd name="connsiteY92" fmla="*/ 2119803 h 2809236"/>
                  <a:gd name="connsiteX93" fmla="*/ 3782886 w 4708662"/>
                  <a:gd name="connsiteY93" fmla="*/ 2148606 h 2809236"/>
                  <a:gd name="connsiteX94" fmla="*/ 3625071 w 4708662"/>
                  <a:gd name="connsiteY94" fmla="*/ 2239597 h 2809236"/>
                  <a:gd name="connsiteX95" fmla="*/ 3575304 w 4708662"/>
                  <a:gd name="connsiteY95" fmla="*/ 2241561 h 2809236"/>
                  <a:gd name="connsiteX96" fmla="*/ 3415526 w 4708662"/>
                  <a:gd name="connsiteY96" fmla="*/ 2149915 h 2809236"/>
                  <a:gd name="connsiteX97" fmla="*/ 3418800 w 4708662"/>
                  <a:gd name="connsiteY97" fmla="*/ 2120457 h 2809236"/>
                  <a:gd name="connsiteX98" fmla="*/ 3577269 w 4708662"/>
                  <a:gd name="connsiteY98" fmla="*/ 2029466 h 2809236"/>
                  <a:gd name="connsiteX99" fmla="*/ 3603217 w 4708662"/>
                  <a:gd name="connsiteY99" fmla="*/ 2022347 h 2809236"/>
                  <a:gd name="connsiteX100" fmla="*/ 4032382 w 4708662"/>
                  <a:gd name="connsiteY100" fmla="*/ 1996023 h 2809236"/>
                  <a:gd name="connsiteX101" fmla="*/ 4056857 w 4708662"/>
                  <a:gd name="connsiteY101" fmla="*/ 2000946 h 2809236"/>
                  <a:gd name="connsiteX102" fmla="*/ 4215981 w 4708662"/>
                  <a:gd name="connsiteY102" fmla="*/ 2093510 h 2809236"/>
                  <a:gd name="connsiteX103" fmla="*/ 4212052 w 4708662"/>
                  <a:gd name="connsiteY103" fmla="*/ 2122395 h 2809236"/>
                  <a:gd name="connsiteX104" fmla="*/ 4054237 w 4708662"/>
                  <a:gd name="connsiteY104" fmla="*/ 2214302 h 2809236"/>
                  <a:gd name="connsiteX105" fmla="*/ 4004470 w 4708662"/>
                  <a:gd name="connsiteY105" fmla="*/ 2216271 h 2809236"/>
                  <a:gd name="connsiteX106" fmla="*/ 3844692 w 4708662"/>
                  <a:gd name="connsiteY106" fmla="*/ 2123708 h 2809236"/>
                  <a:gd name="connsiteX107" fmla="*/ 3848621 w 4708662"/>
                  <a:gd name="connsiteY107" fmla="*/ 2094166 h 2809236"/>
                  <a:gd name="connsiteX108" fmla="*/ 4006435 w 4708662"/>
                  <a:gd name="connsiteY108" fmla="*/ 2002916 h 2809236"/>
                  <a:gd name="connsiteX109" fmla="*/ 4032382 w 4708662"/>
                  <a:gd name="connsiteY109" fmla="*/ 1996023 h 2809236"/>
                  <a:gd name="connsiteX110" fmla="*/ 2512321 w 4708662"/>
                  <a:gd name="connsiteY110" fmla="*/ 1947459 h 2809236"/>
                  <a:gd name="connsiteX111" fmla="*/ 2536463 w 4708662"/>
                  <a:gd name="connsiteY111" fmla="*/ 1952614 h 2809236"/>
                  <a:gd name="connsiteX112" fmla="*/ 2790931 w 4708662"/>
                  <a:gd name="connsiteY112" fmla="*/ 2099903 h 2809236"/>
                  <a:gd name="connsiteX113" fmla="*/ 2787016 w 4708662"/>
                  <a:gd name="connsiteY113" fmla="*/ 2128706 h 2809236"/>
                  <a:gd name="connsiteX114" fmla="*/ 2599754 w 4708662"/>
                  <a:gd name="connsiteY114" fmla="*/ 2237373 h 2809236"/>
                  <a:gd name="connsiteX115" fmla="*/ 2550165 w 4708662"/>
                  <a:gd name="connsiteY115" fmla="*/ 2239337 h 2809236"/>
                  <a:gd name="connsiteX116" fmla="*/ 2295044 w 4708662"/>
                  <a:gd name="connsiteY116" fmla="*/ 2092048 h 2809236"/>
                  <a:gd name="connsiteX117" fmla="*/ 2298959 w 4708662"/>
                  <a:gd name="connsiteY117" fmla="*/ 2063245 h 2809236"/>
                  <a:gd name="connsiteX118" fmla="*/ 2486222 w 4708662"/>
                  <a:gd name="connsiteY118" fmla="*/ 1954578 h 2809236"/>
                  <a:gd name="connsiteX119" fmla="*/ 2512321 w 4708662"/>
                  <a:gd name="connsiteY119" fmla="*/ 1947459 h 2809236"/>
                  <a:gd name="connsiteX120" fmla="*/ 2993618 w 4708662"/>
                  <a:gd name="connsiteY120" fmla="*/ 1947057 h 2809236"/>
                  <a:gd name="connsiteX121" fmla="*/ 3017385 w 4708662"/>
                  <a:gd name="connsiteY121" fmla="*/ 1951980 h 2809236"/>
                  <a:gd name="connsiteX122" fmla="*/ 3176268 w 4708662"/>
                  <a:gd name="connsiteY122" fmla="*/ 2044544 h 2809236"/>
                  <a:gd name="connsiteX123" fmla="*/ 3172361 w 4708662"/>
                  <a:gd name="connsiteY123" fmla="*/ 2073429 h 2809236"/>
                  <a:gd name="connsiteX124" fmla="*/ 3015432 w 4708662"/>
                  <a:gd name="connsiteY124" fmla="*/ 2164679 h 2809236"/>
                  <a:gd name="connsiteX125" fmla="*/ 2965944 w 4708662"/>
                  <a:gd name="connsiteY125" fmla="*/ 2167305 h 2809236"/>
                  <a:gd name="connsiteX126" fmla="*/ 2807713 w 4708662"/>
                  <a:gd name="connsiteY126" fmla="*/ 2074742 h 2809236"/>
                  <a:gd name="connsiteX127" fmla="*/ 2810969 w 4708662"/>
                  <a:gd name="connsiteY127" fmla="*/ 2045857 h 2809236"/>
                  <a:gd name="connsiteX128" fmla="*/ 2967898 w 4708662"/>
                  <a:gd name="connsiteY128" fmla="*/ 1953950 h 2809236"/>
                  <a:gd name="connsiteX129" fmla="*/ 2993618 w 4708662"/>
                  <a:gd name="connsiteY129" fmla="*/ 1947057 h 2809236"/>
                  <a:gd name="connsiteX130" fmla="*/ 4383446 w 4708662"/>
                  <a:gd name="connsiteY130" fmla="*/ 1921460 h 2809236"/>
                  <a:gd name="connsiteX131" fmla="*/ 4407240 w 4708662"/>
                  <a:gd name="connsiteY131" fmla="*/ 1926706 h 2809236"/>
                  <a:gd name="connsiteX132" fmla="*/ 4699933 w 4708662"/>
                  <a:gd name="connsiteY132" fmla="*/ 2096539 h 2809236"/>
                  <a:gd name="connsiteX133" fmla="*/ 4696673 w 4708662"/>
                  <a:gd name="connsiteY133" fmla="*/ 2125391 h 2809236"/>
                  <a:gd name="connsiteX134" fmla="*/ 4538919 w 4708662"/>
                  <a:gd name="connsiteY134" fmla="*/ 2216536 h 2809236"/>
                  <a:gd name="connsiteX135" fmla="*/ 4489376 w 4708662"/>
                  <a:gd name="connsiteY135" fmla="*/ 2218504 h 2809236"/>
                  <a:gd name="connsiteX136" fmla="*/ 4196684 w 4708662"/>
                  <a:gd name="connsiteY136" fmla="*/ 2048671 h 2809236"/>
                  <a:gd name="connsiteX137" fmla="*/ 4199943 w 4708662"/>
                  <a:gd name="connsiteY137" fmla="*/ 2019819 h 2809236"/>
                  <a:gd name="connsiteX138" fmla="*/ 4357697 w 4708662"/>
                  <a:gd name="connsiteY138" fmla="*/ 1928017 h 2809236"/>
                  <a:gd name="connsiteX139" fmla="*/ 4383446 w 4708662"/>
                  <a:gd name="connsiteY139" fmla="*/ 1921460 h 2809236"/>
                  <a:gd name="connsiteX140" fmla="*/ 3358473 w 4708662"/>
                  <a:gd name="connsiteY140" fmla="*/ 1880811 h 2809236"/>
                  <a:gd name="connsiteX141" fmla="*/ 3382866 w 4708662"/>
                  <a:gd name="connsiteY141" fmla="*/ 1885734 h 2809236"/>
                  <a:gd name="connsiteX142" fmla="*/ 3542644 w 4708662"/>
                  <a:gd name="connsiteY142" fmla="*/ 1978298 h 2809236"/>
                  <a:gd name="connsiteX143" fmla="*/ 3538715 w 4708662"/>
                  <a:gd name="connsiteY143" fmla="*/ 2007183 h 2809236"/>
                  <a:gd name="connsiteX144" fmla="*/ 3380901 w 4708662"/>
                  <a:gd name="connsiteY144" fmla="*/ 2099090 h 2809236"/>
                  <a:gd name="connsiteX145" fmla="*/ 3330479 w 4708662"/>
                  <a:gd name="connsiteY145" fmla="*/ 2100403 h 2809236"/>
                  <a:gd name="connsiteX146" fmla="*/ 3171356 w 4708662"/>
                  <a:gd name="connsiteY146" fmla="*/ 2008496 h 2809236"/>
                  <a:gd name="connsiteX147" fmla="*/ 3174630 w 4708662"/>
                  <a:gd name="connsiteY147" fmla="*/ 1979611 h 2809236"/>
                  <a:gd name="connsiteX148" fmla="*/ 3333099 w 4708662"/>
                  <a:gd name="connsiteY148" fmla="*/ 1887704 h 2809236"/>
                  <a:gd name="connsiteX149" fmla="*/ 3358473 w 4708662"/>
                  <a:gd name="connsiteY149" fmla="*/ 1880811 h 2809236"/>
                  <a:gd name="connsiteX150" fmla="*/ 3787883 w 4708662"/>
                  <a:gd name="connsiteY150" fmla="*/ 1852418 h 2809236"/>
                  <a:gd name="connsiteX151" fmla="*/ 3812030 w 4708662"/>
                  <a:gd name="connsiteY151" fmla="*/ 1857588 h 2809236"/>
                  <a:gd name="connsiteX152" fmla="*/ 3971808 w 4708662"/>
                  <a:gd name="connsiteY152" fmla="*/ 1949495 h 2809236"/>
                  <a:gd name="connsiteX153" fmla="*/ 3968534 w 4708662"/>
                  <a:gd name="connsiteY153" fmla="*/ 1979036 h 2809236"/>
                  <a:gd name="connsiteX154" fmla="*/ 3810065 w 4708662"/>
                  <a:gd name="connsiteY154" fmla="*/ 2070287 h 2809236"/>
                  <a:gd name="connsiteX155" fmla="*/ 3759643 w 4708662"/>
                  <a:gd name="connsiteY155" fmla="*/ 2072256 h 2809236"/>
                  <a:gd name="connsiteX156" fmla="*/ 3600520 w 4708662"/>
                  <a:gd name="connsiteY156" fmla="*/ 1979693 h 2809236"/>
                  <a:gd name="connsiteX157" fmla="*/ 3603794 w 4708662"/>
                  <a:gd name="connsiteY157" fmla="*/ 1950808 h 2809236"/>
                  <a:gd name="connsiteX158" fmla="*/ 3762263 w 4708662"/>
                  <a:gd name="connsiteY158" fmla="*/ 1859557 h 2809236"/>
                  <a:gd name="connsiteX159" fmla="*/ 3787883 w 4708662"/>
                  <a:gd name="connsiteY159" fmla="*/ 1852418 h 2809236"/>
                  <a:gd name="connsiteX160" fmla="*/ 4490681 w 4708662"/>
                  <a:gd name="connsiteY160" fmla="*/ 1814541 h 2809236"/>
                  <a:gd name="connsiteX161" fmla="*/ 4515114 w 4708662"/>
                  <a:gd name="connsiteY161" fmla="*/ 1819416 h 2809236"/>
                  <a:gd name="connsiteX162" fmla="*/ 4673971 w 4708662"/>
                  <a:gd name="connsiteY162" fmla="*/ 1911071 h 2809236"/>
                  <a:gd name="connsiteX163" fmla="*/ 4670702 w 4708662"/>
                  <a:gd name="connsiteY163" fmla="*/ 1939672 h 2809236"/>
                  <a:gd name="connsiteX164" fmla="*/ 4618404 w 4708662"/>
                  <a:gd name="connsiteY164" fmla="*/ 1968923 h 2809236"/>
                  <a:gd name="connsiteX165" fmla="*/ 4568720 w 4708662"/>
                  <a:gd name="connsiteY165" fmla="*/ 1971524 h 2809236"/>
                  <a:gd name="connsiteX166" fmla="*/ 4409210 w 4708662"/>
                  <a:gd name="connsiteY166" fmla="*/ 1879869 h 2809236"/>
                  <a:gd name="connsiteX167" fmla="*/ 4412479 w 4708662"/>
                  <a:gd name="connsiteY167" fmla="*/ 1851268 h 2809236"/>
                  <a:gd name="connsiteX168" fmla="*/ 4464777 w 4708662"/>
                  <a:gd name="connsiteY168" fmla="*/ 1821366 h 2809236"/>
                  <a:gd name="connsiteX169" fmla="*/ 4490681 w 4708662"/>
                  <a:gd name="connsiteY169" fmla="*/ 1814541 h 2809236"/>
                  <a:gd name="connsiteX170" fmla="*/ 2749606 w 4708662"/>
                  <a:gd name="connsiteY170" fmla="*/ 1805923 h 2809236"/>
                  <a:gd name="connsiteX171" fmla="*/ 2773861 w 4708662"/>
                  <a:gd name="connsiteY171" fmla="*/ 1810846 h 2809236"/>
                  <a:gd name="connsiteX172" fmla="*/ 2932093 w 4708662"/>
                  <a:gd name="connsiteY172" fmla="*/ 1903410 h 2809236"/>
                  <a:gd name="connsiteX173" fmla="*/ 2928186 w 4708662"/>
                  <a:gd name="connsiteY173" fmla="*/ 1932295 h 2809236"/>
                  <a:gd name="connsiteX174" fmla="*/ 2771908 w 4708662"/>
                  <a:gd name="connsiteY174" fmla="*/ 2023545 h 2809236"/>
                  <a:gd name="connsiteX175" fmla="*/ 2722420 w 4708662"/>
                  <a:gd name="connsiteY175" fmla="*/ 2026171 h 2809236"/>
                  <a:gd name="connsiteX176" fmla="*/ 2563537 w 4708662"/>
                  <a:gd name="connsiteY176" fmla="*/ 1933608 h 2809236"/>
                  <a:gd name="connsiteX177" fmla="*/ 2566793 w 4708662"/>
                  <a:gd name="connsiteY177" fmla="*/ 1904723 h 2809236"/>
                  <a:gd name="connsiteX178" fmla="*/ 2724373 w 4708662"/>
                  <a:gd name="connsiteY178" fmla="*/ 1812816 h 2809236"/>
                  <a:gd name="connsiteX179" fmla="*/ 2749606 w 4708662"/>
                  <a:gd name="connsiteY179" fmla="*/ 1805923 h 2809236"/>
                  <a:gd name="connsiteX180" fmla="*/ 4150474 w 4708662"/>
                  <a:gd name="connsiteY180" fmla="*/ 1786162 h 2809236"/>
                  <a:gd name="connsiteX181" fmla="*/ 4174948 w 4708662"/>
                  <a:gd name="connsiteY181" fmla="*/ 1791317 h 2809236"/>
                  <a:gd name="connsiteX182" fmla="*/ 4334072 w 4708662"/>
                  <a:gd name="connsiteY182" fmla="*/ 1883618 h 2809236"/>
                  <a:gd name="connsiteX183" fmla="*/ 4330797 w 4708662"/>
                  <a:gd name="connsiteY183" fmla="*/ 1912421 h 2809236"/>
                  <a:gd name="connsiteX184" fmla="*/ 4172983 w 4708662"/>
                  <a:gd name="connsiteY184" fmla="*/ 2003412 h 2809236"/>
                  <a:gd name="connsiteX185" fmla="*/ 4122561 w 4708662"/>
                  <a:gd name="connsiteY185" fmla="*/ 2006031 h 2809236"/>
                  <a:gd name="connsiteX186" fmla="*/ 3963438 w 4708662"/>
                  <a:gd name="connsiteY186" fmla="*/ 1913730 h 2809236"/>
                  <a:gd name="connsiteX187" fmla="*/ 3966712 w 4708662"/>
                  <a:gd name="connsiteY187" fmla="*/ 1884273 h 2809236"/>
                  <a:gd name="connsiteX188" fmla="*/ 4124526 w 4708662"/>
                  <a:gd name="connsiteY188" fmla="*/ 1793281 h 2809236"/>
                  <a:gd name="connsiteX189" fmla="*/ 4150474 w 4708662"/>
                  <a:gd name="connsiteY189" fmla="*/ 1786162 h 2809236"/>
                  <a:gd name="connsiteX190" fmla="*/ 3110685 w 4708662"/>
                  <a:gd name="connsiteY190" fmla="*/ 1739675 h 2809236"/>
                  <a:gd name="connsiteX191" fmla="*/ 3135160 w 4708662"/>
                  <a:gd name="connsiteY191" fmla="*/ 1744598 h 2809236"/>
                  <a:gd name="connsiteX192" fmla="*/ 3294284 w 4708662"/>
                  <a:gd name="connsiteY192" fmla="*/ 1837162 h 2809236"/>
                  <a:gd name="connsiteX193" fmla="*/ 3291009 w 4708662"/>
                  <a:gd name="connsiteY193" fmla="*/ 1866047 h 2809236"/>
                  <a:gd name="connsiteX194" fmla="*/ 3132540 w 4708662"/>
                  <a:gd name="connsiteY194" fmla="*/ 1957297 h 2809236"/>
                  <a:gd name="connsiteX195" fmla="*/ 3082773 w 4708662"/>
                  <a:gd name="connsiteY195" fmla="*/ 1959267 h 2809236"/>
                  <a:gd name="connsiteX196" fmla="*/ 2922995 w 4708662"/>
                  <a:gd name="connsiteY196" fmla="*/ 1867360 h 2809236"/>
                  <a:gd name="connsiteX197" fmla="*/ 2926924 w 4708662"/>
                  <a:gd name="connsiteY197" fmla="*/ 1838475 h 2809236"/>
                  <a:gd name="connsiteX198" fmla="*/ 3084738 w 4708662"/>
                  <a:gd name="connsiteY198" fmla="*/ 1746568 h 2809236"/>
                  <a:gd name="connsiteX199" fmla="*/ 3110685 w 4708662"/>
                  <a:gd name="connsiteY199" fmla="*/ 1739675 h 2809236"/>
                  <a:gd name="connsiteX200" fmla="*/ 3542732 w 4708662"/>
                  <a:gd name="connsiteY200" fmla="*/ 1711282 h 2809236"/>
                  <a:gd name="connsiteX201" fmla="*/ 3567206 w 4708662"/>
                  <a:gd name="connsiteY201" fmla="*/ 1716452 h 2809236"/>
                  <a:gd name="connsiteX202" fmla="*/ 3726330 w 4708662"/>
                  <a:gd name="connsiteY202" fmla="*/ 1808359 h 2809236"/>
                  <a:gd name="connsiteX203" fmla="*/ 3723055 w 4708662"/>
                  <a:gd name="connsiteY203" fmla="*/ 1837244 h 2809236"/>
                  <a:gd name="connsiteX204" fmla="*/ 3565241 w 4708662"/>
                  <a:gd name="connsiteY204" fmla="*/ 1929151 h 2809236"/>
                  <a:gd name="connsiteX205" fmla="*/ 3514819 w 4708662"/>
                  <a:gd name="connsiteY205" fmla="*/ 1931120 h 2809236"/>
                  <a:gd name="connsiteX206" fmla="*/ 3355696 w 4708662"/>
                  <a:gd name="connsiteY206" fmla="*/ 1838557 h 2809236"/>
                  <a:gd name="connsiteX207" fmla="*/ 3358970 w 4708662"/>
                  <a:gd name="connsiteY207" fmla="*/ 1809672 h 2809236"/>
                  <a:gd name="connsiteX208" fmla="*/ 3516784 w 4708662"/>
                  <a:gd name="connsiteY208" fmla="*/ 1718421 h 2809236"/>
                  <a:gd name="connsiteX209" fmla="*/ 3542732 w 4708662"/>
                  <a:gd name="connsiteY209" fmla="*/ 1711282 h 2809236"/>
                  <a:gd name="connsiteX210" fmla="*/ 4245854 w 4708662"/>
                  <a:gd name="connsiteY210" fmla="*/ 1673848 h 2809236"/>
                  <a:gd name="connsiteX211" fmla="*/ 4270288 w 4708662"/>
                  <a:gd name="connsiteY211" fmla="*/ 1679035 h 2809236"/>
                  <a:gd name="connsiteX212" fmla="*/ 4429145 w 4708662"/>
                  <a:gd name="connsiteY212" fmla="*/ 1771249 h 2809236"/>
                  <a:gd name="connsiteX213" fmla="*/ 4425876 w 4708662"/>
                  <a:gd name="connsiteY213" fmla="*/ 1800230 h 2809236"/>
                  <a:gd name="connsiteX214" fmla="*/ 4373577 w 4708662"/>
                  <a:gd name="connsiteY214" fmla="*/ 1830529 h 2809236"/>
                  <a:gd name="connsiteX215" fmla="*/ 4323894 w 4708662"/>
                  <a:gd name="connsiteY215" fmla="*/ 1832505 h 2809236"/>
                  <a:gd name="connsiteX216" fmla="*/ 4164383 w 4708662"/>
                  <a:gd name="connsiteY216" fmla="*/ 1740291 h 2809236"/>
                  <a:gd name="connsiteX217" fmla="*/ 4167652 w 4708662"/>
                  <a:gd name="connsiteY217" fmla="*/ 1710651 h 2809236"/>
                  <a:gd name="connsiteX218" fmla="*/ 4219950 w 4708662"/>
                  <a:gd name="connsiteY218" fmla="*/ 1681011 h 2809236"/>
                  <a:gd name="connsiteX219" fmla="*/ 4245854 w 4708662"/>
                  <a:gd name="connsiteY219" fmla="*/ 1673848 h 2809236"/>
                  <a:gd name="connsiteX220" fmla="*/ 2503023 w 4708662"/>
                  <a:gd name="connsiteY220" fmla="*/ 1664786 h 2809236"/>
                  <a:gd name="connsiteX221" fmla="*/ 2527416 w 4708662"/>
                  <a:gd name="connsiteY221" fmla="*/ 1669710 h 2809236"/>
                  <a:gd name="connsiteX222" fmla="*/ 2687194 w 4708662"/>
                  <a:gd name="connsiteY222" fmla="*/ 1762274 h 2809236"/>
                  <a:gd name="connsiteX223" fmla="*/ 2683265 w 4708662"/>
                  <a:gd name="connsiteY223" fmla="*/ 1791159 h 2809236"/>
                  <a:gd name="connsiteX224" fmla="*/ 2524796 w 4708662"/>
                  <a:gd name="connsiteY224" fmla="*/ 1883066 h 2809236"/>
                  <a:gd name="connsiteX225" fmla="*/ 2475029 w 4708662"/>
                  <a:gd name="connsiteY225" fmla="*/ 1885035 h 2809236"/>
                  <a:gd name="connsiteX226" fmla="*/ 2315251 w 4708662"/>
                  <a:gd name="connsiteY226" fmla="*/ 1792472 h 2809236"/>
                  <a:gd name="connsiteX227" fmla="*/ 2319180 w 4708662"/>
                  <a:gd name="connsiteY227" fmla="*/ 1763587 h 2809236"/>
                  <a:gd name="connsiteX228" fmla="*/ 2477649 w 4708662"/>
                  <a:gd name="connsiteY228" fmla="*/ 1671680 h 2809236"/>
                  <a:gd name="connsiteX229" fmla="*/ 2503023 w 4708662"/>
                  <a:gd name="connsiteY229" fmla="*/ 1664786 h 2809236"/>
                  <a:gd name="connsiteX230" fmla="*/ 3905568 w 4708662"/>
                  <a:gd name="connsiteY230" fmla="*/ 1644954 h 2809236"/>
                  <a:gd name="connsiteX231" fmla="*/ 3929469 w 4708662"/>
                  <a:gd name="connsiteY231" fmla="*/ 1649549 h 2809236"/>
                  <a:gd name="connsiteX232" fmla="*/ 4089248 w 4708662"/>
                  <a:gd name="connsiteY232" fmla="*/ 1742113 h 2809236"/>
                  <a:gd name="connsiteX233" fmla="*/ 4085973 w 4708662"/>
                  <a:gd name="connsiteY233" fmla="*/ 1770998 h 2809236"/>
                  <a:gd name="connsiteX234" fmla="*/ 3927504 w 4708662"/>
                  <a:gd name="connsiteY234" fmla="*/ 1862905 h 2809236"/>
                  <a:gd name="connsiteX235" fmla="*/ 3877737 w 4708662"/>
                  <a:gd name="connsiteY235" fmla="*/ 1864874 h 2809236"/>
                  <a:gd name="connsiteX236" fmla="*/ 3717959 w 4708662"/>
                  <a:gd name="connsiteY236" fmla="*/ 1772311 h 2809236"/>
                  <a:gd name="connsiteX237" fmla="*/ 3721233 w 4708662"/>
                  <a:gd name="connsiteY237" fmla="*/ 1743426 h 2809236"/>
                  <a:gd name="connsiteX238" fmla="*/ 3879702 w 4708662"/>
                  <a:gd name="connsiteY238" fmla="*/ 1652175 h 2809236"/>
                  <a:gd name="connsiteX239" fmla="*/ 3905568 w 4708662"/>
                  <a:gd name="connsiteY239" fmla="*/ 1644954 h 2809236"/>
                  <a:gd name="connsiteX240" fmla="*/ 2865062 w 4708662"/>
                  <a:gd name="connsiteY240" fmla="*/ 1598541 h 2809236"/>
                  <a:gd name="connsiteX241" fmla="*/ 2889073 w 4708662"/>
                  <a:gd name="connsiteY241" fmla="*/ 1603464 h 2809236"/>
                  <a:gd name="connsiteX242" fmla="*/ 3047305 w 4708662"/>
                  <a:gd name="connsiteY242" fmla="*/ 1696028 h 2809236"/>
                  <a:gd name="connsiteX243" fmla="*/ 3044049 w 4708662"/>
                  <a:gd name="connsiteY243" fmla="*/ 1724913 h 2809236"/>
                  <a:gd name="connsiteX244" fmla="*/ 2887120 w 4708662"/>
                  <a:gd name="connsiteY244" fmla="*/ 1816163 h 2809236"/>
                  <a:gd name="connsiteX245" fmla="*/ 2836981 w 4708662"/>
                  <a:gd name="connsiteY245" fmla="*/ 1818133 h 2809236"/>
                  <a:gd name="connsiteX246" fmla="*/ 2678749 w 4708662"/>
                  <a:gd name="connsiteY246" fmla="*/ 1725569 h 2809236"/>
                  <a:gd name="connsiteX247" fmla="*/ 2682656 w 4708662"/>
                  <a:gd name="connsiteY247" fmla="*/ 1696684 h 2809236"/>
                  <a:gd name="connsiteX248" fmla="*/ 2839585 w 4708662"/>
                  <a:gd name="connsiteY248" fmla="*/ 1605434 h 2809236"/>
                  <a:gd name="connsiteX249" fmla="*/ 2865062 w 4708662"/>
                  <a:gd name="connsiteY249" fmla="*/ 1598541 h 2809236"/>
                  <a:gd name="connsiteX250" fmla="*/ 3295268 w 4708662"/>
                  <a:gd name="connsiteY250" fmla="*/ 1570066 h 2809236"/>
                  <a:gd name="connsiteX251" fmla="*/ 3319130 w 4708662"/>
                  <a:gd name="connsiteY251" fmla="*/ 1575318 h 2809236"/>
                  <a:gd name="connsiteX252" fmla="*/ 3478646 w 4708662"/>
                  <a:gd name="connsiteY252" fmla="*/ 1667225 h 2809236"/>
                  <a:gd name="connsiteX253" fmla="*/ 3475377 w 4708662"/>
                  <a:gd name="connsiteY253" fmla="*/ 1696110 h 2809236"/>
                  <a:gd name="connsiteX254" fmla="*/ 3317169 w 4708662"/>
                  <a:gd name="connsiteY254" fmla="*/ 1788017 h 2809236"/>
                  <a:gd name="connsiteX255" fmla="*/ 3267484 w 4708662"/>
                  <a:gd name="connsiteY255" fmla="*/ 1789986 h 2809236"/>
                  <a:gd name="connsiteX256" fmla="*/ 3107968 w 4708662"/>
                  <a:gd name="connsiteY256" fmla="*/ 1697423 h 2809236"/>
                  <a:gd name="connsiteX257" fmla="*/ 3111891 w 4708662"/>
                  <a:gd name="connsiteY257" fmla="*/ 1668538 h 2809236"/>
                  <a:gd name="connsiteX258" fmla="*/ 3269445 w 4708662"/>
                  <a:gd name="connsiteY258" fmla="*/ 1576631 h 2809236"/>
                  <a:gd name="connsiteX259" fmla="*/ 3295268 w 4708662"/>
                  <a:gd name="connsiteY259" fmla="*/ 1570066 h 2809236"/>
                  <a:gd name="connsiteX260" fmla="*/ 4003909 w 4708662"/>
                  <a:gd name="connsiteY260" fmla="*/ 1532301 h 2809236"/>
                  <a:gd name="connsiteX261" fmla="*/ 4028343 w 4708662"/>
                  <a:gd name="connsiteY261" fmla="*/ 1537241 h 2809236"/>
                  <a:gd name="connsiteX262" fmla="*/ 4187200 w 4708662"/>
                  <a:gd name="connsiteY262" fmla="*/ 1630115 h 2809236"/>
                  <a:gd name="connsiteX263" fmla="*/ 4183931 w 4708662"/>
                  <a:gd name="connsiteY263" fmla="*/ 1659097 h 2809236"/>
                  <a:gd name="connsiteX264" fmla="*/ 4131632 w 4708662"/>
                  <a:gd name="connsiteY264" fmla="*/ 1689396 h 2809236"/>
                  <a:gd name="connsiteX265" fmla="*/ 4081949 w 4708662"/>
                  <a:gd name="connsiteY265" fmla="*/ 1691372 h 2809236"/>
                  <a:gd name="connsiteX266" fmla="*/ 3922438 w 4708662"/>
                  <a:gd name="connsiteY266" fmla="*/ 1598499 h 2809236"/>
                  <a:gd name="connsiteX267" fmla="*/ 3926360 w 4708662"/>
                  <a:gd name="connsiteY267" fmla="*/ 1569517 h 2809236"/>
                  <a:gd name="connsiteX268" fmla="*/ 3978005 w 4708662"/>
                  <a:gd name="connsiteY268" fmla="*/ 1539217 h 2809236"/>
                  <a:gd name="connsiteX269" fmla="*/ 4003909 w 4708662"/>
                  <a:gd name="connsiteY269" fmla="*/ 1532301 h 2809236"/>
                  <a:gd name="connsiteX270" fmla="*/ 2258198 w 4708662"/>
                  <a:gd name="connsiteY270" fmla="*/ 1523654 h 2809236"/>
                  <a:gd name="connsiteX271" fmla="*/ 2282591 w 4708662"/>
                  <a:gd name="connsiteY271" fmla="*/ 1528577 h 2809236"/>
                  <a:gd name="connsiteX272" fmla="*/ 2442369 w 4708662"/>
                  <a:gd name="connsiteY272" fmla="*/ 1621141 h 2809236"/>
                  <a:gd name="connsiteX273" fmla="*/ 2438440 w 4708662"/>
                  <a:gd name="connsiteY273" fmla="*/ 1650026 h 2809236"/>
                  <a:gd name="connsiteX274" fmla="*/ 2280626 w 4708662"/>
                  <a:gd name="connsiteY274" fmla="*/ 1741933 h 2809236"/>
                  <a:gd name="connsiteX275" fmla="*/ 2230204 w 4708662"/>
                  <a:gd name="connsiteY275" fmla="*/ 1743902 h 2809236"/>
                  <a:gd name="connsiteX276" fmla="*/ 2071081 w 4708662"/>
                  <a:gd name="connsiteY276" fmla="*/ 1651339 h 2809236"/>
                  <a:gd name="connsiteX277" fmla="*/ 2075010 w 4708662"/>
                  <a:gd name="connsiteY277" fmla="*/ 1622454 h 2809236"/>
                  <a:gd name="connsiteX278" fmla="*/ 2232824 w 4708662"/>
                  <a:gd name="connsiteY278" fmla="*/ 1530547 h 2809236"/>
                  <a:gd name="connsiteX279" fmla="*/ 2258198 w 4708662"/>
                  <a:gd name="connsiteY279" fmla="*/ 1523654 h 2809236"/>
                  <a:gd name="connsiteX280" fmla="*/ 3657944 w 4708662"/>
                  <a:gd name="connsiteY280" fmla="*/ 1503819 h 2809236"/>
                  <a:gd name="connsiteX281" fmla="*/ 3682418 w 4708662"/>
                  <a:gd name="connsiteY281" fmla="*/ 1508414 h 2809236"/>
                  <a:gd name="connsiteX282" fmla="*/ 3841542 w 4708662"/>
                  <a:gd name="connsiteY282" fmla="*/ 1600978 h 2809236"/>
                  <a:gd name="connsiteX283" fmla="*/ 3838267 w 4708662"/>
                  <a:gd name="connsiteY283" fmla="*/ 1629863 h 2809236"/>
                  <a:gd name="connsiteX284" fmla="*/ 3680453 w 4708662"/>
                  <a:gd name="connsiteY284" fmla="*/ 1721113 h 2809236"/>
                  <a:gd name="connsiteX285" fmla="*/ 3630031 w 4708662"/>
                  <a:gd name="connsiteY285" fmla="*/ 1723739 h 2809236"/>
                  <a:gd name="connsiteX286" fmla="*/ 3470908 w 4708662"/>
                  <a:gd name="connsiteY286" fmla="*/ 1631176 h 2809236"/>
                  <a:gd name="connsiteX287" fmla="*/ 3474182 w 4708662"/>
                  <a:gd name="connsiteY287" fmla="*/ 1602291 h 2809236"/>
                  <a:gd name="connsiteX288" fmla="*/ 3631996 w 4708662"/>
                  <a:gd name="connsiteY288" fmla="*/ 1511040 h 2809236"/>
                  <a:gd name="connsiteX289" fmla="*/ 3657944 w 4708662"/>
                  <a:gd name="connsiteY289" fmla="*/ 1503819 h 2809236"/>
                  <a:gd name="connsiteX290" fmla="*/ 2621035 w 4708662"/>
                  <a:gd name="connsiteY290" fmla="*/ 1454526 h 2809236"/>
                  <a:gd name="connsiteX291" fmla="*/ 2645509 w 4708662"/>
                  <a:gd name="connsiteY291" fmla="*/ 1459449 h 2809236"/>
                  <a:gd name="connsiteX292" fmla="*/ 2804633 w 4708662"/>
                  <a:gd name="connsiteY292" fmla="*/ 1552013 h 2809236"/>
                  <a:gd name="connsiteX293" fmla="*/ 2801358 w 4708662"/>
                  <a:gd name="connsiteY293" fmla="*/ 1581554 h 2809236"/>
                  <a:gd name="connsiteX294" fmla="*/ 2643544 w 4708662"/>
                  <a:gd name="connsiteY294" fmla="*/ 1672805 h 2809236"/>
                  <a:gd name="connsiteX295" fmla="*/ 2593122 w 4708662"/>
                  <a:gd name="connsiteY295" fmla="*/ 1674774 h 2809236"/>
                  <a:gd name="connsiteX296" fmla="*/ 2433999 w 4708662"/>
                  <a:gd name="connsiteY296" fmla="*/ 1582211 h 2809236"/>
                  <a:gd name="connsiteX297" fmla="*/ 2437273 w 4708662"/>
                  <a:gd name="connsiteY297" fmla="*/ 1553326 h 2809236"/>
                  <a:gd name="connsiteX298" fmla="*/ 2595087 w 4708662"/>
                  <a:gd name="connsiteY298" fmla="*/ 1461419 h 2809236"/>
                  <a:gd name="connsiteX299" fmla="*/ 2621035 w 4708662"/>
                  <a:gd name="connsiteY299" fmla="*/ 1454526 h 2809236"/>
                  <a:gd name="connsiteX300" fmla="*/ 3048424 w 4708662"/>
                  <a:gd name="connsiteY300" fmla="*/ 1426125 h 2809236"/>
                  <a:gd name="connsiteX301" fmla="*/ 3072761 w 4708662"/>
                  <a:gd name="connsiteY301" fmla="*/ 1431280 h 2809236"/>
                  <a:gd name="connsiteX302" fmla="*/ 3230993 w 4708662"/>
                  <a:gd name="connsiteY302" fmla="*/ 1522926 h 2809236"/>
                  <a:gd name="connsiteX303" fmla="*/ 3227737 w 4708662"/>
                  <a:gd name="connsiteY303" fmla="*/ 1552384 h 2809236"/>
                  <a:gd name="connsiteX304" fmla="*/ 3070808 w 4708662"/>
                  <a:gd name="connsiteY304" fmla="*/ 1643375 h 2809236"/>
                  <a:gd name="connsiteX305" fmla="*/ 3020669 w 4708662"/>
                  <a:gd name="connsiteY305" fmla="*/ 1645339 h 2809236"/>
                  <a:gd name="connsiteX306" fmla="*/ 2863088 w 4708662"/>
                  <a:gd name="connsiteY306" fmla="*/ 1553039 h 2809236"/>
                  <a:gd name="connsiteX307" fmla="*/ 2866344 w 4708662"/>
                  <a:gd name="connsiteY307" fmla="*/ 1524235 h 2809236"/>
                  <a:gd name="connsiteX308" fmla="*/ 3022622 w 4708662"/>
                  <a:gd name="connsiteY308" fmla="*/ 1433244 h 2809236"/>
                  <a:gd name="connsiteX309" fmla="*/ 3048424 w 4708662"/>
                  <a:gd name="connsiteY309" fmla="*/ 1426125 h 2809236"/>
                  <a:gd name="connsiteX310" fmla="*/ 3759084 w 4708662"/>
                  <a:gd name="connsiteY310" fmla="*/ 1391578 h 2809236"/>
                  <a:gd name="connsiteX311" fmla="*/ 3783517 w 4708662"/>
                  <a:gd name="connsiteY311" fmla="*/ 1396765 h 2809236"/>
                  <a:gd name="connsiteX312" fmla="*/ 3942374 w 4708662"/>
                  <a:gd name="connsiteY312" fmla="*/ 1489638 h 2809236"/>
                  <a:gd name="connsiteX313" fmla="*/ 3939105 w 4708662"/>
                  <a:gd name="connsiteY313" fmla="*/ 1517960 h 2809236"/>
                  <a:gd name="connsiteX314" fmla="*/ 3886807 w 4708662"/>
                  <a:gd name="connsiteY314" fmla="*/ 1548259 h 2809236"/>
                  <a:gd name="connsiteX315" fmla="*/ 3837123 w 4708662"/>
                  <a:gd name="connsiteY315" fmla="*/ 1550894 h 2809236"/>
                  <a:gd name="connsiteX316" fmla="*/ 3677613 w 4708662"/>
                  <a:gd name="connsiteY316" fmla="*/ 1458021 h 2809236"/>
                  <a:gd name="connsiteX317" fmla="*/ 3681535 w 4708662"/>
                  <a:gd name="connsiteY317" fmla="*/ 1429040 h 2809236"/>
                  <a:gd name="connsiteX318" fmla="*/ 3733180 w 4708662"/>
                  <a:gd name="connsiteY318" fmla="*/ 1398741 h 2809236"/>
                  <a:gd name="connsiteX319" fmla="*/ 3759084 w 4708662"/>
                  <a:gd name="connsiteY319" fmla="*/ 1391578 h 2809236"/>
                  <a:gd name="connsiteX320" fmla="*/ 2013371 w 4708662"/>
                  <a:gd name="connsiteY320" fmla="*/ 1379638 h 2809236"/>
                  <a:gd name="connsiteX321" fmla="*/ 2037764 w 4708662"/>
                  <a:gd name="connsiteY321" fmla="*/ 1384561 h 2809236"/>
                  <a:gd name="connsiteX322" fmla="*/ 2197542 w 4708662"/>
                  <a:gd name="connsiteY322" fmla="*/ 1477125 h 2809236"/>
                  <a:gd name="connsiteX323" fmla="*/ 2193613 w 4708662"/>
                  <a:gd name="connsiteY323" fmla="*/ 1506010 h 2809236"/>
                  <a:gd name="connsiteX324" fmla="*/ 2035144 w 4708662"/>
                  <a:gd name="connsiteY324" fmla="*/ 1597260 h 2809236"/>
                  <a:gd name="connsiteX325" fmla="*/ 1985377 w 4708662"/>
                  <a:gd name="connsiteY325" fmla="*/ 1599886 h 2809236"/>
                  <a:gd name="connsiteX326" fmla="*/ 1825599 w 4708662"/>
                  <a:gd name="connsiteY326" fmla="*/ 1507323 h 2809236"/>
                  <a:gd name="connsiteX327" fmla="*/ 1829528 w 4708662"/>
                  <a:gd name="connsiteY327" fmla="*/ 1477781 h 2809236"/>
                  <a:gd name="connsiteX328" fmla="*/ 1987997 w 4708662"/>
                  <a:gd name="connsiteY328" fmla="*/ 1386531 h 2809236"/>
                  <a:gd name="connsiteX329" fmla="*/ 2013371 w 4708662"/>
                  <a:gd name="connsiteY329" fmla="*/ 1379638 h 2809236"/>
                  <a:gd name="connsiteX330" fmla="*/ 3413117 w 4708662"/>
                  <a:gd name="connsiteY330" fmla="*/ 1359475 h 2809236"/>
                  <a:gd name="connsiteX331" fmla="*/ 3437591 w 4708662"/>
                  <a:gd name="connsiteY331" fmla="*/ 1364398 h 2809236"/>
                  <a:gd name="connsiteX332" fmla="*/ 3597369 w 4708662"/>
                  <a:gd name="connsiteY332" fmla="*/ 1456962 h 2809236"/>
                  <a:gd name="connsiteX333" fmla="*/ 3593440 w 4708662"/>
                  <a:gd name="connsiteY333" fmla="*/ 1485847 h 2809236"/>
                  <a:gd name="connsiteX334" fmla="*/ 3434971 w 4708662"/>
                  <a:gd name="connsiteY334" fmla="*/ 1577097 h 2809236"/>
                  <a:gd name="connsiteX335" fmla="*/ 3385204 w 4708662"/>
                  <a:gd name="connsiteY335" fmla="*/ 1579067 h 2809236"/>
                  <a:gd name="connsiteX336" fmla="*/ 3225426 w 4708662"/>
                  <a:gd name="connsiteY336" fmla="*/ 1487160 h 2809236"/>
                  <a:gd name="connsiteX337" fmla="*/ 3228700 w 4708662"/>
                  <a:gd name="connsiteY337" fmla="*/ 1457618 h 2809236"/>
                  <a:gd name="connsiteX338" fmla="*/ 3387169 w 4708662"/>
                  <a:gd name="connsiteY338" fmla="*/ 1366368 h 2809236"/>
                  <a:gd name="connsiteX339" fmla="*/ 3413117 w 4708662"/>
                  <a:gd name="connsiteY339" fmla="*/ 1359475 h 2809236"/>
                  <a:gd name="connsiteX340" fmla="*/ 2373571 w 4708662"/>
                  <a:gd name="connsiteY340" fmla="*/ 1313390 h 2809236"/>
                  <a:gd name="connsiteX341" fmla="*/ 2397433 w 4708662"/>
                  <a:gd name="connsiteY341" fmla="*/ 1318313 h 2809236"/>
                  <a:gd name="connsiteX342" fmla="*/ 2556949 w 4708662"/>
                  <a:gd name="connsiteY342" fmla="*/ 1410877 h 2809236"/>
                  <a:gd name="connsiteX343" fmla="*/ 2553680 w 4708662"/>
                  <a:gd name="connsiteY343" fmla="*/ 1439762 h 2809236"/>
                  <a:gd name="connsiteX344" fmla="*/ 2395472 w 4708662"/>
                  <a:gd name="connsiteY344" fmla="*/ 1531012 h 2809236"/>
                  <a:gd name="connsiteX345" fmla="*/ 2345787 w 4708662"/>
                  <a:gd name="connsiteY345" fmla="*/ 1532982 h 2809236"/>
                  <a:gd name="connsiteX346" fmla="*/ 2186271 w 4708662"/>
                  <a:gd name="connsiteY346" fmla="*/ 1441075 h 2809236"/>
                  <a:gd name="connsiteX347" fmla="*/ 2190194 w 4708662"/>
                  <a:gd name="connsiteY347" fmla="*/ 1412190 h 2809236"/>
                  <a:gd name="connsiteX348" fmla="*/ 2347748 w 4708662"/>
                  <a:gd name="connsiteY348" fmla="*/ 1320283 h 2809236"/>
                  <a:gd name="connsiteX349" fmla="*/ 2373571 w 4708662"/>
                  <a:gd name="connsiteY349" fmla="*/ 1313390 h 2809236"/>
                  <a:gd name="connsiteX350" fmla="*/ 2804170 w 4708662"/>
                  <a:gd name="connsiteY350" fmla="*/ 1284997 h 2809236"/>
                  <a:gd name="connsiteX351" fmla="*/ 2827937 w 4708662"/>
                  <a:gd name="connsiteY351" fmla="*/ 1290167 h 2809236"/>
                  <a:gd name="connsiteX352" fmla="*/ 2986168 w 4708662"/>
                  <a:gd name="connsiteY352" fmla="*/ 1382074 h 2809236"/>
                  <a:gd name="connsiteX353" fmla="*/ 2982912 w 4708662"/>
                  <a:gd name="connsiteY353" fmla="*/ 1410959 h 2809236"/>
                  <a:gd name="connsiteX354" fmla="*/ 2825983 w 4708662"/>
                  <a:gd name="connsiteY354" fmla="*/ 1502866 h 2809236"/>
                  <a:gd name="connsiteX355" fmla="*/ 2776495 w 4708662"/>
                  <a:gd name="connsiteY355" fmla="*/ 1504835 h 2809236"/>
                  <a:gd name="connsiteX356" fmla="*/ 2617613 w 4708662"/>
                  <a:gd name="connsiteY356" fmla="*/ 1412272 h 2809236"/>
                  <a:gd name="connsiteX357" fmla="*/ 2621520 w 4708662"/>
                  <a:gd name="connsiteY357" fmla="*/ 1383387 h 2809236"/>
                  <a:gd name="connsiteX358" fmla="*/ 2778449 w 4708662"/>
                  <a:gd name="connsiteY358" fmla="*/ 1292136 h 2809236"/>
                  <a:gd name="connsiteX359" fmla="*/ 2804170 w 4708662"/>
                  <a:gd name="connsiteY359" fmla="*/ 1284997 h 2809236"/>
                  <a:gd name="connsiteX360" fmla="*/ 1319915 w 4708662"/>
                  <a:gd name="connsiteY360" fmla="*/ 1258658 h 2809236"/>
                  <a:gd name="connsiteX361" fmla="*/ 1343701 w 4708662"/>
                  <a:gd name="connsiteY361" fmla="*/ 1263568 h 2809236"/>
                  <a:gd name="connsiteX362" fmla="*/ 1484904 w 4708662"/>
                  <a:gd name="connsiteY362" fmla="*/ 1345400 h 2809236"/>
                  <a:gd name="connsiteX363" fmla="*/ 2452619 w 4708662"/>
                  <a:gd name="connsiteY363" fmla="*/ 1903856 h 2809236"/>
                  <a:gd name="connsiteX364" fmla="*/ 2452619 w 4708662"/>
                  <a:gd name="connsiteY364" fmla="*/ 1931915 h 2809236"/>
                  <a:gd name="connsiteX365" fmla="*/ 2260605 w 4708662"/>
                  <a:gd name="connsiteY365" fmla="*/ 2042849 h 2809236"/>
                  <a:gd name="connsiteX366" fmla="*/ 2210968 w 4708662"/>
                  <a:gd name="connsiteY366" fmla="*/ 2042849 h 2809236"/>
                  <a:gd name="connsiteX367" fmla="*/ 1358287 w 4708662"/>
                  <a:gd name="connsiteY367" fmla="*/ 1550486 h 2809236"/>
                  <a:gd name="connsiteX368" fmla="*/ 1357386 w 4708662"/>
                  <a:gd name="connsiteY368" fmla="*/ 1550288 h 2809236"/>
                  <a:gd name="connsiteX369" fmla="*/ 1103235 w 4708662"/>
                  <a:gd name="connsiteY369" fmla="*/ 1403655 h 2809236"/>
                  <a:gd name="connsiteX370" fmla="*/ 1106494 w 4708662"/>
                  <a:gd name="connsiteY370" fmla="*/ 1374852 h 2809236"/>
                  <a:gd name="connsiteX371" fmla="*/ 1294174 w 4708662"/>
                  <a:gd name="connsiteY371" fmla="*/ 1265532 h 2809236"/>
                  <a:gd name="connsiteX372" fmla="*/ 1319915 w 4708662"/>
                  <a:gd name="connsiteY372" fmla="*/ 1258658 h 2809236"/>
                  <a:gd name="connsiteX373" fmla="*/ 1765908 w 4708662"/>
                  <a:gd name="connsiteY373" fmla="*/ 1238479 h 2809236"/>
                  <a:gd name="connsiteX374" fmla="*/ 1790342 w 4708662"/>
                  <a:gd name="connsiteY374" fmla="*/ 1243355 h 2809236"/>
                  <a:gd name="connsiteX375" fmla="*/ 1949204 w 4708662"/>
                  <a:gd name="connsiteY375" fmla="*/ 1335024 h 2809236"/>
                  <a:gd name="connsiteX376" fmla="*/ 1945935 w 4708662"/>
                  <a:gd name="connsiteY376" fmla="*/ 1363629 h 2809236"/>
                  <a:gd name="connsiteX377" fmla="*/ 1788381 w 4708662"/>
                  <a:gd name="connsiteY377" fmla="*/ 1453997 h 2809236"/>
                  <a:gd name="connsiteX378" fmla="*/ 1738042 w 4708662"/>
                  <a:gd name="connsiteY378" fmla="*/ 1455947 h 2809236"/>
                  <a:gd name="connsiteX379" fmla="*/ 1578526 w 4708662"/>
                  <a:gd name="connsiteY379" fmla="*/ 1364279 h 2809236"/>
                  <a:gd name="connsiteX380" fmla="*/ 1582449 w 4708662"/>
                  <a:gd name="connsiteY380" fmla="*/ 1335674 h 2809236"/>
                  <a:gd name="connsiteX381" fmla="*/ 1740003 w 4708662"/>
                  <a:gd name="connsiteY381" fmla="*/ 1245306 h 2809236"/>
                  <a:gd name="connsiteX382" fmla="*/ 1765908 w 4708662"/>
                  <a:gd name="connsiteY382" fmla="*/ 1238479 h 2809236"/>
                  <a:gd name="connsiteX383" fmla="*/ 3165163 w 4708662"/>
                  <a:gd name="connsiteY383" fmla="*/ 1218751 h 2809236"/>
                  <a:gd name="connsiteX384" fmla="*/ 3189515 w 4708662"/>
                  <a:gd name="connsiteY384" fmla="*/ 1223921 h 2809236"/>
                  <a:gd name="connsiteX385" fmla="*/ 3349031 w 4708662"/>
                  <a:gd name="connsiteY385" fmla="*/ 1315828 h 2809236"/>
                  <a:gd name="connsiteX386" fmla="*/ 3345109 w 4708662"/>
                  <a:gd name="connsiteY386" fmla="*/ 1344713 h 2809236"/>
                  <a:gd name="connsiteX387" fmla="*/ 3187554 w 4708662"/>
                  <a:gd name="connsiteY387" fmla="*/ 1436620 h 2809236"/>
                  <a:gd name="connsiteX388" fmla="*/ 3137869 w 4708662"/>
                  <a:gd name="connsiteY388" fmla="*/ 1438589 h 2809236"/>
                  <a:gd name="connsiteX389" fmla="*/ 2978353 w 4708662"/>
                  <a:gd name="connsiteY389" fmla="*/ 1346026 h 2809236"/>
                  <a:gd name="connsiteX390" fmla="*/ 2981622 w 4708662"/>
                  <a:gd name="connsiteY390" fmla="*/ 1317141 h 2809236"/>
                  <a:gd name="connsiteX391" fmla="*/ 3139830 w 4708662"/>
                  <a:gd name="connsiteY391" fmla="*/ 1225890 h 2809236"/>
                  <a:gd name="connsiteX392" fmla="*/ 3165163 w 4708662"/>
                  <a:gd name="connsiteY392" fmla="*/ 1218751 h 2809236"/>
                  <a:gd name="connsiteX393" fmla="*/ 2128092 w 4708662"/>
                  <a:gd name="connsiteY393" fmla="*/ 1172256 h 2809236"/>
                  <a:gd name="connsiteX394" fmla="*/ 2152321 w 4708662"/>
                  <a:gd name="connsiteY394" fmla="*/ 1177179 h 2809236"/>
                  <a:gd name="connsiteX395" fmla="*/ 2312100 w 4708662"/>
                  <a:gd name="connsiteY395" fmla="*/ 1269743 h 2809236"/>
                  <a:gd name="connsiteX396" fmla="*/ 2308171 w 4708662"/>
                  <a:gd name="connsiteY396" fmla="*/ 1298628 h 2809236"/>
                  <a:gd name="connsiteX397" fmla="*/ 2150356 w 4708662"/>
                  <a:gd name="connsiteY397" fmla="*/ 1389878 h 2809236"/>
                  <a:gd name="connsiteX398" fmla="*/ 2100589 w 4708662"/>
                  <a:gd name="connsiteY398" fmla="*/ 1391848 h 2809236"/>
                  <a:gd name="connsiteX399" fmla="*/ 1940811 w 4708662"/>
                  <a:gd name="connsiteY399" fmla="*/ 1299941 h 2809236"/>
                  <a:gd name="connsiteX400" fmla="*/ 1944085 w 4708662"/>
                  <a:gd name="connsiteY400" fmla="*/ 1271056 h 2809236"/>
                  <a:gd name="connsiteX401" fmla="*/ 2101899 w 4708662"/>
                  <a:gd name="connsiteY401" fmla="*/ 1179149 h 2809236"/>
                  <a:gd name="connsiteX402" fmla="*/ 2128092 w 4708662"/>
                  <a:gd name="connsiteY402" fmla="*/ 1172256 h 2809236"/>
                  <a:gd name="connsiteX403" fmla="*/ 2557747 w 4708662"/>
                  <a:gd name="connsiteY403" fmla="*/ 1143534 h 2809236"/>
                  <a:gd name="connsiteX404" fmla="*/ 2582426 w 4708662"/>
                  <a:gd name="connsiteY404" fmla="*/ 1148376 h 2809236"/>
                  <a:gd name="connsiteX405" fmla="*/ 2741288 w 4708662"/>
                  <a:gd name="connsiteY405" fmla="*/ 1240940 h 2809236"/>
                  <a:gd name="connsiteX406" fmla="*/ 2737366 w 4708662"/>
                  <a:gd name="connsiteY406" fmla="*/ 1269825 h 2809236"/>
                  <a:gd name="connsiteX407" fmla="*/ 2579811 w 4708662"/>
                  <a:gd name="connsiteY407" fmla="*/ 1361732 h 2809236"/>
                  <a:gd name="connsiteX408" fmla="*/ 2530126 w 4708662"/>
                  <a:gd name="connsiteY408" fmla="*/ 1363701 h 2809236"/>
                  <a:gd name="connsiteX409" fmla="*/ 2370610 w 4708662"/>
                  <a:gd name="connsiteY409" fmla="*/ 1271138 h 2809236"/>
                  <a:gd name="connsiteX410" fmla="*/ 2373879 w 4708662"/>
                  <a:gd name="connsiteY410" fmla="*/ 1242253 h 2809236"/>
                  <a:gd name="connsiteX411" fmla="*/ 2532087 w 4708662"/>
                  <a:gd name="connsiteY411" fmla="*/ 1151002 h 2809236"/>
                  <a:gd name="connsiteX412" fmla="*/ 2557747 w 4708662"/>
                  <a:gd name="connsiteY412" fmla="*/ 1143534 h 2809236"/>
                  <a:gd name="connsiteX413" fmla="*/ 1520756 w 4708662"/>
                  <a:gd name="connsiteY413" fmla="*/ 1097368 h 2809236"/>
                  <a:gd name="connsiteX414" fmla="*/ 1544863 w 4708662"/>
                  <a:gd name="connsiteY414" fmla="*/ 1102291 h 2809236"/>
                  <a:gd name="connsiteX415" fmla="*/ 1704379 w 4708662"/>
                  <a:gd name="connsiteY415" fmla="*/ 1194855 h 2809236"/>
                  <a:gd name="connsiteX416" fmla="*/ 1700457 w 4708662"/>
                  <a:gd name="connsiteY416" fmla="*/ 1223740 h 2809236"/>
                  <a:gd name="connsiteX417" fmla="*/ 1542902 w 4708662"/>
                  <a:gd name="connsiteY417" fmla="*/ 1314990 h 2809236"/>
                  <a:gd name="connsiteX418" fmla="*/ 1493217 w 4708662"/>
                  <a:gd name="connsiteY418" fmla="*/ 1317616 h 2809236"/>
                  <a:gd name="connsiteX419" fmla="*/ 1333701 w 4708662"/>
                  <a:gd name="connsiteY419" fmla="*/ 1225053 h 2809236"/>
                  <a:gd name="connsiteX420" fmla="*/ 1336970 w 4708662"/>
                  <a:gd name="connsiteY420" fmla="*/ 1196168 h 2809236"/>
                  <a:gd name="connsiteX421" fmla="*/ 1495178 w 4708662"/>
                  <a:gd name="connsiteY421" fmla="*/ 1104261 h 2809236"/>
                  <a:gd name="connsiteX422" fmla="*/ 1520756 w 4708662"/>
                  <a:gd name="connsiteY422" fmla="*/ 1097368 h 2809236"/>
                  <a:gd name="connsiteX423" fmla="*/ 2919137 w 4708662"/>
                  <a:gd name="connsiteY423" fmla="*/ 1077534 h 2809236"/>
                  <a:gd name="connsiteX424" fmla="*/ 2943149 w 4708662"/>
                  <a:gd name="connsiteY424" fmla="*/ 1082129 h 2809236"/>
                  <a:gd name="connsiteX425" fmla="*/ 3102031 w 4708662"/>
                  <a:gd name="connsiteY425" fmla="*/ 1174693 h 2809236"/>
                  <a:gd name="connsiteX426" fmla="*/ 3098124 w 4708662"/>
                  <a:gd name="connsiteY426" fmla="*/ 1203578 h 2809236"/>
                  <a:gd name="connsiteX427" fmla="*/ 2940544 w 4708662"/>
                  <a:gd name="connsiteY427" fmla="*/ 1294828 h 2809236"/>
                  <a:gd name="connsiteX428" fmla="*/ 2891707 w 4708662"/>
                  <a:gd name="connsiteY428" fmla="*/ 1297454 h 2809236"/>
                  <a:gd name="connsiteX429" fmla="*/ 2732825 w 4708662"/>
                  <a:gd name="connsiteY429" fmla="*/ 1204891 h 2809236"/>
                  <a:gd name="connsiteX430" fmla="*/ 2736732 w 4708662"/>
                  <a:gd name="connsiteY430" fmla="*/ 1176006 h 2809236"/>
                  <a:gd name="connsiteX431" fmla="*/ 2893661 w 4708662"/>
                  <a:gd name="connsiteY431" fmla="*/ 1084755 h 2809236"/>
                  <a:gd name="connsiteX432" fmla="*/ 2919137 w 4708662"/>
                  <a:gd name="connsiteY432" fmla="*/ 1077534 h 2809236"/>
                  <a:gd name="connsiteX433" fmla="*/ 962595 w 4708662"/>
                  <a:gd name="connsiteY433" fmla="*/ 1054160 h 2809236"/>
                  <a:gd name="connsiteX434" fmla="*/ 987195 w 4708662"/>
                  <a:gd name="connsiteY434" fmla="*/ 1059080 h 2809236"/>
                  <a:gd name="connsiteX435" fmla="*/ 1240694 w 4708662"/>
                  <a:gd name="connsiteY435" fmla="*/ 1206689 h 2809236"/>
                  <a:gd name="connsiteX436" fmla="*/ 1237436 w 4708662"/>
                  <a:gd name="connsiteY436" fmla="*/ 1235554 h 2809236"/>
                  <a:gd name="connsiteX437" fmla="*/ 1049755 w 4708662"/>
                  <a:gd name="connsiteY437" fmla="*/ 1344456 h 2809236"/>
                  <a:gd name="connsiteX438" fmla="*/ 1000229 w 4708662"/>
                  <a:gd name="connsiteY438" fmla="*/ 1346425 h 2809236"/>
                  <a:gd name="connsiteX439" fmla="*/ 746078 w 4708662"/>
                  <a:gd name="connsiteY439" fmla="*/ 1198816 h 2809236"/>
                  <a:gd name="connsiteX440" fmla="*/ 749337 w 4708662"/>
                  <a:gd name="connsiteY440" fmla="*/ 1169951 h 2809236"/>
                  <a:gd name="connsiteX441" fmla="*/ 937017 w 4708662"/>
                  <a:gd name="connsiteY441" fmla="*/ 1061049 h 2809236"/>
                  <a:gd name="connsiteX442" fmla="*/ 962595 w 4708662"/>
                  <a:gd name="connsiteY442" fmla="*/ 1054160 h 2809236"/>
                  <a:gd name="connsiteX443" fmla="*/ 1883758 w 4708662"/>
                  <a:gd name="connsiteY443" fmla="*/ 1028241 h 2809236"/>
                  <a:gd name="connsiteX444" fmla="*/ 1908151 w 4708662"/>
                  <a:gd name="connsiteY444" fmla="*/ 1033164 h 2809236"/>
                  <a:gd name="connsiteX445" fmla="*/ 2067275 w 4708662"/>
                  <a:gd name="connsiteY445" fmla="*/ 1125728 h 2809236"/>
                  <a:gd name="connsiteX446" fmla="*/ 2064000 w 4708662"/>
                  <a:gd name="connsiteY446" fmla="*/ 1154613 h 2809236"/>
                  <a:gd name="connsiteX447" fmla="*/ 1905531 w 4708662"/>
                  <a:gd name="connsiteY447" fmla="*/ 1246520 h 2809236"/>
                  <a:gd name="connsiteX448" fmla="*/ 1855764 w 4708662"/>
                  <a:gd name="connsiteY448" fmla="*/ 1248489 h 2809236"/>
                  <a:gd name="connsiteX449" fmla="*/ 1695986 w 4708662"/>
                  <a:gd name="connsiteY449" fmla="*/ 1155926 h 2809236"/>
                  <a:gd name="connsiteX450" fmla="*/ 1699915 w 4708662"/>
                  <a:gd name="connsiteY450" fmla="*/ 1127041 h 2809236"/>
                  <a:gd name="connsiteX451" fmla="*/ 1858384 w 4708662"/>
                  <a:gd name="connsiteY451" fmla="*/ 1035134 h 2809236"/>
                  <a:gd name="connsiteX452" fmla="*/ 1883758 w 4708662"/>
                  <a:gd name="connsiteY452" fmla="*/ 1028241 h 2809236"/>
                  <a:gd name="connsiteX453" fmla="*/ 2312923 w 4708662"/>
                  <a:gd name="connsiteY453" fmla="*/ 1002295 h 2809236"/>
                  <a:gd name="connsiteX454" fmla="*/ 2337316 w 4708662"/>
                  <a:gd name="connsiteY454" fmla="*/ 1007171 h 2809236"/>
                  <a:gd name="connsiteX455" fmla="*/ 2497094 w 4708662"/>
                  <a:gd name="connsiteY455" fmla="*/ 1098840 h 2809236"/>
                  <a:gd name="connsiteX456" fmla="*/ 2493165 w 4708662"/>
                  <a:gd name="connsiteY456" fmla="*/ 1127445 h 2809236"/>
                  <a:gd name="connsiteX457" fmla="*/ 2334696 w 4708662"/>
                  <a:gd name="connsiteY457" fmla="*/ 1217813 h 2809236"/>
                  <a:gd name="connsiteX458" fmla="*/ 2284929 w 4708662"/>
                  <a:gd name="connsiteY458" fmla="*/ 1219763 h 2809236"/>
                  <a:gd name="connsiteX459" fmla="*/ 2125151 w 4708662"/>
                  <a:gd name="connsiteY459" fmla="*/ 1128095 h 2809236"/>
                  <a:gd name="connsiteX460" fmla="*/ 2129080 w 4708662"/>
                  <a:gd name="connsiteY460" fmla="*/ 1099490 h 2809236"/>
                  <a:gd name="connsiteX461" fmla="*/ 2287549 w 4708662"/>
                  <a:gd name="connsiteY461" fmla="*/ 1009122 h 2809236"/>
                  <a:gd name="connsiteX462" fmla="*/ 2312923 w 4708662"/>
                  <a:gd name="connsiteY462" fmla="*/ 1002295 h 2809236"/>
                  <a:gd name="connsiteX463" fmla="*/ 1275851 w 4708662"/>
                  <a:gd name="connsiteY463" fmla="*/ 953353 h 2809236"/>
                  <a:gd name="connsiteX464" fmla="*/ 1299752 w 4708662"/>
                  <a:gd name="connsiteY464" fmla="*/ 958276 h 2809236"/>
                  <a:gd name="connsiteX465" fmla="*/ 1459531 w 4708662"/>
                  <a:gd name="connsiteY465" fmla="*/ 1050840 h 2809236"/>
                  <a:gd name="connsiteX466" fmla="*/ 1456256 w 4708662"/>
                  <a:gd name="connsiteY466" fmla="*/ 1079725 h 2809236"/>
                  <a:gd name="connsiteX467" fmla="*/ 1297787 w 4708662"/>
                  <a:gd name="connsiteY467" fmla="*/ 1170975 h 2809236"/>
                  <a:gd name="connsiteX468" fmla="*/ 1248020 w 4708662"/>
                  <a:gd name="connsiteY468" fmla="*/ 1173601 h 2809236"/>
                  <a:gd name="connsiteX469" fmla="*/ 1088242 w 4708662"/>
                  <a:gd name="connsiteY469" fmla="*/ 1081038 h 2809236"/>
                  <a:gd name="connsiteX470" fmla="*/ 1092171 w 4708662"/>
                  <a:gd name="connsiteY470" fmla="*/ 1052153 h 2809236"/>
                  <a:gd name="connsiteX471" fmla="*/ 1249985 w 4708662"/>
                  <a:gd name="connsiteY471" fmla="*/ 960246 h 2809236"/>
                  <a:gd name="connsiteX472" fmla="*/ 1275851 w 4708662"/>
                  <a:gd name="connsiteY472" fmla="*/ 953353 h 2809236"/>
                  <a:gd name="connsiteX473" fmla="*/ 2676333 w 4708662"/>
                  <a:gd name="connsiteY473" fmla="*/ 933436 h 2809236"/>
                  <a:gd name="connsiteX474" fmla="*/ 2700234 w 4708662"/>
                  <a:gd name="connsiteY474" fmla="*/ 938113 h 2809236"/>
                  <a:gd name="connsiteX475" fmla="*/ 2860012 w 4708662"/>
                  <a:gd name="connsiteY475" fmla="*/ 1030677 h 2809236"/>
                  <a:gd name="connsiteX476" fmla="*/ 2856738 w 4708662"/>
                  <a:gd name="connsiteY476" fmla="*/ 1059562 h 2809236"/>
                  <a:gd name="connsiteX477" fmla="*/ 2698269 w 4708662"/>
                  <a:gd name="connsiteY477" fmla="*/ 1150812 h 2809236"/>
                  <a:gd name="connsiteX478" fmla="*/ 2648502 w 4708662"/>
                  <a:gd name="connsiteY478" fmla="*/ 1152782 h 2809236"/>
                  <a:gd name="connsiteX479" fmla="*/ 2488724 w 4708662"/>
                  <a:gd name="connsiteY479" fmla="*/ 1060218 h 2809236"/>
                  <a:gd name="connsiteX480" fmla="*/ 2492653 w 4708662"/>
                  <a:gd name="connsiteY480" fmla="*/ 1031990 h 2809236"/>
                  <a:gd name="connsiteX481" fmla="*/ 2650467 w 4708662"/>
                  <a:gd name="connsiteY481" fmla="*/ 940083 h 2809236"/>
                  <a:gd name="connsiteX482" fmla="*/ 2676333 w 4708662"/>
                  <a:gd name="connsiteY482" fmla="*/ 933436 h 2809236"/>
                  <a:gd name="connsiteX483" fmla="*/ 718088 w 4708662"/>
                  <a:gd name="connsiteY483" fmla="*/ 913106 h 2809236"/>
                  <a:gd name="connsiteX484" fmla="*/ 742160 w 4708662"/>
                  <a:gd name="connsiteY484" fmla="*/ 917939 h 2809236"/>
                  <a:gd name="connsiteX485" fmla="*/ 901446 w 4708662"/>
                  <a:gd name="connsiteY485" fmla="*/ 1010338 h 2809236"/>
                  <a:gd name="connsiteX486" fmla="*/ 897529 w 4708662"/>
                  <a:gd name="connsiteY486" fmla="*/ 1039171 h 2809236"/>
                  <a:gd name="connsiteX487" fmla="*/ 710172 w 4708662"/>
                  <a:gd name="connsiteY487" fmla="*/ 1148607 h 2809236"/>
                  <a:gd name="connsiteX488" fmla="*/ 659906 w 4708662"/>
                  <a:gd name="connsiteY488" fmla="*/ 1149918 h 2809236"/>
                  <a:gd name="connsiteX489" fmla="*/ 501273 w 4708662"/>
                  <a:gd name="connsiteY489" fmla="*/ 1058175 h 2809236"/>
                  <a:gd name="connsiteX490" fmla="*/ 504537 w 4708662"/>
                  <a:gd name="connsiteY490" fmla="*/ 1028686 h 2809236"/>
                  <a:gd name="connsiteX491" fmla="*/ 692547 w 4708662"/>
                  <a:gd name="connsiteY491" fmla="*/ 920561 h 2809236"/>
                  <a:gd name="connsiteX492" fmla="*/ 718088 w 4708662"/>
                  <a:gd name="connsiteY492" fmla="*/ 913106 h 2809236"/>
                  <a:gd name="connsiteX493" fmla="*/ 1636298 w 4708662"/>
                  <a:gd name="connsiteY493" fmla="*/ 887105 h 2809236"/>
                  <a:gd name="connsiteX494" fmla="*/ 1660445 w 4708662"/>
                  <a:gd name="connsiteY494" fmla="*/ 892028 h 2809236"/>
                  <a:gd name="connsiteX495" fmla="*/ 1820223 w 4708662"/>
                  <a:gd name="connsiteY495" fmla="*/ 984592 h 2809236"/>
                  <a:gd name="connsiteX496" fmla="*/ 1816294 w 4708662"/>
                  <a:gd name="connsiteY496" fmla="*/ 1013477 h 2809236"/>
                  <a:gd name="connsiteX497" fmla="*/ 1658480 w 4708662"/>
                  <a:gd name="connsiteY497" fmla="*/ 1105384 h 2809236"/>
                  <a:gd name="connsiteX498" fmla="*/ 1608713 w 4708662"/>
                  <a:gd name="connsiteY498" fmla="*/ 1106697 h 2809236"/>
                  <a:gd name="connsiteX499" fmla="*/ 1448935 w 4708662"/>
                  <a:gd name="connsiteY499" fmla="*/ 1014790 h 2809236"/>
                  <a:gd name="connsiteX500" fmla="*/ 1452209 w 4708662"/>
                  <a:gd name="connsiteY500" fmla="*/ 985905 h 2809236"/>
                  <a:gd name="connsiteX501" fmla="*/ 1610678 w 4708662"/>
                  <a:gd name="connsiteY501" fmla="*/ 893998 h 2809236"/>
                  <a:gd name="connsiteX502" fmla="*/ 1636298 w 4708662"/>
                  <a:gd name="connsiteY502" fmla="*/ 887105 h 2809236"/>
                  <a:gd name="connsiteX503" fmla="*/ 2068014 w 4708662"/>
                  <a:gd name="connsiteY503" fmla="*/ 858712 h 2809236"/>
                  <a:gd name="connsiteX504" fmla="*/ 2092121 w 4708662"/>
                  <a:gd name="connsiteY504" fmla="*/ 863882 h 2809236"/>
                  <a:gd name="connsiteX505" fmla="*/ 2251637 w 4708662"/>
                  <a:gd name="connsiteY505" fmla="*/ 955789 h 2809236"/>
                  <a:gd name="connsiteX506" fmla="*/ 2248368 w 4708662"/>
                  <a:gd name="connsiteY506" fmla="*/ 984674 h 2809236"/>
                  <a:gd name="connsiteX507" fmla="*/ 2090160 w 4708662"/>
                  <a:gd name="connsiteY507" fmla="*/ 1076581 h 2809236"/>
                  <a:gd name="connsiteX508" fmla="*/ 2040475 w 4708662"/>
                  <a:gd name="connsiteY508" fmla="*/ 1078550 h 2809236"/>
                  <a:gd name="connsiteX509" fmla="*/ 1880959 w 4708662"/>
                  <a:gd name="connsiteY509" fmla="*/ 985987 h 2809236"/>
                  <a:gd name="connsiteX510" fmla="*/ 1884882 w 4708662"/>
                  <a:gd name="connsiteY510" fmla="*/ 957102 h 2809236"/>
                  <a:gd name="connsiteX511" fmla="*/ 2042436 w 4708662"/>
                  <a:gd name="connsiteY511" fmla="*/ 865851 h 2809236"/>
                  <a:gd name="connsiteX512" fmla="*/ 2068014 w 4708662"/>
                  <a:gd name="connsiteY512" fmla="*/ 858712 h 2809236"/>
                  <a:gd name="connsiteX513" fmla="*/ 1028145 w 4708662"/>
                  <a:gd name="connsiteY513" fmla="*/ 812619 h 2809236"/>
                  <a:gd name="connsiteX514" fmla="*/ 1052046 w 4708662"/>
                  <a:gd name="connsiteY514" fmla="*/ 817774 h 2809236"/>
                  <a:gd name="connsiteX515" fmla="*/ 1211825 w 4708662"/>
                  <a:gd name="connsiteY515" fmla="*/ 909420 h 2809236"/>
                  <a:gd name="connsiteX516" fmla="*/ 1208550 w 4708662"/>
                  <a:gd name="connsiteY516" fmla="*/ 938878 h 2809236"/>
                  <a:gd name="connsiteX517" fmla="*/ 1050081 w 4708662"/>
                  <a:gd name="connsiteY517" fmla="*/ 1029869 h 2809236"/>
                  <a:gd name="connsiteX518" fmla="*/ 1000314 w 4708662"/>
                  <a:gd name="connsiteY518" fmla="*/ 1032488 h 2809236"/>
                  <a:gd name="connsiteX519" fmla="*/ 840536 w 4708662"/>
                  <a:gd name="connsiteY519" fmla="*/ 940187 h 2809236"/>
                  <a:gd name="connsiteX520" fmla="*/ 843810 w 4708662"/>
                  <a:gd name="connsiteY520" fmla="*/ 910730 h 2809236"/>
                  <a:gd name="connsiteX521" fmla="*/ 1002279 w 4708662"/>
                  <a:gd name="connsiteY521" fmla="*/ 819738 h 2809236"/>
                  <a:gd name="connsiteX522" fmla="*/ 1028145 w 4708662"/>
                  <a:gd name="connsiteY522" fmla="*/ 812619 h 2809236"/>
                  <a:gd name="connsiteX523" fmla="*/ 2431262 w 4708662"/>
                  <a:gd name="connsiteY523" fmla="*/ 792376 h 2809236"/>
                  <a:gd name="connsiteX524" fmla="*/ 2455409 w 4708662"/>
                  <a:gd name="connsiteY524" fmla="*/ 796959 h 2809236"/>
                  <a:gd name="connsiteX525" fmla="*/ 2615187 w 4708662"/>
                  <a:gd name="connsiteY525" fmla="*/ 889259 h 2809236"/>
                  <a:gd name="connsiteX526" fmla="*/ 2611258 w 4708662"/>
                  <a:gd name="connsiteY526" fmla="*/ 918717 h 2809236"/>
                  <a:gd name="connsiteX527" fmla="*/ 2453444 w 4708662"/>
                  <a:gd name="connsiteY527" fmla="*/ 1009708 h 2809236"/>
                  <a:gd name="connsiteX528" fmla="*/ 2403022 w 4708662"/>
                  <a:gd name="connsiteY528" fmla="*/ 1011672 h 2809236"/>
                  <a:gd name="connsiteX529" fmla="*/ 2243899 w 4708662"/>
                  <a:gd name="connsiteY529" fmla="*/ 919372 h 2809236"/>
                  <a:gd name="connsiteX530" fmla="*/ 2247173 w 4708662"/>
                  <a:gd name="connsiteY530" fmla="*/ 890568 h 2809236"/>
                  <a:gd name="connsiteX531" fmla="*/ 2405642 w 4708662"/>
                  <a:gd name="connsiteY531" fmla="*/ 799577 h 2809236"/>
                  <a:gd name="connsiteX532" fmla="*/ 2431262 w 4708662"/>
                  <a:gd name="connsiteY532" fmla="*/ 792376 h 2809236"/>
                  <a:gd name="connsiteX533" fmla="*/ 472855 w 4708662"/>
                  <a:gd name="connsiteY533" fmla="*/ 771867 h 2809236"/>
                  <a:gd name="connsiteX534" fmla="*/ 496682 w 4708662"/>
                  <a:gd name="connsiteY534" fmla="*/ 776737 h 2809236"/>
                  <a:gd name="connsiteX535" fmla="*/ 655968 w 4708662"/>
                  <a:gd name="connsiteY535" fmla="*/ 868304 h 2809236"/>
                  <a:gd name="connsiteX536" fmla="*/ 652704 w 4708662"/>
                  <a:gd name="connsiteY536" fmla="*/ 896878 h 2809236"/>
                  <a:gd name="connsiteX537" fmla="*/ 464695 w 4708662"/>
                  <a:gd name="connsiteY537" fmla="*/ 1004680 h 2809236"/>
                  <a:gd name="connsiteX538" fmla="*/ 415081 w 4708662"/>
                  <a:gd name="connsiteY538" fmla="*/ 1006628 h 2809236"/>
                  <a:gd name="connsiteX539" fmla="*/ 255795 w 4708662"/>
                  <a:gd name="connsiteY539" fmla="*/ 915062 h 2809236"/>
                  <a:gd name="connsiteX540" fmla="*/ 259059 w 4708662"/>
                  <a:gd name="connsiteY540" fmla="*/ 886488 h 2809236"/>
                  <a:gd name="connsiteX541" fmla="*/ 447069 w 4708662"/>
                  <a:gd name="connsiteY541" fmla="*/ 778686 h 2809236"/>
                  <a:gd name="connsiteX542" fmla="*/ 472855 w 4708662"/>
                  <a:gd name="connsiteY542" fmla="*/ 771867 h 2809236"/>
                  <a:gd name="connsiteX543" fmla="*/ 1391226 w 4708662"/>
                  <a:gd name="connsiteY543" fmla="*/ 745971 h 2809236"/>
                  <a:gd name="connsiteX544" fmla="*/ 1415619 w 4708662"/>
                  <a:gd name="connsiteY544" fmla="*/ 750894 h 2809236"/>
                  <a:gd name="connsiteX545" fmla="*/ 1575397 w 4708662"/>
                  <a:gd name="connsiteY545" fmla="*/ 843458 h 2809236"/>
                  <a:gd name="connsiteX546" fmla="*/ 1571468 w 4708662"/>
                  <a:gd name="connsiteY546" fmla="*/ 872343 h 2809236"/>
                  <a:gd name="connsiteX547" fmla="*/ 1413654 w 4708662"/>
                  <a:gd name="connsiteY547" fmla="*/ 963593 h 2809236"/>
                  <a:gd name="connsiteX548" fmla="*/ 1363232 w 4708662"/>
                  <a:gd name="connsiteY548" fmla="*/ 965563 h 2809236"/>
                  <a:gd name="connsiteX549" fmla="*/ 1203454 w 4708662"/>
                  <a:gd name="connsiteY549" fmla="*/ 873656 h 2809236"/>
                  <a:gd name="connsiteX550" fmla="*/ 1207383 w 4708662"/>
                  <a:gd name="connsiteY550" fmla="*/ 844114 h 2809236"/>
                  <a:gd name="connsiteX551" fmla="*/ 1365852 w 4708662"/>
                  <a:gd name="connsiteY551" fmla="*/ 752864 h 2809236"/>
                  <a:gd name="connsiteX552" fmla="*/ 1391226 w 4708662"/>
                  <a:gd name="connsiteY552" fmla="*/ 745971 h 2809236"/>
                  <a:gd name="connsiteX553" fmla="*/ 1814468 w 4708662"/>
                  <a:gd name="connsiteY553" fmla="*/ 714689 h 2809236"/>
                  <a:gd name="connsiteX554" fmla="*/ 1838369 w 4708662"/>
                  <a:gd name="connsiteY554" fmla="*/ 719844 h 2809236"/>
                  <a:gd name="connsiteX555" fmla="*/ 1998148 w 4708662"/>
                  <a:gd name="connsiteY555" fmla="*/ 812145 h 2809236"/>
                  <a:gd name="connsiteX556" fmla="*/ 1994873 w 4708662"/>
                  <a:gd name="connsiteY556" fmla="*/ 840948 h 2809236"/>
                  <a:gd name="connsiteX557" fmla="*/ 1837059 w 4708662"/>
                  <a:gd name="connsiteY557" fmla="*/ 931939 h 2809236"/>
                  <a:gd name="connsiteX558" fmla="*/ 1786637 w 4708662"/>
                  <a:gd name="connsiteY558" fmla="*/ 934558 h 2809236"/>
                  <a:gd name="connsiteX559" fmla="*/ 1626859 w 4708662"/>
                  <a:gd name="connsiteY559" fmla="*/ 842257 h 2809236"/>
                  <a:gd name="connsiteX560" fmla="*/ 1630788 w 4708662"/>
                  <a:gd name="connsiteY560" fmla="*/ 812800 h 2809236"/>
                  <a:gd name="connsiteX561" fmla="*/ 1788602 w 4708662"/>
                  <a:gd name="connsiteY561" fmla="*/ 721808 h 2809236"/>
                  <a:gd name="connsiteX562" fmla="*/ 1814468 w 4708662"/>
                  <a:gd name="connsiteY562" fmla="*/ 714689 h 2809236"/>
                  <a:gd name="connsiteX563" fmla="*/ 2183147 w 4708662"/>
                  <a:gd name="connsiteY563" fmla="*/ 651248 h 2809236"/>
                  <a:gd name="connsiteX564" fmla="*/ 2207048 w 4708662"/>
                  <a:gd name="connsiteY564" fmla="*/ 655843 h 2809236"/>
                  <a:gd name="connsiteX565" fmla="*/ 2366827 w 4708662"/>
                  <a:gd name="connsiteY565" fmla="*/ 748407 h 2809236"/>
                  <a:gd name="connsiteX566" fmla="*/ 2363552 w 4708662"/>
                  <a:gd name="connsiteY566" fmla="*/ 777292 h 2809236"/>
                  <a:gd name="connsiteX567" fmla="*/ 2205738 w 4708662"/>
                  <a:gd name="connsiteY567" fmla="*/ 868542 h 2809236"/>
                  <a:gd name="connsiteX568" fmla="*/ 2155316 w 4708662"/>
                  <a:gd name="connsiteY568" fmla="*/ 871168 h 2809236"/>
                  <a:gd name="connsiteX569" fmla="*/ 1995538 w 4708662"/>
                  <a:gd name="connsiteY569" fmla="*/ 778605 h 2809236"/>
                  <a:gd name="connsiteX570" fmla="*/ 1999467 w 4708662"/>
                  <a:gd name="connsiteY570" fmla="*/ 749720 h 2809236"/>
                  <a:gd name="connsiteX571" fmla="*/ 2157281 w 4708662"/>
                  <a:gd name="connsiteY571" fmla="*/ 658469 h 2809236"/>
                  <a:gd name="connsiteX572" fmla="*/ 2183147 w 4708662"/>
                  <a:gd name="connsiteY572" fmla="*/ 651248 h 2809236"/>
                  <a:gd name="connsiteX573" fmla="*/ 225802 w 4708662"/>
                  <a:gd name="connsiteY573" fmla="*/ 627852 h 2809236"/>
                  <a:gd name="connsiteX574" fmla="*/ 249629 w 4708662"/>
                  <a:gd name="connsiteY574" fmla="*/ 632722 h 2809236"/>
                  <a:gd name="connsiteX575" fmla="*/ 408915 w 4708662"/>
                  <a:gd name="connsiteY575" fmla="*/ 724289 h 2809236"/>
                  <a:gd name="connsiteX576" fmla="*/ 405651 w 4708662"/>
                  <a:gd name="connsiteY576" fmla="*/ 752863 h 2809236"/>
                  <a:gd name="connsiteX577" fmla="*/ 217641 w 4708662"/>
                  <a:gd name="connsiteY577" fmla="*/ 860665 h 2809236"/>
                  <a:gd name="connsiteX578" fmla="*/ 168028 w 4708662"/>
                  <a:gd name="connsiteY578" fmla="*/ 862613 h 2809236"/>
                  <a:gd name="connsiteX579" fmla="*/ 8742 w 4708662"/>
                  <a:gd name="connsiteY579" fmla="*/ 771046 h 2809236"/>
                  <a:gd name="connsiteX580" fmla="*/ 12006 w 4708662"/>
                  <a:gd name="connsiteY580" fmla="*/ 742473 h 2809236"/>
                  <a:gd name="connsiteX581" fmla="*/ 200016 w 4708662"/>
                  <a:gd name="connsiteY581" fmla="*/ 634671 h 2809236"/>
                  <a:gd name="connsiteX582" fmla="*/ 225802 w 4708662"/>
                  <a:gd name="connsiteY582" fmla="*/ 627852 h 2809236"/>
                  <a:gd name="connsiteX583" fmla="*/ 2399582 w 4708662"/>
                  <a:gd name="connsiteY583" fmla="*/ 608135 h 2809236"/>
                  <a:gd name="connsiteX584" fmla="*/ 2424015 w 4708662"/>
                  <a:gd name="connsiteY584" fmla="*/ 613322 h 2809236"/>
                  <a:gd name="connsiteX585" fmla="*/ 2583525 w 4708662"/>
                  <a:gd name="connsiteY585" fmla="*/ 705536 h 2809236"/>
                  <a:gd name="connsiteX586" fmla="*/ 2579603 w 4708662"/>
                  <a:gd name="connsiteY586" fmla="*/ 734517 h 2809236"/>
                  <a:gd name="connsiteX587" fmla="*/ 2527305 w 4708662"/>
                  <a:gd name="connsiteY587" fmla="*/ 765475 h 2809236"/>
                  <a:gd name="connsiteX588" fmla="*/ 2477621 w 4708662"/>
                  <a:gd name="connsiteY588" fmla="*/ 767451 h 2809236"/>
                  <a:gd name="connsiteX589" fmla="*/ 2318111 w 4708662"/>
                  <a:gd name="connsiteY589" fmla="*/ 674578 h 2809236"/>
                  <a:gd name="connsiteX590" fmla="*/ 2321380 w 4708662"/>
                  <a:gd name="connsiteY590" fmla="*/ 645597 h 2809236"/>
                  <a:gd name="connsiteX591" fmla="*/ 2373678 w 4708662"/>
                  <a:gd name="connsiteY591" fmla="*/ 615298 h 2809236"/>
                  <a:gd name="connsiteX592" fmla="*/ 2399582 w 4708662"/>
                  <a:gd name="connsiteY592" fmla="*/ 608135 h 2809236"/>
                  <a:gd name="connsiteX593" fmla="*/ 1140559 w 4708662"/>
                  <a:gd name="connsiteY593" fmla="*/ 602284 h 2809236"/>
                  <a:gd name="connsiteX594" fmla="*/ 1165033 w 4708662"/>
                  <a:gd name="connsiteY594" fmla="*/ 606879 h 2809236"/>
                  <a:gd name="connsiteX595" fmla="*/ 1324157 w 4708662"/>
                  <a:gd name="connsiteY595" fmla="*/ 699443 h 2809236"/>
                  <a:gd name="connsiteX596" fmla="*/ 1320882 w 4708662"/>
                  <a:gd name="connsiteY596" fmla="*/ 728328 h 2809236"/>
                  <a:gd name="connsiteX597" fmla="*/ 1163068 w 4708662"/>
                  <a:gd name="connsiteY597" fmla="*/ 819578 h 2809236"/>
                  <a:gd name="connsiteX598" fmla="*/ 1112646 w 4708662"/>
                  <a:gd name="connsiteY598" fmla="*/ 822204 h 2809236"/>
                  <a:gd name="connsiteX599" fmla="*/ 953523 w 4708662"/>
                  <a:gd name="connsiteY599" fmla="*/ 729641 h 2809236"/>
                  <a:gd name="connsiteX600" fmla="*/ 956797 w 4708662"/>
                  <a:gd name="connsiteY600" fmla="*/ 700756 h 2809236"/>
                  <a:gd name="connsiteX601" fmla="*/ 1114611 w 4708662"/>
                  <a:gd name="connsiteY601" fmla="*/ 609505 h 2809236"/>
                  <a:gd name="connsiteX602" fmla="*/ 1140559 w 4708662"/>
                  <a:gd name="connsiteY602" fmla="*/ 602284 h 2809236"/>
                  <a:gd name="connsiteX603" fmla="*/ 1563962 w 4708662"/>
                  <a:gd name="connsiteY603" fmla="*/ 567473 h 2809236"/>
                  <a:gd name="connsiteX604" fmla="*/ 1588436 w 4708662"/>
                  <a:gd name="connsiteY604" fmla="*/ 572315 h 2809236"/>
                  <a:gd name="connsiteX605" fmla="*/ 1747560 w 4708662"/>
                  <a:gd name="connsiteY605" fmla="*/ 664879 h 2809236"/>
                  <a:gd name="connsiteX606" fmla="*/ 1744285 w 4708662"/>
                  <a:gd name="connsiteY606" fmla="*/ 693764 h 2809236"/>
                  <a:gd name="connsiteX607" fmla="*/ 1586471 w 4708662"/>
                  <a:gd name="connsiteY607" fmla="*/ 785014 h 2809236"/>
                  <a:gd name="connsiteX608" fmla="*/ 1536049 w 4708662"/>
                  <a:gd name="connsiteY608" fmla="*/ 787640 h 2809236"/>
                  <a:gd name="connsiteX609" fmla="*/ 1376926 w 4708662"/>
                  <a:gd name="connsiteY609" fmla="*/ 695077 h 2809236"/>
                  <a:gd name="connsiteX610" fmla="*/ 1380200 w 4708662"/>
                  <a:gd name="connsiteY610" fmla="*/ 666192 h 2809236"/>
                  <a:gd name="connsiteX611" fmla="*/ 1538014 w 4708662"/>
                  <a:gd name="connsiteY611" fmla="*/ 574941 h 2809236"/>
                  <a:gd name="connsiteX612" fmla="*/ 1563962 w 4708662"/>
                  <a:gd name="connsiteY612" fmla="*/ 567473 h 2809236"/>
                  <a:gd name="connsiteX613" fmla="*/ 1937991 w 4708662"/>
                  <a:gd name="connsiteY613" fmla="*/ 509868 h 2809236"/>
                  <a:gd name="connsiteX614" fmla="*/ 1962220 w 4708662"/>
                  <a:gd name="connsiteY614" fmla="*/ 514709 h 2809236"/>
                  <a:gd name="connsiteX615" fmla="*/ 2121999 w 4708662"/>
                  <a:gd name="connsiteY615" fmla="*/ 607273 h 2809236"/>
                  <a:gd name="connsiteX616" fmla="*/ 2118070 w 4708662"/>
                  <a:gd name="connsiteY616" fmla="*/ 636158 h 2809236"/>
                  <a:gd name="connsiteX617" fmla="*/ 1960255 w 4708662"/>
                  <a:gd name="connsiteY617" fmla="*/ 727408 h 2809236"/>
                  <a:gd name="connsiteX618" fmla="*/ 1910488 w 4708662"/>
                  <a:gd name="connsiteY618" fmla="*/ 730034 h 2809236"/>
                  <a:gd name="connsiteX619" fmla="*/ 1750710 w 4708662"/>
                  <a:gd name="connsiteY619" fmla="*/ 637471 h 2809236"/>
                  <a:gd name="connsiteX620" fmla="*/ 1753984 w 4708662"/>
                  <a:gd name="connsiteY620" fmla="*/ 608586 h 2809236"/>
                  <a:gd name="connsiteX621" fmla="*/ 1911798 w 4708662"/>
                  <a:gd name="connsiteY621" fmla="*/ 517335 h 2809236"/>
                  <a:gd name="connsiteX622" fmla="*/ 1937991 w 4708662"/>
                  <a:gd name="connsiteY622" fmla="*/ 509868 h 2809236"/>
                  <a:gd name="connsiteX623" fmla="*/ 468825 w 4708662"/>
                  <a:gd name="connsiteY623" fmla="*/ 490026 h 2809236"/>
                  <a:gd name="connsiteX624" fmla="*/ 493223 w 4708662"/>
                  <a:gd name="connsiteY624" fmla="*/ 495179 h 2809236"/>
                  <a:gd name="connsiteX625" fmla="*/ 961279 w 4708662"/>
                  <a:gd name="connsiteY625" fmla="*/ 766102 h 2809236"/>
                  <a:gd name="connsiteX626" fmla="*/ 958015 w 4708662"/>
                  <a:gd name="connsiteY626" fmla="*/ 794896 h 2809236"/>
                  <a:gd name="connsiteX627" fmla="*/ 800691 w 4708662"/>
                  <a:gd name="connsiteY627" fmla="*/ 885859 h 2809236"/>
                  <a:gd name="connsiteX628" fmla="*/ 750425 w 4708662"/>
                  <a:gd name="connsiteY628" fmla="*/ 887822 h 2809236"/>
                  <a:gd name="connsiteX629" fmla="*/ 282369 w 4708662"/>
                  <a:gd name="connsiteY629" fmla="*/ 616898 h 2809236"/>
                  <a:gd name="connsiteX630" fmla="*/ 285633 w 4708662"/>
                  <a:gd name="connsiteY630" fmla="*/ 588104 h 2809236"/>
                  <a:gd name="connsiteX631" fmla="*/ 442957 w 4708662"/>
                  <a:gd name="connsiteY631" fmla="*/ 497142 h 2809236"/>
                  <a:gd name="connsiteX632" fmla="*/ 468825 w 4708662"/>
                  <a:gd name="connsiteY632" fmla="*/ 490026 h 2809236"/>
                  <a:gd name="connsiteX633" fmla="*/ 2154754 w 4708662"/>
                  <a:gd name="connsiteY633" fmla="*/ 466588 h 2809236"/>
                  <a:gd name="connsiteX634" fmla="*/ 2179188 w 4708662"/>
                  <a:gd name="connsiteY634" fmla="*/ 471528 h 2809236"/>
                  <a:gd name="connsiteX635" fmla="*/ 2338698 w 4708662"/>
                  <a:gd name="connsiteY635" fmla="*/ 564402 h 2809236"/>
                  <a:gd name="connsiteX636" fmla="*/ 2334776 w 4708662"/>
                  <a:gd name="connsiteY636" fmla="*/ 593384 h 2809236"/>
                  <a:gd name="connsiteX637" fmla="*/ 2282477 w 4708662"/>
                  <a:gd name="connsiteY637" fmla="*/ 623683 h 2809236"/>
                  <a:gd name="connsiteX638" fmla="*/ 2232794 w 4708662"/>
                  <a:gd name="connsiteY638" fmla="*/ 625659 h 2809236"/>
                  <a:gd name="connsiteX639" fmla="*/ 2073283 w 4708662"/>
                  <a:gd name="connsiteY639" fmla="*/ 533444 h 2809236"/>
                  <a:gd name="connsiteX640" fmla="*/ 2076552 w 4708662"/>
                  <a:gd name="connsiteY640" fmla="*/ 504462 h 2809236"/>
                  <a:gd name="connsiteX641" fmla="*/ 2128850 w 4708662"/>
                  <a:gd name="connsiteY641" fmla="*/ 473504 h 2809236"/>
                  <a:gd name="connsiteX642" fmla="*/ 2154754 w 4708662"/>
                  <a:gd name="connsiteY642" fmla="*/ 466588 h 2809236"/>
                  <a:gd name="connsiteX643" fmla="*/ 1310492 w 4708662"/>
                  <a:gd name="connsiteY643" fmla="*/ 423787 h 2809236"/>
                  <a:gd name="connsiteX644" fmla="*/ 1334599 w 4708662"/>
                  <a:gd name="connsiteY644" fmla="*/ 428957 h 2809236"/>
                  <a:gd name="connsiteX645" fmla="*/ 1494115 w 4708662"/>
                  <a:gd name="connsiteY645" fmla="*/ 520864 h 2809236"/>
                  <a:gd name="connsiteX646" fmla="*/ 1490193 w 4708662"/>
                  <a:gd name="connsiteY646" fmla="*/ 550405 h 2809236"/>
                  <a:gd name="connsiteX647" fmla="*/ 1332638 w 4708662"/>
                  <a:gd name="connsiteY647" fmla="*/ 641656 h 2809236"/>
                  <a:gd name="connsiteX648" fmla="*/ 1282299 w 4708662"/>
                  <a:gd name="connsiteY648" fmla="*/ 643625 h 2809236"/>
                  <a:gd name="connsiteX649" fmla="*/ 1123437 w 4708662"/>
                  <a:gd name="connsiteY649" fmla="*/ 551062 h 2809236"/>
                  <a:gd name="connsiteX650" fmla="*/ 1126706 w 4708662"/>
                  <a:gd name="connsiteY650" fmla="*/ 522177 h 2809236"/>
                  <a:gd name="connsiteX651" fmla="*/ 1284914 w 4708662"/>
                  <a:gd name="connsiteY651" fmla="*/ 430926 h 2809236"/>
                  <a:gd name="connsiteX652" fmla="*/ 1310492 w 4708662"/>
                  <a:gd name="connsiteY652" fmla="*/ 423787 h 2809236"/>
                  <a:gd name="connsiteX653" fmla="*/ 1693576 w 4708662"/>
                  <a:gd name="connsiteY653" fmla="*/ 368650 h 2809236"/>
                  <a:gd name="connsiteX654" fmla="*/ 1718050 w 4708662"/>
                  <a:gd name="connsiteY654" fmla="*/ 373573 h 2809236"/>
                  <a:gd name="connsiteX655" fmla="*/ 1877828 w 4708662"/>
                  <a:gd name="connsiteY655" fmla="*/ 466137 h 2809236"/>
                  <a:gd name="connsiteX656" fmla="*/ 1873899 w 4708662"/>
                  <a:gd name="connsiteY656" fmla="*/ 495022 h 2809236"/>
                  <a:gd name="connsiteX657" fmla="*/ 1715430 w 4708662"/>
                  <a:gd name="connsiteY657" fmla="*/ 586272 h 2809236"/>
                  <a:gd name="connsiteX658" fmla="*/ 1665663 w 4708662"/>
                  <a:gd name="connsiteY658" fmla="*/ 588242 h 2809236"/>
                  <a:gd name="connsiteX659" fmla="*/ 1505885 w 4708662"/>
                  <a:gd name="connsiteY659" fmla="*/ 496335 h 2809236"/>
                  <a:gd name="connsiteX660" fmla="*/ 1509814 w 4708662"/>
                  <a:gd name="connsiteY660" fmla="*/ 466793 h 2809236"/>
                  <a:gd name="connsiteX661" fmla="*/ 1667628 w 4708662"/>
                  <a:gd name="connsiteY661" fmla="*/ 375543 h 2809236"/>
                  <a:gd name="connsiteX662" fmla="*/ 1693576 w 4708662"/>
                  <a:gd name="connsiteY662" fmla="*/ 368650 h 2809236"/>
                  <a:gd name="connsiteX663" fmla="*/ 708205 w 4708662"/>
                  <a:gd name="connsiteY663" fmla="*/ 351349 h 2809236"/>
                  <a:gd name="connsiteX664" fmla="*/ 732002 w 4708662"/>
                  <a:gd name="connsiteY664" fmla="*/ 356234 h 2809236"/>
                  <a:gd name="connsiteX665" fmla="*/ 1074281 w 4708662"/>
                  <a:gd name="connsiteY665" fmla="*/ 553577 h 2809236"/>
                  <a:gd name="connsiteX666" fmla="*/ 1071021 w 4708662"/>
                  <a:gd name="connsiteY666" fmla="*/ 582234 h 2809236"/>
                  <a:gd name="connsiteX667" fmla="*/ 913247 w 4708662"/>
                  <a:gd name="connsiteY667" fmla="*/ 672764 h 2809236"/>
                  <a:gd name="connsiteX668" fmla="*/ 863698 w 4708662"/>
                  <a:gd name="connsiteY668" fmla="*/ 675369 h 2809236"/>
                  <a:gd name="connsiteX669" fmla="*/ 521419 w 4708662"/>
                  <a:gd name="connsiteY669" fmla="*/ 478027 h 2809236"/>
                  <a:gd name="connsiteX670" fmla="*/ 524679 w 4708662"/>
                  <a:gd name="connsiteY670" fmla="*/ 449370 h 2809236"/>
                  <a:gd name="connsiteX671" fmla="*/ 682453 w 4708662"/>
                  <a:gd name="connsiteY671" fmla="*/ 358188 h 2809236"/>
                  <a:gd name="connsiteX672" fmla="*/ 708205 w 4708662"/>
                  <a:gd name="connsiteY672" fmla="*/ 351349 h 2809236"/>
                  <a:gd name="connsiteX673" fmla="*/ 1912808 w 4708662"/>
                  <a:gd name="connsiteY673" fmla="*/ 325424 h 2809236"/>
                  <a:gd name="connsiteX674" fmla="*/ 1937242 w 4708662"/>
                  <a:gd name="connsiteY674" fmla="*/ 330299 h 2809236"/>
                  <a:gd name="connsiteX675" fmla="*/ 2096099 w 4708662"/>
                  <a:gd name="connsiteY675" fmla="*/ 421954 h 2809236"/>
                  <a:gd name="connsiteX676" fmla="*/ 2092830 w 4708662"/>
                  <a:gd name="connsiteY676" fmla="*/ 450555 h 2809236"/>
                  <a:gd name="connsiteX677" fmla="*/ 2040531 w 4708662"/>
                  <a:gd name="connsiteY677" fmla="*/ 480457 h 2809236"/>
                  <a:gd name="connsiteX678" fmla="*/ 1990848 w 4708662"/>
                  <a:gd name="connsiteY678" fmla="*/ 482407 h 2809236"/>
                  <a:gd name="connsiteX679" fmla="*/ 1831337 w 4708662"/>
                  <a:gd name="connsiteY679" fmla="*/ 390752 h 2809236"/>
                  <a:gd name="connsiteX680" fmla="*/ 1835259 w 4708662"/>
                  <a:gd name="connsiteY680" fmla="*/ 362151 h 2809236"/>
                  <a:gd name="connsiteX681" fmla="*/ 1886904 w 4708662"/>
                  <a:gd name="connsiteY681" fmla="*/ 332249 h 2809236"/>
                  <a:gd name="connsiteX682" fmla="*/ 1912808 w 4708662"/>
                  <a:gd name="connsiteY682" fmla="*/ 325424 h 2809236"/>
                  <a:gd name="connsiteX683" fmla="*/ 1449323 w 4708662"/>
                  <a:gd name="connsiteY683" fmla="*/ 227493 h 2809236"/>
                  <a:gd name="connsiteX684" fmla="*/ 1473224 w 4708662"/>
                  <a:gd name="connsiteY684" fmla="*/ 232369 h 2809236"/>
                  <a:gd name="connsiteX685" fmla="*/ 1633002 w 4708662"/>
                  <a:gd name="connsiteY685" fmla="*/ 324037 h 2809236"/>
                  <a:gd name="connsiteX686" fmla="*/ 1629073 w 4708662"/>
                  <a:gd name="connsiteY686" fmla="*/ 352642 h 2809236"/>
                  <a:gd name="connsiteX687" fmla="*/ 1471259 w 4708662"/>
                  <a:gd name="connsiteY687" fmla="*/ 443009 h 2809236"/>
                  <a:gd name="connsiteX688" fmla="*/ 1421492 w 4708662"/>
                  <a:gd name="connsiteY688" fmla="*/ 444960 h 2809236"/>
                  <a:gd name="connsiteX689" fmla="*/ 1261714 w 4708662"/>
                  <a:gd name="connsiteY689" fmla="*/ 353292 h 2809236"/>
                  <a:gd name="connsiteX690" fmla="*/ 1264988 w 4708662"/>
                  <a:gd name="connsiteY690" fmla="*/ 324687 h 2809236"/>
                  <a:gd name="connsiteX691" fmla="*/ 1423457 w 4708662"/>
                  <a:gd name="connsiteY691" fmla="*/ 234320 h 2809236"/>
                  <a:gd name="connsiteX692" fmla="*/ 1449323 w 4708662"/>
                  <a:gd name="connsiteY692" fmla="*/ 227493 h 2809236"/>
                  <a:gd name="connsiteX693" fmla="*/ 947556 w 4708662"/>
                  <a:gd name="connsiteY693" fmla="*/ 213501 h 2809236"/>
                  <a:gd name="connsiteX694" fmla="*/ 971948 w 4708662"/>
                  <a:gd name="connsiteY694" fmla="*/ 218624 h 2809236"/>
                  <a:gd name="connsiteX695" fmla="*/ 1249314 w 4708662"/>
                  <a:gd name="connsiteY695" fmla="*/ 378020 h 2809236"/>
                  <a:gd name="connsiteX696" fmla="*/ 1246051 w 4708662"/>
                  <a:gd name="connsiteY696" fmla="*/ 406647 h 2809236"/>
                  <a:gd name="connsiteX697" fmla="*/ 1088768 w 4708662"/>
                  <a:gd name="connsiteY697" fmla="*/ 497730 h 2809236"/>
                  <a:gd name="connsiteX698" fmla="*/ 1038515 w 4708662"/>
                  <a:gd name="connsiteY698" fmla="*/ 499682 h 2809236"/>
                  <a:gd name="connsiteX699" fmla="*/ 760497 w 4708662"/>
                  <a:gd name="connsiteY699" fmla="*/ 339635 h 2809236"/>
                  <a:gd name="connsiteX700" fmla="*/ 764412 w 4708662"/>
                  <a:gd name="connsiteY700" fmla="*/ 311009 h 2809236"/>
                  <a:gd name="connsiteX701" fmla="*/ 921695 w 4708662"/>
                  <a:gd name="connsiteY701" fmla="*/ 220576 h 2809236"/>
                  <a:gd name="connsiteX702" fmla="*/ 947556 w 4708662"/>
                  <a:gd name="connsiteY702" fmla="*/ 213501 h 2809236"/>
                  <a:gd name="connsiteX703" fmla="*/ 1668066 w 4708662"/>
                  <a:gd name="connsiteY703" fmla="*/ 184731 h 2809236"/>
                  <a:gd name="connsiteX704" fmla="*/ 1692417 w 4708662"/>
                  <a:gd name="connsiteY704" fmla="*/ 189918 h 2809236"/>
                  <a:gd name="connsiteX705" fmla="*/ 1851274 w 4708662"/>
                  <a:gd name="connsiteY705" fmla="*/ 282133 h 2809236"/>
                  <a:gd name="connsiteX706" fmla="*/ 1848005 w 4708662"/>
                  <a:gd name="connsiteY706" fmla="*/ 311115 h 2809236"/>
                  <a:gd name="connsiteX707" fmla="*/ 1796360 w 4708662"/>
                  <a:gd name="connsiteY707" fmla="*/ 341414 h 2809236"/>
                  <a:gd name="connsiteX708" fmla="*/ 1746023 w 4708662"/>
                  <a:gd name="connsiteY708" fmla="*/ 344049 h 2809236"/>
                  <a:gd name="connsiteX709" fmla="*/ 1586513 w 4708662"/>
                  <a:gd name="connsiteY709" fmla="*/ 251175 h 2809236"/>
                  <a:gd name="connsiteX710" fmla="*/ 1590435 w 4708662"/>
                  <a:gd name="connsiteY710" fmla="*/ 222193 h 2809236"/>
                  <a:gd name="connsiteX711" fmla="*/ 1642734 w 4708662"/>
                  <a:gd name="connsiteY711" fmla="*/ 191894 h 2809236"/>
                  <a:gd name="connsiteX712" fmla="*/ 1668066 w 4708662"/>
                  <a:gd name="connsiteY712" fmla="*/ 184731 h 2809236"/>
                  <a:gd name="connsiteX713" fmla="*/ 1203925 w 4708662"/>
                  <a:gd name="connsiteY713" fmla="*/ 83583 h 2809236"/>
                  <a:gd name="connsiteX714" fmla="*/ 1228399 w 4708662"/>
                  <a:gd name="connsiteY714" fmla="*/ 88424 h 2809236"/>
                  <a:gd name="connsiteX715" fmla="*/ 1387523 w 4708662"/>
                  <a:gd name="connsiteY715" fmla="*/ 180988 h 2809236"/>
                  <a:gd name="connsiteX716" fmla="*/ 1384248 w 4708662"/>
                  <a:gd name="connsiteY716" fmla="*/ 210529 h 2809236"/>
                  <a:gd name="connsiteX717" fmla="*/ 1225779 w 4708662"/>
                  <a:gd name="connsiteY717" fmla="*/ 301780 h 2809236"/>
                  <a:gd name="connsiteX718" fmla="*/ 1176012 w 4708662"/>
                  <a:gd name="connsiteY718" fmla="*/ 303749 h 2809236"/>
                  <a:gd name="connsiteX719" fmla="*/ 1016234 w 4708662"/>
                  <a:gd name="connsiteY719" fmla="*/ 211186 h 2809236"/>
                  <a:gd name="connsiteX720" fmla="*/ 1020163 w 4708662"/>
                  <a:gd name="connsiteY720" fmla="*/ 182301 h 2809236"/>
                  <a:gd name="connsiteX721" fmla="*/ 1177977 w 4708662"/>
                  <a:gd name="connsiteY721" fmla="*/ 91050 h 2809236"/>
                  <a:gd name="connsiteX722" fmla="*/ 1203925 w 4708662"/>
                  <a:gd name="connsiteY722" fmla="*/ 83583 h 2809236"/>
                  <a:gd name="connsiteX723" fmla="*/ 1348596 w 4708662"/>
                  <a:gd name="connsiteY723" fmla="*/ 61 h 2809236"/>
                  <a:gd name="connsiteX724" fmla="*/ 1372703 w 4708662"/>
                  <a:gd name="connsiteY724" fmla="*/ 4919 h 2809236"/>
                  <a:gd name="connsiteX725" fmla="*/ 1532213 w 4708662"/>
                  <a:gd name="connsiteY725" fmla="*/ 97793 h 2809236"/>
                  <a:gd name="connsiteX726" fmla="*/ 1528945 w 4708662"/>
                  <a:gd name="connsiteY726" fmla="*/ 126775 h 2809236"/>
                  <a:gd name="connsiteX727" fmla="*/ 1476646 w 4708662"/>
                  <a:gd name="connsiteY727" fmla="*/ 157074 h 2809236"/>
                  <a:gd name="connsiteX728" fmla="*/ 1426309 w 4708662"/>
                  <a:gd name="connsiteY728" fmla="*/ 159709 h 2809236"/>
                  <a:gd name="connsiteX729" fmla="*/ 1267452 w 4708662"/>
                  <a:gd name="connsiteY729" fmla="*/ 66835 h 2809236"/>
                  <a:gd name="connsiteX730" fmla="*/ 1270720 w 4708662"/>
                  <a:gd name="connsiteY730" fmla="*/ 37853 h 2809236"/>
                  <a:gd name="connsiteX731" fmla="*/ 1323019 w 4708662"/>
                  <a:gd name="connsiteY731" fmla="*/ 7554 h 2809236"/>
                  <a:gd name="connsiteX732" fmla="*/ 1348596 w 4708662"/>
                  <a:gd name="connsiteY732" fmla="*/ 61 h 280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</a:cxnLst>
                <a:rect l="l" t="t" r="r" b="b"/>
                <a:pathLst>
                  <a:path w="4708662" h="2809236">
                    <a:moveTo>
                      <a:pt x="3453928" y="2629347"/>
                    </a:moveTo>
                    <a:cubicBezTo>
                      <a:pt x="3461350" y="2629021"/>
                      <a:pt x="3468527" y="2630324"/>
                      <a:pt x="3473747" y="2633255"/>
                    </a:cubicBezTo>
                    <a:lnTo>
                      <a:pt x="3650567" y="2735521"/>
                    </a:lnTo>
                    <a:cubicBezTo>
                      <a:pt x="3661660" y="2741384"/>
                      <a:pt x="3659702" y="2752457"/>
                      <a:pt x="3647958" y="2758971"/>
                    </a:cubicBezTo>
                    <a:lnTo>
                      <a:pt x="3570965" y="2803916"/>
                    </a:lnTo>
                    <a:cubicBezTo>
                      <a:pt x="3559221" y="2810429"/>
                      <a:pt x="3540952" y="2811081"/>
                      <a:pt x="3530512" y="2805218"/>
                    </a:cubicBezTo>
                    <a:lnTo>
                      <a:pt x="3353039" y="2702952"/>
                    </a:lnTo>
                    <a:cubicBezTo>
                      <a:pt x="3342599" y="2697090"/>
                      <a:pt x="3343904" y="2686668"/>
                      <a:pt x="3356301" y="2679503"/>
                    </a:cubicBezTo>
                    <a:lnTo>
                      <a:pt x="3432641" y="2635209"/>
                    </a:lnTo>
                    <a:cubicBezTo>
                      <a:pt x="3438839" y="2631626"/>
                      <a:pt x="3446506" y="2629672"/>
                      <a:pt x="3453928" y="2629347"/>
                    </a:cubicBezTo>
                    <a:close/>
                    <a:moveTo>
                      <a:pt x="3206302" y="2485331"/>
                    </a:moveTo>
                    <a:cubicBezTo>
                      <a:pt x="3213643" y="2485005"/>
                      <a:pt x="3220820" y="2486308"/>
                      <a:pt x="3226040" y="2489239"/>
                    </a:cubicBezTo>
                    <a:lnTo>
                      <a:pt x="3403513" y="2591505"/>
                    </a:lnTo>
                    <a:cubicBezTo>
                      <a:pt x="3413953" y="2597368"/>
                      <a:pt x="3412648" y="2608441"/>
                      <a:pt x="3400903" y="2614955"/>
                    </a:cubicBezTo>
                    <a:lnTo>
                      <a:pt x="3323911" y="2659248"/>
                    </a:lnTo>
                    <a:cubicBezTo>
                      <a:pt x="3311514" y="2666413"/>
                      <a:pt x="3293245" y="2667065"/>
                      <a:pt x="3282805" y="2661202"/>
                    </a:cubicBezTo>
                    <a:lnTo>
                      <a:pt x="3105332" y="2558936"/>
                    </a:lnTo>
                    <a:cubicBezTo>
                      <a:pt x="3094892" y="2553074"/>
                      <a:pt x="3096849" y="2542652"/>
                      <a:pt x="3108594" y="2534836"/>
                    </a:cubicBezTo>
                    <a:lnTo>
                      <a:pt x="3185586" y="2491193"/>
                    </a:lnTo>
                    <a:cubicBezTo>
                      <a:pt x="3191459" y="2487611"/>
                      <a:pt x="3198962" y="2485657"/>
                      <a:pt x="3206302" y="2485331"/>
                    </a:cubicBezTo>
                    <a:close/>
                    <a:moveTo>
                      <a:pt x="3341169" y="2407562"/>
                    </a:moveTo>
                    <a:cubicBezTo>
                      <a:pt x="3348606" y="2407236"/>
                      <a:pt x="3355798" y="2408539"/>
                      <a:pt x="3361028" y="2411470"/>
                    </a:cubicBezTo>
                    <a:lnTo>
                      <a:pt x="3538865" y="2513736"/>
                    </a:lnTo>
                    <a:cubicBezTo>
                      <a:pt x="3549326" y="2519599"/>
                      <a:pt x="3548019" y="2530021"/>
                      <a:pt x="3535596" y="2537186"/>
                    </a:cubicBezTo>
                    <a:lnTo>
                      <a:pt x="3458446" y="2581479"/>
                    </a:lnTo>
                    <a:cubicBezTo>
                      <a:pt x="3446678" y="2587993"/>
                      <a:pt x="3428371" y="2589296"/>
                      <a:pt x="3417910" y="2583433"/>
                    </a:cubicBezTo>
                    <a:lnTo>
                      <a:pt x="3240073" y="2481167"/>
                    </a:lnTo>
                    <a:cubicBezTo>
                      <a:pt x="3230266" y="2475305"/>
                      <a:pt x="3230920" y="2464232"/>
                      <a:pt x="3243342" y="2457718"/>
                    </a:cubicBezTo>
                    <a:lnTo>
                      <a:pt x="3319838" y="2413424"/>
                    </a:lnTo>
                    <a:cubicBezTo>
                      <a:pt x="3326050" y="2409841"/>
                      <a:pt x="3333732" y="2407887"/>
                      <a:pt x="3341169" y="2407562"/>
                    </a:cubicBezTo>
                    <a:close/>
                    <a:moveTo>
                      <a:pt x="2961051" y="2344195"/>
                    </a:moveTo>
                    <a:cubicBezTo>
                      <a:pt x="2968406" y="2343869"/>
                      <a:pt x="2975598" y="2345172"/>
                      <a:pt x="2980828" y="2348103"/>
                    </a:cubicBezTo>
                    <a:lnTo>
                      <a:pt x="3158011" y="2449718"/>
                    </a:lnTo>
                    <a:cubicBezTo>
                      <a:pt x="3169126" y="2456232"/>
                      <a:pt x="3167165" y="2466654"/>
                      <a:pt x="3155396" y="2473819"/>
                    </a:cubicBezTo>
                    <a:lnTo>
                      <a:pt x="3078246" y="2518112"/>
                    </a:lnTo>
                    <a:cubicBezTo>
                      <a:pt x="3066478" y="2525277"/>
                      <a:pt x="3048171" y="2525929"/>
                      <a:pt x="3037710" y="2519415"/>
                    </a:cubicBezTo>
                    <a:lnTo>
                      <a:pt x="2861181" y="2417800"/>
                    </a:lnTo>
                    <a:cubicBezTo>
                      <a:pt x="2850066" y="2411287"/>
                      <a:pt x="2851374" y="2400865"/>
                      <a:pt x="2863796" y="2393700"/>
                    </a:cubicBezTo>
                    <a:lnTo>
                      <a:pt x="2940292" y="2350057"/>
                    </a:lnTo>
                    <a:cubicBezTo>
                      <a:pt x="2946177" y="2346475"/>
                      <a:pt x="2953695" y="2344521"/>
                      <a:pt x="2961051" y="2344195"/>
                    </a:cubicBezTo>
                    <a:close/>
                    <a:moveTo>
                      <a:pt x="3487301" y="2232201"/>
                    </a:moveTo>
                    <a:cubicBezTo>
                      <a:pt x="3496277" y="2231874"/>
                      <a:pt x="3504927" y="2233510"/>
                      <a:pt x="3511128" y="2237109"/>
                    </a:cubicBezTo>
                    <a:lnTo>
                      <a:pt x="3980490" y="2508687"/>
                    </a:lnTo>
                    <a:cubicBezTo>
                      <a:pt x="3992893" y="2515886"/>
                      <a:pt x="3991588" y="2528974"/>
                      <a:pt x="3976573" y="2537481"/>
                    </a:cubicBezTo>
                    <a:lnTo>
                      <a:pt x="3819249" y="2628444"/>
                    </a:lnTo>
                    <a:cubicBezTo>
                      <a:pt x="3804234" y="2636951"/>
                      <a:pt x="3781387" y="2638260"/>
                      <a:pt x="3768983" y="2630407"/>
                    </a:cubicBezTo>
                    <a:lnTo>
                      <a:pt x="3300274" y="2359483"/>
                    </a:lnTo>
                    <a:cubicBezTo>
                      <a:pt x="3287871" y="2352285"/>
                      <a:pt x="3289829" y="2339197"/>
                      <a:pt x="3304191" y="2330689"/>
                    </a:cubicBezTo>
                    <a:lnTo>
                      <a:pt x="3461515" y="2239073"/>
                    </a:lnTo>
                    <a:cubicBezTo>
                      <a:pt x="3469023" y="2234819"/>
                      <a:pt x="3478325" y="2232529"/>
                      <a:pt x="3487301" y="2232201"/>
                    </a:cubicBezTo>
                    <a:close/>
                    <a:moveTo>
                      <a:pt x="3850372" y="2166346"/>
                    </a:moveTo>
                    <a:cubicBezTo>
                      <a:pt x="3859355" y="2165939"/>
                      <a:pt x="3868011" y="2167566"/>
                      <a:pt x="3874218" y="2171469"/>
                    </a:cubicBezTo>
                    <a:lnTo>
                      <a:pt x="4221773" y="2370544"/>
                    </a:lnTo>
                    <a:cubicBezTo>
                      <a:pt x="4234839" y="2378351"/>
                      <a:pt x="4232879" y="2391362"/>
                      <a:pt x="4217853" y="2399819"/>
                    </a:cubicBezTo>
                    <a:lnTo>
                      <a:pt x="4060408" y="2490249"/>
                    </a:lnTo>
                    <a:cubicBezTo>
                      <a:pt x="4046035" y="2498706"/>
                      <a:pt x="4023823" y="2500007"/>
                      <a:pt x="4010757" y="2492201"/>
                    </a:cubicBezTo>
                    <a:lnTo>
                      <a:pt x="3663203" y="2292475"/>
                    </a:lnTo>
                    <a:cubicBezTo>
                      <a:pt x="3650790" y="2285319"/>
                      <a:pt x="3652097" y="2272958"/>
                      <a:pt x="3667122" y="2263850"/>
                    </a:cubicBezTo>
                    <a:lnTo>
                      <a:pt x="3824567" y="2173421"/>
                    </a:lnTo>
                    <a:cubicBezTo>
                      <a:pt x="3832080" y="2169192"/>
                      <a:pt x="3841389" y="2166752"/>
                      <a:pt x="3850372" y="2166346"/>
                    </a:cubicBezTo>
                    <a:close/>
                    <a:moveTo>
                      <a:pt x="2846658" y="2140034"/>
                    </a:moveTo>
                    <a:cubicBezTo>
                      <a:pt x="2855730" y="2139707"/>
                      <a:pt x="2864557" y="2141345"/>
                      <a:pt x="2871095" y="2144949"/>
                    </a:cubicBezTo>
                    <a:lnTo>
                      <a:pt x="3029317" y="2237348"/>
                    </a:lnTo>
                    <a:cubicBezTo>
                      <a:pt x="3042393" y="2244556"/>
                      <a:pt x="3040432" y="2257662"/>
                      <a:pt x="3026048" y="2266181"/>
                    </a:cubicBezTo>
                    <a:lnTo>
                      <a:pt x="2838404" y="2374962"/>
                    </a:lnTo>
                    <a:cubicBezTo>
                      <a:pt x="2824020" y="2383481"/>
                      <a:pt x="2801137" y="2384792"/>
                      <a:pt x="2788714" y="2377583"/>
                    </a:cubicBezTo>
                    <a:lnTo>
                      <a:pt x="2629184" y="2285185"/>
                    </a:lnTo>
                    <a:cubicBezTo>
                      <a:pt x="2616762" y="2277321"/>
                      <a:pt x="2618070" y="2264215"/>
                      <a:pt x="2632453" y="2256352"/>
                    </a:cubicBezTo>
                    <a:lnTo>
                      <a:pt x="2820751" y="2146915"/>
                    </a:lnTo>
                    <a:cubicBezTo>
                      <a:pt x="2828270" y="2142656"/>
                      <a:pt x="2837587" y="2140362"/>
                      <a:pt x="2846658" y="2140034"/>
                    </a:cubicBezTo>
                    <a:close/>
                    <a:moveTo>
                      <a:pt x="4280170" y="2137567"/>
                    </a:moveTo>
                    <a:cubicBezTo>
                      <a:pt x="4289174" y="2137157"/>
                      <a:pt x="4298014" y="2138798"/>
                      <a:pt x="4304563" y="2142737"/>
                    </a:cubicBezTo>
                    <a:lnTo>
                      <a:pt x="4464341" y="2234644"/>
                    </a:lnTo>
                    <a:cubicBezTo>
                      <a:pt x="4476783" y="2241865"/>
                      <a:pt x="4475473" y="2254995"/>
                      <a:pt x="4460412" y="2263529"/>
                    </a:cubicBezTo>
                    <a:lnTo>
                      <a:pt x="4302598" y="2355436"/>
                    </a:lnTo>
                    <a:cubicBezTo>
                      <a:pt x="4287537" y="2363970"/>
                      <a:pt x="4265273" y="2364627"/>
                      <a:pt x="4252176" y="2357405"/>
                    </a:cubicBezTo>
                    <a:lnTo>
                      <a:pt x="4092398" y="2264842"/>
                    </a:lnTo>
                    <a:cubicBezTo>
                      <a:pt x="4079956" y="2257621"/>
                      <a:pt x="4081266" y="2244491"/>
                      <a:pt x="4096327" y="2235957"/>
                    </a:cubicBezTo>
                    <a:lnTo>
                      <a:pt x="4254796" y="2144706"/>
                    </a:lnTo>
                    <a:cubicBezTo>
                      <a:pt x="4261999" y="2140439"/>
                      <a:pt x="4271167" y="2137977"/>
                      <a:pt x="4280170" y="2137567"/>
                    </a:cubicBezTo>
                    <a:close/>
                    <a:moveTo>
                      <a:pt x="3240299" y="2091154"/>
                    </a:moveTo>
                    <a:cubicBezTo>
                      <a:pt x="3249384" y="2090743"/>
                      <a:pt x="3258224" y="2092385"/>
                      <a:pt x="3264773" y="2095995"/>
                    </a:cubicBezTo>
                    <a:lnTo>
                      <a:pt x="3423897" y="2188559"/>
                    </a:lnTo>
                    <a:cubicBezTo>
                      <a:pt x="3436993" y="2196436"/>
                      <a:pt x="3435683" y="2209566"/>
                      <a:pt x="3420622" y="2218100"/>
                    </a:cubicBezTo>
                    <a:lnTo>
                      <a:pt x="3262808" y="2309351"/>
                    </a:lnTo>
                    <a:cubicBezTo>
                      <a:pt x="3247747" y="2317885"/>
                      <a:pt x="3225483" y="2318542"/>
                      <a:pt x="3212386" y="2311320"/>
                    </a:cubicBezTo>
                    <a:lnTo>
                      <a:pt x="3053263" y="2218757"/>
                    </a:lnTo>
                    <a:cubicBezTo>
                      <a:pt x="3040166" y="2211536"/>
                      <a:pt x="3041476" y="2198406"/>
                      <a:pt x="3056537" y="2189872"/>
                    </a:cubicBezTo>
                    <a:lnTo>
                      <a:pt x="3214351" y="2098621"/>
                    </a:lnTo>
                    <a:cubicBezTo>
                      <a:pt x="3221882" y="2094026"/>
                      <a:pt x="3231213" y="2091564"/>
                      <a:pt x="3240299" y="2091154"/>
                    </a:cubicBezTo>
                    <a:close/>
                    <a:moveTo>
                      <a:pt x="3603217" y="2022347"/>
                    </a:moveTo>
                    <a:cubicBezTo>
                      <a:pt x="3612302" y="2021938"/>
                      <a:pt x="3621143" y="2023575"/>
                      <a:pt x="3627691" y="2027502"/>
                    </a:cubicBezTo>
                    <a:lnTo>
                      <a:pt x="3786815" y="2119803"/>
                    </a:lnTo>
                    <a:cubicBezTo>
                      <a:pt x="3799911" y="2127004"/>
                      <a:pt x="3797947" y="2139441"/>
                      <a:pt x="3782886" y="2148606"/>
                    </a:cubicBezTo>
                    <a:lnTo>
                      <a:pt x="3625071" y="2239597"/>
                    </a:lnTo>
                    <a:cubicBezTo>
                      <a:pt x="3610665" y="2248107"/>
                      <a:pt x="3587746" y="2249416"/>
                      <a:pt x="3575304" y="2241561"/>
                    </a:cubicBezTo>
                    <a:lnTo>
                      <a:pt x="3415526" y="2149915"/>
                    </a:lnTo>
                    <a:cubicBezTo>
                      <a:pt x="3403084" y="2142060"/>
                      <a:pt x="3404394" y="2128967"/>
                      <a:pt x="3418800" y="2120457"/>
                    </a:cubicBezTo>
                    <a:lnTo>
                      <a:pt x="3577269" y="2029466"/>
                    </a:lnTo>
                    <a:cubicBezTo>
                      <a:pt x="3584799" y="2025211"/>
                      <a:pt x="3594131" y="2022756"/>
                      <a:pt x="3603217" y="2022347"/>
                    </a:cubicBezTo>
                    <a:close/>
                    <a:moveTo>
                      <a:pt x="4032382" y="1996023"/>
                    </a:moveTo>
                    <a:cubicBezTo>
                      <a:pt x="4041468" y="1995694"/>
                      <a:pt x="4050309" y="1997336"/>
                      <a:pt x="4056857" y="2000946"/>
                    </a:cubicBezTo>
                    <a:lnTo>
                      <a:pt x="4215981" y="2093510"/>
                    </a:lnTo>
                    <a:cubicBezTo>
                      <a:pt x="4229077" y="2100731"/>
                      <a:pt x="4227113" y="2113861"/>
                      <a:pt x="4212052" y="2122395"/>
                    </a:cubicBezTo>
                    <a:lnTo>
                      <a:pt x="4054237" y="2214302"/>
                    </a:lnTo>
                    <a:cubicBezTo>
                      <a:pt x="4039831" y="2222180"/>
                      <a:pt x="4017567" y="2223493"/>
                      <a:pt x="4004470" y="2216271"/>
                    </a:cubicBezTo>
                    <a:lnTo>
                      <a:pt x="3844692" y="2123708"/>
                    </a:lnTo>
                    <a:cubicBezTo>
                      <a:pt x="3832250" y="2115830"/>
                      <a:pt x="3833560" y="2103357"/>
                      <a:pt x="3848621" y="2094166"/>
                    </a:cubicBezTo>
                    <a:lnTo>
                      <a:pt x="4006435" y="2002916"/>
                    </a:lnTo>
                    <a:cubicBezTo>
                      <a:pt x="4013965" y="1998649"/>
                      <a:pt x="4023297" y="1996351"/>
                      <a:pt x="4032382" y="1996023"/>
                    </a:cubicBezTo>
                    <a:close/>
                    <a:moveTo>
                      <a:pt x="2512321" y="1947459"/>
                    </a:moveTo>
                    <a:cubicBezTo>
                      <a:pt x="2521456" y="1947050"/>
                      <a:pt x="2530265" y="1948687"/>
                      <a:pt x="2536463" y="1952614"/>
                    </a:cubicBezTo>
                    <a:lnTo>
                      <a:pt x="2790931" y="2099903"/>
                    </a:lnTo>
                    <a:cubicBezTo>
                      <a:pt x="2803329" y="2107104"/>
                      <a:pt x="2802024" y="2120196"/>
                      <a:pt x="2787016" y="2128706"/>
                    </a:cubicBezTo>
                    <a:lnTo>
                      <a:pt x="2599754" y="2237373"/>
                    </a:lnTo>
                    <a:cubicBezTo>
                      <a:pt x="2584747" y="2245883"/>
                      <a:pt x="2562562" y="2246537"/>
                      <a:pt x="2550165" y="2239337"/>
                    </a:cubicBezTo>
                    <a:lnTo>
                      <a:pt x="2295044" y="2092048"/>
                    </a:lnTo>
                    <a:cubicBezTo>
                      <a:pt x="2282647" y="2084847"/>
                      <a:pt x="2284604" y="2071755"/>
                      <a:pt x="2298959" y="2063245"/>
                    </a:cubicBezTo>
                    <a:lnTo>
                      <a:pt x="2486222" y="1954578"/>
                    </a:lnTo>
                    <a:cubicBezTo>
                      <a:pt x="2493726" y="1950323"/>
                      <a:pt x="2503187" y="1947868"/>
                      <a:pt x="2512321" y="1947459"/>
                    </a:cubicBezTo>
                    <a:close/>
                    <a:moveTo>
                      <a:pt x="2993618" y="1947057"/>
                    </a:moveTo>
                    <a:cubicBezTo>
                      <a:pt x="3002571" y="1946728"/>
                      <a:pt x="3011199" y="1948370"/>
                      <a:pt x="3017385" y="1951980"/>
                    </a:cubicBezTo>
                    <a:lnTo>
                      <a:pt x="3176268" y="2044544"/>
                    </a:lnTo>
                    <a:cubicBezTo>
                      <a:pt x="3189291" y="2051765"/>
                      <a:pt x="3187989" y="2064895"/>
                      <a:pt x="3172361" y="2073429"/>
                    </a:cubicBezTo>
                    <a:lnTo>
                      <a:pt x="3015432" y="2164679"/>
                    </a:lnTo>
                    <a:cubicBezTo>
                      <a:pt x="3000455" y="2173214"/>
                      <a:pt x="2978316" y="2174527"/>
                      <a:pt x="2965944" y="2167305"/>
                    </a:cubicBezTo>
                    <a:lnTo>
                      <a:pt x="2807713" y="2074742"/>
                    </a:lnTo>
                    <a:cubicBezTo>
                      <a:pt x="2795341" y="2067521"/>
                      <a:pt x="2796643" y="2054391"/>
                      <a:pt x="2810969" y="2045857"/>
                    </a:cubicBezTo>
                    <a:lnTo>
                      <a:pt x="2967898" y="1953950"/>
                    </a:lnTo>
                    <a:cubicBezTo>
                      <a:pt x="2975386" y="1949683"/>
                      <a:pt x="2984665" y="1947385"/>
                      <a:pt x="2993618" y="1947057"/>
                    </a:cubicBezTo>
                    <a:close/>
                    <a:moveTo>
                      <a:pt x="4383446" y="1921460"/>
                    </a:moveTo>
                    <a:cubicBezTo>
                      <a:pt x="4392410" y="1921132"/>
                      <a:pt x="4401047" y="1922772"/>
                      <a:pt x="4407240" y="1926706"/>
                    </a:cubicBezTo>
                    <a:lnTo>
                      <a:pt x="4699933" y="2096539"/>
                    </a:lnTo>
                    <a:cubicBezTo>
                      <a:pt x="4712970" y="2103752"/>
                      <a:pt x="4711015" y="2116866"/>
                      <a:pt x="4696673" y="2125391"/>
                    </a:cubicBezTo>
                    <a:lnTo>
                      <a:pt x="4538919" y="2216536"/>
                    </a:lnTo>
                    <a:cubicBezTo>
                      <a:pt x="4523926" y="2225061"/>
                      <a:pt x="4501762" y="2226372"/>
                      <a:pt x="4489376" y="2218504"/>
                    </a:cubicBezTo>
                    <a:lnTo>
                      <a:pt x="4196684" y="2048671"/>
                    </a:lnTo>
                    <a:cubicBezTo>
                      <a:pt x="4183646" y="2041458"/>
                      <a:pt x="4185602" y="2028343"/>
                      <a:pt x="4199943" y="2019819"/>
                    </a:cubicBezTo>
                    <a:lnTo>
                      <a:pt x="4357697" y="1928017"/>
                    </a:lnTo>
                    <a:cubicBezTo>
                      <a:pt x="4365194" y="1924083"/>
                      <a:pt x="4374483" y="1921788"/>
                      <a:pt x="4383446" y="1921460"/>
                    </a:cubicBezTo>
                    <a:close/>
                    <a:moveTo>
                      <a:pt x="3358473" y="1880811"/>
                    </a:moveTo>
                    <a:cubicBezTo>
                      <a:pt x="3367477" y="1880482"/>
                      <a:pt x="3376318" y="1882124"/>
                      <a:pt x="3382866" y="1885734"/>
                    </a:cubicBezTo>
                    <a:lnTo>
                      <a:pt x="3542644" y="1978298"/>
                    </a:lnTo>
                    <a:cubicBezTo>
                      <a:pt x="3555086" y="1986175"/>
                      <a:pt x="3553777" y="1998649"/>
                      <a:pt x="3538715" y="2007183"/>
                    </a:cubicBezTo>
                    <a:lnTo>
                      <a:pt x="3380901" y="2099090"/>
                    </a:lnTo>
                    <a:cubicBezTo>
                      <a:pt x="3365840" y="2106968"/>
                      <a:pt x="3343576" y="2108281"/>
                      <a:pt x="3330479" y="2100403"/>
                    </a:cubicBezTo>
                    <a:lnTo>
                      <a:pt x="3171356" y="2008496"/>
                    </a:lnTo>
                    <a:cubicBezTo>
                      <a:pt x="3158259" y="2001275"/>
                      <a:pt x="3160223" y="1988145"/>
                      <a:pt x="3174630" y="1979611"/>
                    </a:cubicBezTo>
                    <a:lnTo>
                      <a:pt x="3333099" y="1887704"/>
                    </a:lnTo>
                    <a:cubicBezTo>
                      <a:pt x="3340302" y="1883437"/>
                      <a:pt x="3349470" y="1881139"/>
                      <a:pt x="3358473" y="1880811"/>
                    </a:cubicBezTo>
                    <a:close/>
                    <a:moveTo>
                      <a:pt x="3787883" y="1852418"/>
                    </a:moveTo>
                    <a:cubicBezTo>
                      <a:pt x="3796969" y="1852008"/>
                      <a:pt x="3805809" y="1853649"/>
                      <a:pt x="3812030" y="1857588"/>
                    </a:cubicBezTo>
                    <a:lnTo>
                      <a:pt x="3971808" y="1949495"/>
                    </a:lnTo>
                    <a:cubicBezTo>
                      <a:pt x="3984250" y="1957372"/>
                      <a:pt x="3982941" y="1970502"/>
                      <a:pt x="3968534" y="1979036"/>
                    </a:cubicBezTo>
                    <a:lnTo>
                      <a:pt x="3810065" y="2070287"/>
                    </a:lnTo>
                    <a:cubicBezTo>
                      <a:pt x="3795004" y="2078821"/>
                      <a:pt x="3772740" y="2079478"/>
                      <a:pt x="3759643" y="2072256"/>
                    </a:cubicBezTo>
                    <a:lnTo>
                      <a:pt x="3600520" y="1979693"/>
                    </a:lnTo>
                    <a:cubicBezTo>
                      <a:pt x="3587423" y="1972472"/>
                      <a:pt x="3589387" y="1959998"/>
                      <a:pt x="3603794" y="1950808"/>
                    </a:cubicBezTo>
                    <a:lnTo>
                      <a:pt x="3762263" y="1859557"/>
                    </a:lnTo>
                    <a:cubicBezTo>
                      <a:pt x="3769466" y="1855290"/>
                      <a:pt x="3778797" y="1852828"/>
                      <a:pt x="3787883" y="1852418"/>
                    </a:cubicBezTo>
                    <a:close/>
                    <a:moveTo>
                      <a:pt x="4490681" y="1814541"/>
                    </a:moveTo>
                    <a:cubicBezTo>
                      <a:pt x="4499752" y="1814216"/>
                      <a:pt x="4508577" y="1815841"/>
                      <a:pt x="4515114" y="1819416"/>
                    </a:cubicBezTo>
                    <a:lnTo>
                      <a:pt x="4673971" y="1911071"/>
                    </a:lnTo>
                    <a:cubicBezTo>
                      <a:pt x="4687045" y="1918221"/>
                      <a:pt x="4685084" y="1931222"/>
                      <a:pt x="4670702" y="1939672"/>
                    </a:cubicBezTo>
                    <a:lnTo>
                      <a:pt x="4618404" y="1968923"/>
                    </a:lnTo>
                    <a:cubicBezTo>
                      <a:pt x="4604022" y="1978024"/>
                      <a:pt x="4581141" y="1978674"/>
                      <a:pt x="4568720" y="1971524"/>
                    </a:cubicBezTo>
                    <a:lnTo>
                      <a:pt x="4409210" y="1879869"/>
                    </a:lnTo>
                    <a:cubicBezTo>
                      <a:pt x="4396789" y="1872719"/>
                      <a:pt x="4398096" y="1859718"/>
                      <a:pt x="4412479" y="1851268"/>
                    </a:cubicBezTo>
                    <a:lnTo>
                      <a:pt x="4464777" y="1821366"/>
                    </a:lnTo>
                    <a:cubicBezTo>
                      <a:pt x="4472295" y="1817141"/>
                      <a:pt x="4481611" y="1814866"/>
                      <a:pt x="4490681" y="1814541"/>
                    </a:cubicBezTo>
                    <a:close/>
                    <a:moveTo>
                      <a:pt x="2749606" y="1805923"/>
                    </a:moveTo>
                    <a:cubicBezTo>
                      <a:pt x="2758559" y="1805594"/>
                      <a:pt x="2767350" y="1807236"/>
                      <a:pt x="2773861" y="1810846"/>
                    </a:cubicBezTo>
                    <a:lnTo>
                      <a:pt x="2932093" y="1903410"/>
                    </a:lnTo>
                    <a:cubicBezTo>
                      <a:pt x="2944465" y="1910631"/>
                      <a:pt x="2943163" y="1923761"/>
                      <a:pt x="2928186" y="1932295"/>
                    </a:cubicBezTo>
                    <a:lnTo>
                      <a:pt x="2771908" y="2023545"/>
                    </a:lnTo>
                    <a:cubicBezTo>
                      <a:pt x="2756931" y="2032080"/>
                      <a:pt x="2734792" y="2033393"/>
                      <a:pt x="2722420" y="2026171"/>
                    </a:cubicBezTo>
                    <a:lnTo>
                      <a:pt x="2563537" y="1933608"/>
                    </a:lnTo>
                    <a:cubicBezTo>
                      <a:pt x="2550514" y="1925730"/>
                      <a:pt x="2552467" y="1913257"/>
                      <a:pt x="2566793" y="1904723"/>
                    </a:cubicBezTo>
                    <a:lnTo>
                      <a:pt x="2724373" y="1812816"/>
                    </a:lnTo>
                    <a:cubicBezTo>
                      <a:pt x="2731536" y="1808549"/>
                      <a:pt x="2740652" y="1806251"/>
                      <a:pt x="2749606" y="1805923"/>
                    </a:cubicBezTo>
                    <a:close/>
                    <a:moveTo>
                      <a:pt x="4150474" y="1786162"/>
                    </a:moveTo>
                    <a:cubicBezTo>
                      <a:pt x="4159559" y="1785753"/>
                      <a:pt x="4168399" y="1787390"/>
                      <a:pt x="4174948" y="1791317"/>
                    </a:cubicBezTo>
                    <a:lnTo>
                      <a:pt x="4334072" y="1883618"/>
                    </a:lnTo>
                    <a:cubicBezTo>
                      <a:pt x="4347168" y="1890819"/>
                      <a:pt x="4345204" y="1903911"/>
                      <a:pt x="4330797" y="1912421"/>
                    </a:cubicBezTo>
                    <a:lnTo>
                      <a:pt x="4172983" y="2003412"/>
                    </a:lnTo>
                    <a:cubicBezTo>
                      <a:pt x="4157922" y="2012577"/>
                      <a:pt x="4135658" y="2013231"/>
                      <a:pt x="4122561" y="2006031"/>
                    </a:cubicBezTo>
                    <a:lnTo>
                      <a:pt x="3963438" y="1913730"/>
                    </a:lnTo>
                    <a:cubicBezTo>
                      <a:pt x="3950341" y="1905875"/>
                      <a:pt x="3952305" y="1892782"/>
                      <a:pt x="3966712" y="1884273"/>
                    </a:cubicBezTo>
                    <a:lnTo>
                      <a:pt x="4124526" y="1793281"/>
                    </a:lnTo>
                    <a:cubicBezTo>
                      <a:pt x="4132057" y="1789026"/>
                      <a:pt x="4141388" y="1786571"/>
                      <a:pt x="4150474" y="1786162"/>
                    </a:cubicBezTo>
                    <a:close/>
                    <a:moveTo>
                      <a:pt x="3110685" y="1739675"/>
                    </a:moveTo>
                    <a:cubicBezTo>
                      <a:pt x="3119771" y="1739346"/>
                      <a:pt x="3128612" y="1740988"/>
                      <a:pt x="3135160" y="1744598"/>
                    </a:cubicBezTo>
                    <a:lnTo>
                      <a:pt x="3294284" y="1837162"/>
                    </a:lnTo>
                    <a:cubicBezTo>
                      <a:pt x="3307380" y="1844383"/>
                      <a:pt x="3305416" y="1856856"/>
                      <a:pt x="3291009" y="1866047"/>
                    </a:cubicBezTo>
                    <a:lnTo>
                      <a:pt x="3132540" y="1957297"/>
                    </a:lnTo>
                    <a:cubicBezTo>
                      <a:pt x="3118134" y="1965832"/>
                      <a:pt x="3095870" y="1967145"/>
                      <a:pt x="3082773" y="1959267"/>
                    </a:cubicBezTo>
                    <a:lnTo>
                      <a:pt x="2922995" y="1867360"/>
                    </a:lnTo>
                    <a:cubicBezTo>
                      <a:pt x="2910553" y="1860139"/>
                      <a:pt x="2911863" y="1847009"/>
                      <a:pt x="2926924" y="1838475"/>
                    </a:cubicBezTo>
                    <a:lnTo>
                      <a:pt x="3084738" y="1746568"/>
                    </a:lnTo>
                    <a:cubicBezTo>
                      <a:pt x="3092268" y="1742301"/>
                      <a:pt x="3101600" y="1740003"/>
                      <a:pt x="3110685" y="1739675"/>
                    </a:cubicBezTo>
                    <a:close/>
                    <a:moveTo>
                      <a:pt x="3542732" y="1711282"/>
                    </a:moveTo>
                    <a:cubicBezTo>
                      <a:pt x="3551817" y="1710872"/>
                      <a:pt x="3560658" y="1712513"/>
                      <a:pt x="3567206" y="1716452"/>
                    </a:cubicBezTo>
                    <a:lnTo>
                      <a:pt x="3726330" y="1808359"/>
                    </a:lnTo>
                    <a:cubicBezTo>
                      <a:pt x="3739426" y="1815580"/>
                      <a:pt x="3737462" y="1828710"/>
                      <a:pt x="3723055" y="1837244"/>
                    </a:cubicBezTo>
                    <a:lnTo>
                      <a:pt x="3565241" y="1929151"/>
                    </a:lnTo>
                    <a:cubicBezTo>
                      <a:pt x="3550180" y="1937685"/>
                      <a:pt x="3527916" y="1938342"/>
                      <a:pt x="3514819" y="1931120"/>
                    </a:cubicBezTo>
                    <a:lnTo>
                      <a:pt x="3355696" y="1838557"/>
                    </a:lnTo>
                    <a:cubicBezTo>
                      <a:pt x="3342599" y="1831336"/>
                      <a:pt x="3343909" y="1818206"/>
                      <a:pt x="3358970" y="1809672"/>
                    </a:cubicBezTo>
                    <a:lnTo>
                      <a:pt x="3516784" y="1718421"/>
                    </a:lnTo>
                    <a:cubicBezTo>
                      <a:pt x="3524315" y="1714154"/>
                      <a:pt x="3533646" y="1711692"/>
                      <a:pt x="3542732" y="1711282"/>
                    </a:cubicBezTo>
                    <a:close/>
                    <a:moveTo>
                      <a:pt x="4245854" y="1673848"/>
                    </a:moveTo>
                    <a:cubicBezTo>
                      <a:pt x="4254925" y="1673436"/>
                      <a:pt x="4263750" y="1675083"/>
                      <a:pt x="4270288" y="1679035"/>
                    </a:cubicBezTo>
                    <a:lnTo>
                      <a:pt x="4429145" y="1771249"/>
                    </a:lnTo>
                    <a:cubicBezTo>
                      <a:pt x="4442219" y="1778494"/>
                      <a:pt x="4440258" y="1791668"/>
                      <a:pt x="4425876" y="1800230"/>
                    </a:cubicBezTo>
                    <a:lnTo>
                      <a:pt x="4373577" y="1830529"/>
                    </a:lnTo>
                    <a:cubicBezTo>
                      <a:pt x="4359195" y="1839092"/>
                      <a:pt x="4336315" y="1840409"/>
                      <a:pt x="4323894" y="1832505"/>
                    </a:cubicBezTo>
                    <a:lnTo>
                      <a:pt x="4164383" y="1740291"/>
                    </a:lnTo>
                    <a:cubicBezTo>
                      <a:pt x="4151962" y="1732387"/>
                      <a:pt x="4153269" y="1719873"/>
                      <a:pt x="4167652" y="1710651"/>
                    </a:cubicBezTo>
                    <a:lnTo>
                      <a:pt x="4219950" y="1681011"/>
                    </a:lnTo>
                    <a:cubicBezTo>
                      <a:pt x="4227468" y="1676730"/>
                      <a:pt x="4236784" y="1674260"/>
                      <a:pt x="4245854" y="1673848"/>
                    </a:cubicBezTo>
                    <a:close/>
                    <a:moveTo>
                      <a:pt x="2503023" y="1664786"/>
                    </a:moveTo>
                    <a:cubicBezTo>
                      <a:pt x="2512027" y="1664458"/>
                      <a:pt x="2520868" y="1666100"/>
                      <a:pt x="2527416" y="1669710"/>
                    </a:cubicBezTo>
                    <a:lnTo>
                      <a:pt x="2687194" y="1762274"/>
                    </a:lnTo>
                    <a:cubicBezTo>
                      <a:pt x="2699636" y="1770151"/>
                      <a:pt x="2698327" y="1783281"/>
                      <a:pt x="2683265" y="1791159"/>
                    </a:cubicBezTo>
                    <a:lnTo>
                      <a:pt x="2524796" y="1883066"/>
                    </a:lnTo>
                    <a:cubicBezTo>
                      <a:pt x="2510390" y="1891600"/>
                      <a:pt x="2487471" y="1892257"/>
                      <a:pt x="2475029" y="1885035"/>
                    </a:cubicBezTo>
                    <a:lnTo>
                      <a:pt x="2315251" y="1792472"/>
                    </a:lnTo>
                    <a:cubicBezTo>
                      <a:pt x="2302809" y="1785251"/>
                      <a:pt x="2304119" y="1772121"/>
                      <a:pt x="2319180" y="1763587"/>
                    </a:cubicBezTo>
                    <a:lnTo>
                      <a:pt x="2477649" y="1671680"/>
                    </a:lnTo>
                    <a:cubicBezTo>
                      <a:pt x="2484852" y="1667413"/>
                      <a:pt x="2494020" y="1665115"/>
                      <a:pt x="2503023" y="1664786"/>
                    </a:cubicBezTo>
                    <a:close/>
                    <a:moveTo>
                      <a:pt x="3905568" y="1644954"/>
                    </a:moveTo>
                    <a:cubicBezTo>
                      <a:pt x="3914571" y="1644461"/>
                      <a:pt x="3923248" y="1645938"/>
                      <a:pt x="3929469" y="1649549"/>
                    </a:cubicBezTo>
                    <a:lnTo>
                      <a:pt x="4089248" y="1742113"/>
                    </a:lnTo>
                    <a:cubicBezTo>
                      <a:pt x="4102344" y="1749334"/>
                      <a:pt x="4100380" y="1762464"/>
                      <a:pt x="4085973" y="1770998"/>
                    </a:cubicBezTo>
                    <a:lnTo>
                      <a:pt x="3927504" y="1862905"/>
                    </a:lnTo>
                    <a:cubicBezTo>
                      <a:pt x="3912443" y="1871439"/>
                      <a:pt x="3890179" y="1872096"/>
                      <a:pt x="3877737" y="1864874"/>
                    </a:cubicBezTo>
                    <a:lnTo>
                      <a:pt x="3717959" y="1772311"/>
                    </a:lnTo>
                    <a:cubicBezTo>
                      <a:pt x="3705517" y="1765090"/>
                      <a:pt x="3706827" y="1751960"/>
                      <a:pt x="3721233" y="1743426"/>
                    </a:cubicBezTo>
                    <a:lnTo>
                      <a:pt x="3879702" y="1652175"/>
                    </a:lnTo>
                    <a:cubicBezTo>
                      <a:pt x="3887232" y="1647908"/>
                      <a:pt x="3896564" y="1645446"/>
                      <a:pt x="3905568" y="1644954"/>
                    </a:cubicBezTo>
                    <a:close/>
                    <a:moveTo>
                      <a:pt x="2865062" y="1598541"/>
                    </a:moveTo>
                    <a:cubicBezTo>
                      <a:pt x="2874097" y="1598212"/>
                      <a:pt x="2882887" y="1599854"/>
                      <a:pt x="2889073" y="1603464"/>
                    </a:cubicBezTo>
                    <a:lnTo>
                      <a:pt x="3047305" y="1696028"/>
                    </a:lnTo>
                    <a:cubicBezTo>
                      <a:pt x="3059677" y="1703249"/>
                      <a:pt x="3058375" y="1715722"/>
                      <a:pt x="3044049" y="1724913"/>
                    </a:cubicBezTo>
                    <a:lnTo>
                      <a:pt x="2887120" y="1816163"/>
                    </a:lnTo>
                    <a:cubicBezTo>
                      <a:pt x="2872143" y="1824698"/>
                      <a:pt x="2850004" y="1826011"/>
                      <a:pt x="2836981" y="1818133"/>
                    </a:cubicBezTo>
                    <a:lnTo>
                      <a:pt x="2678749" y="1725569"/>
                    </a:lnTo>
                    <a:cubicBezTo>
                      <a:pt x="2665726" y="1718348"/>
                      <a:pt x="2667679" y="1705218"/>
                      <a:pt x="2682656" y="1696684"/>
                    </a:cubicBezTo>
                    <a:lnTo>
                      <a:pt x="2839585" y="1605434"/>
                    </a:lnTo>
                    <a:cubicBezTo>
                      <a:pt x="2846748" y="1601167"/>
                      <a:pt x="2856027" y="1598869"/>
                      <a:pt x="2865062" y="1598541"/>
                    </a:cubicBezTo>
                    <a:close/>
                    <a:moveTo>
                      <a:pt x="3295268" y="1570066"/>
                    </a:moveTo>
                    <a:cubicBezTo>
                      <a:pt x="3304257" y="1569738"/>
                      <a:pt x="3312920" y="1571379"/>
                      <a:pt x="3319130" y="1575318"/>
                    </a:cubicBezTo>
                    <a:lnTo>
                      <a:pt x="3478646" y="1667225"/>
                    </a:lnTo>
                    <a:cubicBezTo>
                      <a:pt x="3491721" y="1674446"/>
                      <a:pt x="3489760" y="1687576"/>
                      <a:pt x="3475377" y="1696110"/>
                    </a:cubicBezTo>
                    <a:lnTo>
                      <a:pt x="3317169" y="1788017"/>
                    </a:lnTo>
                    <a:cubicBezTo>
                      <a:pt x="3302787" y="1796551"/>
                      <a:pt x="3279905" y="1797208"/>
                      <a:pt x="3267484" y="1789986"/>
                    </a:cubicBezTo>
                    <a:lnTo>
                      <a:pt x="3107968" y="1697423"/>
                    </a:lnTo>
                    <a:cubicBezTo>
                      <a:pt x="3094893" y="1689545"/>
                      <a:pt x="3096854" y="1677072"/>
                      <a:pt x="3111891" y="1668538"/>
                    </a:cubicBezTo>
                    <a:lnTo>
                      <a:pt x="3269445" y="1576631"/>
                    </a:lnTo>
                    <a:cubicBezTo>
                      <a:pt x="3276963" y="1572692"/>
                      <a:pt x="3286279" y="1570394"/>
                      <a:pt x="3295268" y="1570066"/>
                    </a:cubicBezTo>
                    <a:close/>
                    <a:moveTo>
                      <a:pt x="4003909" y="1532301"/>
                    </a:moveTo>
                    <a:cubicBezTo>
                      <a:pt x="4012980" y="1531972"/>
                      <a:pt x="4021805" y="1533619"/>
                      <a:pt x="4028343" y="1537241"/>
                    </a:cubicBezTo>
                    <a:lnTo>
                      <a:pt x="4187200" y="1630115"/>
                    </a:lnTo>
                    <a:cubicBezTo>
                      <a:pt x="4200274" y="1637361"/>
                      <a:pt x="4198313" y="1649875"/>
                      <a:pt x="4183931" y="1659097"/>
                    </a:cubicBezTo>
                    <a:lnTo>
                      <a:pt x="4131632" y="1689396"/>
                    </a:lnTo>
                    <a:cubicBezTo>
                      <a:pt x="4117250" y="1697959"/>
                      <a:pt x="4094370" y="1699276"/>
                      <a:pt x="4081949" y="1691372"/>
                    </a:cubicBezTo>
                    <a:lnTo>
                      <a:pt x="3922438" y="1598499"/>
                    </a:lnTo>
                    <a:cubicBezTo>
                      <a:pt x="3910017" y="1591253"/>
                      <a:pt x="3911324" y="1578080"/>
                      <a:pt x="3926360" y="1569517"/>
                    </a:cubicBezTo>
                    <a:lnTo>
                      <a:pt x="3978005" y="1539217"/>
                    </a:lnTo>
                    <a:cubicBezTo>
                      <a:pt x="3985523" y="1534936"/>
                      <a:pt x="3994839" y="1532631"/>
                      <a:pt x="4003909" y="1532301"/>
                    </a:cubicBezTo>
                    <a:close/>
                    <a:moveTo>
                      <a:pt x="2258198" y="1523654"/>
                    </a:moveTo>
                    <a:cubicBezTo>
                      <a:pt x="2267202" y="1523325"/>
                      <a:pt x="2276043" y="1524967"/>
                      <a:pt x="2282591" y="1528577"/>
                    </a:cubicBezTo>
                    <a:lnTo>
                      <a:pt x="2442369" y="1621141"/>
                    </a:lnTo>
                    <a:cubicBezTo>
                      <a:pt x="2454811" y="1628362"/>
                      <a:pt x="2453501" y="1641492"/>
                      <a:pt x="2438440" y="1650026"/>
                    </a:cubicBezTo>
                    <a:lnTo>
                      <a:pt x="2280626" y="1741933"/>
                    </a:lnTo>
                    <a:cubicBezTo>
                      <a:pt x="2266220" y="1749811"/>
                      <a:pt x="2243301" y="1751124"/>
                      <a:pt x="2230204" y="1743902"/>
                    </a:cubicBezTo>
                    <a:lnTo>
                      <a:pt x="2071081" y="1651339"/>
                    </a:lnTo>
                    <a:cubicBezTo>
                      <a:pt x="2057984" y="1644118"/>
                      <a:pt x="2059948" y="1630988"/>
                      <a:pt x="2075010" y="1622454"/>
                    </a:cubicBezTo>
                    <a:lnTo>
                      <a:pt x="2232824" y="1530547"/>
                    </a:lnTo>
                    <a:cubicBezTo>
                      <a:pt x="2240027" y="1526280"/>
                      <a:pt x="2249195" y="1523982"/>
                      <a:pt x="2258198" y="1523654"/>
                    </a:cubicBezTo>
                    <a:close/>
                    <a:moveTo>
                      <a:pt x="3657944" y="1503819"/>
                    </a:moveTo>
                    <a:cubicBezTo>
                      <a:pt x="3667029" y="1503327"/>
                      <a:pt x="3675870" y="1504804"/>
                      <a:pt x="3682418" y="1508414"/>
                    </a:cubicBezTo>
                    <a:lnTo>
                      <a:pt x="3841542" y="1600978"/>
                    </a:lnTo>
                    <a:cubicBezTo>
                      <a:pt x="3854638" y="1608199"/>
                      <a:pt x="3853329" y="1621329"/>
                      <a:pt x="3838267" y="1629863"/>
                    </a:cubicBezTo>
                    <a:lnTo>
                      <a:pt x="3680453" y="1721113"/>
                    </a:lnTo>
                    <a:cubicBezTo>
                      <a:pt x="3665392" y="1730304"/>
                      <a:pt x="3643128" y="1730961"/>
                      <a:pt x="3630031" y="1723739"/>
                    </a:cubicBezTo>
                    <a:lnTo>
                      <a:pt x="3470908" y="1631176"/>
                    </a:lnTo>
                    <a:cubicBezTo>
                      <a:pt x="3457811" y="1623955"/>
                      <a:pt x="3459775" y="1610825"/>
                      <a:pt x="3474182" y="1602291"/>
                    </a:cubicBezTo>
                    <a:lnTo>
                      <a:pt x="3631996" y="1511040"/>
                    </a:lnTo>
                    <a:cubicBezTo>
                      <a:pt x="3639526" y="1506773"/>
                      <a:pt x="3648858" y="1504311"/>
                      <a:pt x="3657944" y="1503819"/>
                    </a:cubicBezTo>
                    <a:close/>
                    <a:moveTo>
                      <a:pt x="2621035" y="1454526"/>
                    </a:moveTo>
                    <a:cubicBezTo>
                      <a:pt x="2630120" y="1454197"/>
                      <a:pt x="2638961" y="1455839"/>
                      <a:pt x="2645509" y="1459449"/>
                    </a:cubicBezTo>
                    <a:lnTo>
                      <a:pt x="2804633" y="1552013"/>
                    </a:lnTo>
                    <a:cubicBezTo>
                      <a:pt x="2817729" y="1559890"/>
                      <a:pt x="2816419" y="1572364"/>
                      <a:pt x="2801358" y="1581554"/>
                    </a:cubicBezTo>
                    <a:lnTo>
                      <a:pt x="2643544" y="1672805"/>
                    </a:lnTo>
                    <a:cubicBezTo>
                      <a:pt x="2628483" y="1681339"/>
                      <a:pt x="2606219" y="1681996"/>
                      <a:pt x="2593122" y="1674774"/>
                    </a:cubicBezTo>
                    <a:lnTo>
                      <a:pt x="2433999" y="1582211"/>
                    </a:lnTo>
                    <a:cubicBezTo>
                      <a:pt x="2420902" y="1574990"/>
                      <a:pt x="2422212" y="1561860"/>
                      <a:pt x="2437273" y="1553326"/>
                    </a:cubicBezTo>
                    <a:lnTo>
                      <a:pt x="2595087" y="1461419"/>
                    </a:lnTo>
                    <a:cubicBezTo>
                      <a:pt x="2602618" y="1457152"/>
                      <a:pt x="2611949" y="1454854"/>
                      <a:pt x="2621035" y="1454526"/>
                    </a:cubicBezTo>
                    <a:close/>
                    <a:moveTo>
                      <a:pt x="3048424" y="1426125"/>
                    </a:moveTo>
                    <a:cubicBezTo>
                      <a:pt x="3057459" y="1425716"/>
                      <a:pt x="3066250" y="1427353"/>
                      <a:pt x="3072761" y="1431280"/>
                    </a:cubicBezTo>
                    <a:lnTo>
                      <a:pt x="3230993" y="1522926"/>
                    </a:lnTo>
                    <a:cubicBezTo>
                      <a:pt x="3244016" y="1530782"/>
                      <a:pt x="3242714" y="1543874"/>
                      <a:pt x="3227737" y="1552384"/>
                    </a:cubicBezTo>
                    <a:lnTo>
                      <a:pt x="3070808" y="1643375"/>
                    </a:lnTo>
                    <a:cubicBezTo>
                      <a:pt x="3055831" y="1651885"/>
                      <a:pt x="3033692" y="1653194"/>
                      <a:pt x="3020669" y="1645339"/>
                    </a:cubicBezTo>
                    <a:lnTo>
                      <a:pt x="2863088" y="1553039"/>
                    </a:lnTo>
                    <a:cubicBezTo>
                      <a:pt x="2850065" y="1545838"/>
                      <a:pt x="2852018" y="1533400"/>
                      <a:pt x="2866344" y="1524235"/>
                    </a:cubicBezTo>
                    <a:lnTo>
                      <a:pt x="3022622" y="1433244"/>
                    </a:lnTo>
                    <a:cubicBezTo>
                      <a:pt x="3030111" y="1428989"/>
                      <a:pt x="3039390" y="1426534"/>
                      <a:pt x="3048424" y="1426125"/>
                    </a:cubicBezTo>
                    <a:close/>
                    <a:moveTo>
                      <a:pt x="3759084" y="1391578"/>
                    </a:moveTo>
                    <a:cubicBezTo>
                      <a:pt x="3768155" y="1391166"/>
                      <a:pt x="3776980" y="1392813"/>
                      <a:pt x="3783517" y="1396765"/>
                    </a:cubicBezTo>
                    <a:lnTo>
                      <a:pt x="3942374" y="1489638"/>
                    </a:lnTo>
                    <a:cubicBezTo>
                      <a:pt x="3955448" y="1496883"/>
                      <a:pt x="3953487" y="1510056"/>
                      <a:pt x="3939105" y="1517960"/>
                    </a:cubicBezTo>
                    <a:lnTo>
                      <a:pt x="3886807" y="1548259"/>
                    </a:lnTo>
                    <a:cubicBezTo>
                      <a:pt x="3872425" y="1557481"/>
                      <a:pt x="3849544" y="1558139"/>
                      <a:pt x="3837123" y="1550894"/>
                    </a:cubicBezTo>
                    <a:lnTo>
                      <a:pt x="3677613" y="1458021"/>
                    </a:lnTo>
                    <a:cubicBezTo>
                      <a:pt x="3665192" y="1450776"/>
                      <a:pt x="3666499" y="1437603"/>
                      <a:pt x="3681535" y="1429040"/>
                    </a:cubicBezTo>
                    <a:lnTo>
                      <a:pt x="3733180" y="1398741"/>
                    </a:lnTo>
                    <a:cubicBezTo>
                      <a:pt x="3740698" y="1394460"/>
                      <a:pt x="3750014" y="1391990"/>
                      <a:pt x="3759084" y="1391578"/>
                    </a:cubicBezTo>
                    <a:close/>
                    <a:moveTo>
                      <a:pt x="2013371" y="1379638"/>
                    </a:moveTo>
                    <a:cubicBezTo>
                      <a:pt x="2022375" y="1379309"/>
                      <a:pt x="2031216" y="1380951"/>
                      <a:pt x="2037764" y="1384561"/>
                    </a:cubicBezTo>
                    <a:lnTo>
                      <a:pt x="2197542" y="1477125"/>
                    </a:lnTo>
                    <a:cubicBezTo>
                      <a:pt x="2209984" y="1484346"/>
                      <a:pt x="2208675" y="1497476"/>
                      <a:pt x="2193613" y="1506010"/>
                    </a:cubicBezTo>
                    <a:lnTo>
                      <a:pt x="2035144" y="1597260"/>
                    </a:lnTo>
                    <a:cubicBezTo>
                      <a:pt x="2020738" y="1605795"/>
                      <a:pt x="1998474" y="1607108"/>
                      <a:pt x="1985377" y="1599886"/>
                    </a:cubicBezTo>
                    <a:lnTo>
                      <a:pt x="1825599" y="1507323"/>
                    </a:lnTo>
                    <a:cubicBezTo>
                      <a:pt x="1813157" y="1500102"/>
                      <a:pt x="1814467" y="1486972"/>
                      <a:pt x="1829528" y="1477781"/>
                    </a:cubicBezTo>
                    <a:lnTo>
                      <a:pt x="1987997" y="1386531"/>
                    </a:lnTo>
                    <a:cubicBezTo>
                      <a:pt x="1995200" y="1382264"/>
                      <a:pt x="2004368" y="1379966"/>
                      <a:pt x="2013371" y="1379638"/>
                    </a:cubicBezTo>
                    <a:close/>
                    <a:moveTo>
                      <a:pt x="3413117" y="1359475"/>
                    </a:moveTo>
                    <a:cubicBezTo>
                      <a:pt x="3422202" y="1359146"/>
                      <a:pt x="3431042" y="1360788"/>
                      <a:pt x="3437591" y="1364398"/>
                    </a:cubicBezTo>
                    <a:lnTo>
                      <a:pt x="3597369" y="1456962"/>
                    </a:lnTo>
                    <a:cubicBezTo>
                      <a:pt x="3609811" y="1464183"/>
                      <a:pt x="3608501" y="1477313"/>
                      <a:pt x="3593440" y="1485847"/>
                    </a:cubicBezTo>
                    <a:lnTo>
                      <a:pt x="3434971" y="1577097"/>
                    </a:lnTo>
                    <a:cubicBezTo>
                      <a:pt x="3420565" y="1585632"/>
                      <a:pt x="3397646" y="1586945"/>
                      <a:pt x="3385204" y="1579067"/>
                    </a:cubicBezTo>
                    <a:lnTo>
                      <a:pt x="3225426" y="1487160"/>
                    </a:lnTo>
                    <a:cubicBezTo>
                      <a:pt x="3212984" y="1479282"/>
                      <a:pt x="3214294" y="1466152"/>
                      <a:pt x="3228700" y="1457618"/>
                    </a:cubicBezTo>
                    <a:lnTo>
                      <a:pt x="3387169" y="1366368"/>
                    </a:lnTo>
                    <a:cubicBezTo>
                      <a:pt x="3394700" y="1362101"/>
                      <a:pt x="3404031" y="1359803"/>
                      <a:pt x="3413117" y="1359475"/>
                    </a:cubicBezTo>
                    <a:close/>
                    <a:moveTo>
                      <a:pt x="2373571" y="1313390"/>
                    </a:moveTo>
                    <a:cubicBezTo>
                      <a:pt x="2382560" y="1313061"/>
                      <a:pt x="2391222" y="1314702"/>
                      <a:pt x="2397433" y="1318313"/>
                    </a:cubicBezTo>
                    <a:lnTo>
                      <a:pt x="2556949" y="1410877"/>
                    </a:lnTo>
                    <a:cubicBezTo>
                      <a:pt x="2570024" y="1418098"/>
                      <a:pt x="2568063" y="1431228"/>
                      <a:pt x="2553680" y="1439762"/>
                    </a:cubicBezTo>
                    <a:lnTo>
                      <a:pt x="2395472" y="1531012"/>
                    </a:lnTo>
                    <a:cubicBezTo>
                      <a:pt x="2380436" y="1539547"/>
                      <a:pt x="2358208" y="1540860"/>
                      <a:pt x="2345787" y="1532982"/>
                    </a:cubicBezTo>
                    <a:lnTo>
                      <a:pt x="2186271" y="1441075"/>
                    </a:lnTo>
                    <a:cubicBezTo>
                      <a:pt x="2173196" y="1433854"/>
                      <a:pt x="2175157" y="1420724"/>
                      <a:pt x="2190194" y="1412190"/>
                    </a:cubicBezTo>
                    <a:lnTo>
                      <a:pt x="2347748" y="1320283"/>
                    </a:lnTo>
                    <a:cubicBezTo>
                      <a:pt x="2355266" y="1316016"/>
                      <a:pt x="2364582" y="1313718"/>
                      <a:pt x="2373571" y="1313390"/>
                    </a:cubicBezTo>
                    <a:close/>
                    <a:moveTo>
                      <a:pt x="2804170" y="1284997"/>
                    </a:moveTo>
                    <a:cubicBezTo>
                      <a:pt x="2813123" y="1284587"/>
                      <a:pt x="2821751" y="1286228"/>
                      <a:pt x="2827937" y="1290167"/>
                    </a:cubicBezTo>
                    <a:lnTo>
                      <a:pt x="2986168" y="1382074"/>
                    </a:lnTo>
                    <a:cubicBezTo>
                      <a:pt x="2999191" y="1389295"/>
                      <a:pt x="2997889" y="1402425"/>
                      <a:pt x="2982912" y="1410959"/>
                    </a:cubicBezTo>
                    <a:lnTo>
                      <a:pt x="2825983" y="1502866"/>
                    </a:lnTo>
                    <a:cubicBezTo>
                      <a:pt x="2811007" y="1511400"/>
                      <a:pt x="2788867" y="1512057"/>
                      <a:pt x="2776495" y="1504835"/>
                    </a:cubicBezTo>
                    <a:lnTo>
                      <a:pt x="2617613" y="1412272"/>
                    </a:lnTo>
                    <a:cubicBezTo>
                      <a:pt x="2605241" y="1405051"/>
                      <a:pt x="2606543" y="1391921"/>
                      <a:pt x="2621520" y="1383387"/>
                    </a:cubicBezTo>
                    <a:lnTo>
                      <a:pt x="2778449" y="1292136"/>
                    </a:lnTo>
                    <a:cubicBezTo>
                      <a:pt x="2785937" y="1287869"/>
                      <a:pt x="2795216" y="1285407"/>
                      <a:pt x="2804170" y="1284997"/>
                    </a:cubicBezTo>
                    <a:close/>
                    <a:moveTo>
                      <a:pt x="1319915" y="1258658"/>
                    </a:moveTo>
                    <a:cubicBezTo>
                      <a:pt x="1328875" y="1258331"/>
                      <a:pt x="1337510" y="1259967"/>
                      <a:pt x="1343701" y="1263568"/>
                    </a:cubicBezTo>
                    <a:lnTo>
                      <a:pt x="1484904" y="1345400"/>
                    </a:lnTo>
                    <a:lnTo>
                      <a:pt x="2452619" y="1903856"/>
                    </a:lnTo>
                    <a:cubicBezTo>
                      <a:pt x="2466334" y="1911034"/>
                      <a:pt x="2466334" y="1924085"/>
                      <a:pt x="2452619" y="1931915"/>
                    </a:cubicBezTo>
                    <a:lnTo>
                      <a:pt x="2260605" y="2042849"/>
                    </a:lnTo>
                    <a:cubicBezTo>
                      <a:pt x="2246890" y="2050679"/>
                      <a:pt x="2224684" y="2050679"/>
                      <a:pt x="2210968" y="2042849"/>
                    </a:cubicBezTo>
                    <a:lnTo>
                      <a:pt x="1358287" y="1550486"/>
                    </a:lnTo>
                    <a:lnTo>
                      <a:pt x="1357386" y="1550288"/>
                    </a:lnTo>
                    <a:lnTo>
                      <a:pt x="1103235" y="1403655"/>
                    </a:lnTo>
                    <a:cubicBezTo>
                      <a:pt x="1090202" y="1395799"/>
                      <a:pt x="1092157" y="1382707"/>
                      <a:pt x="1106494" y="1374852"/>
                    </a:cubicBezTo>
                    <a:lnTo>
                      <a:pt x="1294174" y="1265532"/>
                    </a:lnTo>
                    <a:cubicBezTo>
                      <a:pt x="1301668" y="1261277"/>
                      <a:pt x="1310954" y="1258986"/>
                      <a:pt x="1319915" y="1258658"/>
                    </a:cubicBezTo>
                    <a:close/>
                    <a:moveTo>
                      <a:pt x="1765908" y="1238479"/>
                    </a:moveTo>
                    <a:cubicBezTo>
                      <a:pt x="1774979" y="1238154"/>
                      <a:pt x="1783805" y="1239780"/>
                      <a:pt x="1790342" y="1243355"/>
                    </a:cubicBezTo>
                    <a:lnTo>
                      <a:pt x="1949204" y="1335024"/>
                    </a:lnTo>
                    <a:cubicBezTo>
                      <a:pt x="1962279" y="1342175"/>
                      <a:pt x="1960318" y="1355178"/>
                      <a:pt x="1945935" y="1363629"/>
                    </a:cubicBezTo>
                    <a:lnTo>
                      <a:pt x="1788381" y="1453997"/>
                    </a:lnTo>
                    <a:cubicBezTo>
                      <a:pt x="1772691" y="1462449"/>
                      <a:pt x="1751117" y="1463099"/>
                      <a:pt x="1738042" y="1455947"/>
                    </a:cubicBezTo>
                    <a:lnTo>
                      <a:pt x="1578526" y="1364279"/>
                    </a:lnTo>
                    <a:cubicBezTo>
                      <a:pt x="1565451" y="1357128"/>
                      <a:pt x="1567412" y="1344125"/>
                      <a:pt x="1582449" y="1335674"/>
                    </a:cubicBezTo>
                    <a:lnTo>
                      <a:pt x="1740003" y="1245306"/>
                    </a:lnTo>
                    <a:cubicBezTo>
                      <a:pt x="1747521" y="1241080"/>
                      <a:pt x="1756837" y="1238804"/>
                      <a:pt x="1765908" y="1238479"/>
                    </a:cubicBezTo>
                    <a:close/>
                    <a:moveTo>
                      <a:pt x="3165163" y="1218751"/>
                    </a:moveTo>
                    <a:cubicBezTo>
                      <a:pt x="3174152" y="1218341"/>
                      <a:pt x="3182977" y="1219982"/>
                      <a:pt x="3189515" y="1223921"/>
                    </a:cubicBezTo>
                    <a:lnTo>
                      <a:pt x="3349031" y="1315828"/>
                    </a:lnTo>
                    <a:cubicBezTo>
                      <a:pt x="3362106" y="1323705"/>
                      <a:pt x="3360145" y="1336835"/>
                      <a:pt x="3345109" y="1344713"/>
                    </a:cubicBezTo>
                    <a:lnTo>
                      <a:pt x="3187554" y="1436620"/>
                    </a:lnTo>
                    <a:cubicBezTo>
                      <a:pt x="3172518" y="1445154"/>
                      <a:pt x="3150290" y="1445811"/>
                      <a:pt x="3137869" y="1438589"/>
                    </a:cubicBezTo>
                    <a:lnTo>
                      <a:pt x="2978353" y="1346026"/>
                    </a:lnTo>
                    <a:cubicBezTo>
                      <a:pt x="2965278" y="1338805"/>
                      <a:pt x="2967239" y="1325675"/>
                      <a:pt x="2981622" y="1317141"/>
                    </a:cubicBezTo>
                    <a:lnTo>
                      <a:pt x="3139830" y="1225890"/>
                    </a:lnTo>
                    <a:cubicBezTo>
                      <a:pt x="3147021" y="1221623"/>
                      <a:pt x="3156174" y="1219161"/>
                      <a:pt x="3165163" y="1218751"/>
                    </a:cubicBezTo>
                    <a:close/>
                    <a:moveTo>
                      <a:pt x="2128092" y="1172256"/>
                    </a:moveTo>
                    <a:cubicBezTo>
                      <a:pt x="2137260" y="1171927"/>
                      <a:pt x="2146100" y="1173569"/>
                      <a:pt x="2152321" y="1177179"/>
                    </a:cubicBezTo>
                    <a:lnTo>
                      <a:pt x="2312100" y="1269743"/>
                    </a:lnTo>
                    <a:cubicBezTo>
                      <a:pt x="2325196" y="1276964"/>
                      <a:pt x="2323232" y="1289437"/>
                      <a:pt x="2308171" y="1298628"/>
                    </a:cubicBezTo>
                    <a:lnTo>
                      <a:pt x="2150356" y="1389878"/>
                    </a:lnTo>
                    <a:cubicBezTo>
                      <a:pt x="2135295" y="1398413"/>
                      <a:pt x="2113031" y="1399726"/>
                      <a:pt x="2100589" y="1391848"/>
                    </a:cubicBezTo>
                    <a:lnTo>
                      <a:pt x="1940811" y="1299941"/>
                    </a:lnTo>
                    <a:cubicBezTo>
                      <a:pt x="1928369" y="1292063"/>
                      <a:pt x="1929679" y="1278933"/>
                      <a:pt x="1944085" y="1271056"/>
                    </a:cubicBezTo>
                    <a:lnTo>
                      <a:pt x="2101899" y="1179149"/>
                    </a:lnTo>
                    <a:cubicBezTo>
                      <a:pt x="2109430" y="1174881"/>
                      <a:pt x="2118925" y="1172584"/>
                      <a:pt x="2128092" y="1172256"/>
                    </a:cubicBezTo>
                    <a:close/>
                    <a:moveTo>
                      <a:pt x="2557747" y="1143534"/>
                    </a:moveTo>
                    <a:cubicBezTo>
                      <a:pt x="2566900" y="1143124"/>
                      <a:pt x="2575889" y="1144766"/>
                      <a:pt x="2582426" y="1148376"/>
                    </a:cubicBezTo>
                    <a:lnTo>
                      <a:pt x="2741288" y="1240940"/>
                    </a:lnTo>
                    <a:cubicBezTo>
                      <a:pt x="2754363" y="1248161"/>
                      <a:pt x="2752402" y="1261291"/>
                      <a:pt x="2737366" y="1269825"/>
                    </a:cubicBezTo>
                    <a:lnTo>
                      <a:pt x="2579811" y="1361732"/>
                    </a:lnTo>
                    <a:cubicBezTo>
                      <a:pt x="2564775" y="1370266"/>
                      <a:pt x="2542547" y="1370923"/>
                      <a:pt x="2530126" y="1363701"/>
                    </a:cubicBezTo>
                    <a:lnTo>
                      <a:pt x="2370610" y="1271138"/>
                    </a:lnTo>
                    <a:cubicBezTo>
                      <a:pt x="2357535" y="1263917"/>
                      <a:pt x="2359496" y="1250787"/>
                      <a:pt x="2373879" y="1242253"/>
                    </a:cubicBezTo>
                    <a:lnTo>
                      <a:pt x="2532087" y="1151002"/>
                    </a:lnTo>
                    <a:cubicBezTo>
                      <a:pt x="2539279" y="1146406"/>
                      <a:pt x="2548595" y="1143945"/>
                      <a:pt x="2557747" y="1143534"/>
                    </a:cubicBezTo>
                    <a:close/>
                    <a:moveTo>
                      <a:pt x="1520756" y="1097368"/>
                    </a:moveTo>
                    <a:cubicBezTo>
                      <a:pt x="1529827" y="1097039"/>
                      <a:pt x="1538652" y="1098681"/>
                      <a:pt x="1544863" y="1102291"/>
                    </a:cubicBezTo>
                    <a:lnTo>
                      <a:pt x="1704379" y="1194855"/>
                    </a:lnTo>
                    <a:cubicBezTo>
                      <a:pt x="1717454" y="1202076"/>
                      <a:pt x="1715493" y="1215206"/>
                      <a:pt x="1700457" y="1223740"/>
                    </a:cubicBezTo>
                    <a:lnTo>
                      <a:pt x="1542902" y="1314990"/>
                    </a:lnTo>
                    <a:cubicBezTo>
                      <a:pt x="1527866" y="1323525"/>
                      <a:pt x="1505638" y="1324838"/>
                      <a:pt x="1493217" y="1317616"/>
                    </a:cubicBezTo>
                    <a:lnTo>
                      <a:pt x="1333701" y="1225053"/>
                    </a:lnTo>
                    <a:cubicBezTo>
                      <a:pt x="1320626" y="1217832"/>
                      <a:pt x="1322587" y="1204702"/>
                      <a:pt x="1336970" y="1196168"/>
                    </a:cubicBezTo>
                    <a:lnTo>
                      <a:pt x="1495178" y="1104261"/>
                    </a:lnTo>
                    <a:cubicBezTo>
                      <a:pt x="1502369" y="1099993"/>
                      <a:pt x="1511685" y="1097696"/>
                      <a:pt x="1520756" y="1097368"/>
                    </a:cubicBezTo>
                    <a:close/>
                    <a:moveTo>
                      <a:pt x="2919137" y="1077534"/>
                    </a:moveTo>
                    <a:cubicBezTo>
                      <a:pt x="2928172" y="1077042"/>
                      <a:pt x="2936963" y="1078519"/>
                      <a:pt x="2943149" y="1082129"/>
                    </a:cubicBezTo>
                    <a:lnTo>
                      <a:pt x="3102031" y="1174693"/>
                    </a:lnTo>
                    <a:cubicBezTo>
                      <a:pt x="3114403" y="1181914"/>
                      <a:pt x="3112449" y="1195044"/>
                      <a:pt x="3098124" y="1203578"/>
                    </a:cubicBezTo>
                    <a:lnTo>
                      <a:pt x="2940544" y="1294828"/>
                    </a:lnTo>
                    <a:cubicBezTo>
                      <a:pt x="2926219" y="1304019"/>
                      <a:pt x="2904079" y="1304676"/>
                      <a:pt x="2891707" y="1297454"/>
                    </a:cubicBezTo>
                    <a:lnTo>
                      <a:pt x="2732825" y="1204891"/>
                    </a:lnTo>
                    <a:cubicBezTo>
                      <a:pt x="2720453" y="1197670"/>
                      <a:pt x="2721755" y="1184540"/>
                      <a:pt x="2736732" y="1176006"/>
                    </a:cubicBezTo>
                    <a:lnTo>
                      <a:pt x="2893661" y="1084755"/>
                    </a:lnTo>
                    <a:cubicBezTo>
                      <a:pt x="2900824" y="1080488"/>
                      <a:pt x="2910103" y="1078026"/>
                      <a:pt x="2919137" y="1077534"/>
                    </a:cubicBezTo>
                    <a:close/>
                    <a:moveTo>
                      <a:pt x="962595" y="1054160"/>
                    </a:moveTo>
                    <a:cubicBezTo>
                      <a:pt x="971718" y="1053832"/>
                      <a:pt x="980679" y="1055472"/>
                      <a:pt x="987195" y="1059080"/>
                    </a:cubicBezTo>
                    <a:lnTo>
                      <a:pt x="1240694" y="1206689"/>
                    </a:lnTo>
                    <a:cubicBezTo>
                      <a:pt x="1253727" y="1213905"/>
                      <a:pt x="1252424" y="1227026"/>
                      <a:pt x="1237436" y="1235554"/>
                    </a:cubicBezTo>
                    <a:lnTo>
                      <a:pt x="1049755" y="1344456"/>
                    </a:lnTo>
                    <a:cubicBezTo>
                      <a:pt x="1035419" y="1352985"/>
                      <a:pt x="1013262" y="1353641"/>
                      <a:pt x="1000229" y="1346425"/>
                    </a:cubicBezTo>
                    <a:lnTo>
                      <a:pt x="746078" y="1198816"/>
                    </a:lnTo>
                    <a:cubicBezTo>
                      <a:pt x="733045" y="1191600"/>
                      <a:pt x="734348" y="1178479"/>
                      <a:pt x="749337" y="1169951"/>
                    </a:cubicBezTo>
                    <a:lnTo>
                      <a:pt x="937017" y="1061049"/>
                    </a:lnTo>
                    <a:cubicBezTo>
                      <a:pt x="944186" y="1056785"/>
                      <a:pt x="953472" y="1054488"/>
                      <a:pt x="962595" y="1054160"/>
                    </a:cubicBezTo>
                    <a:close/>
                    <a:moveTo>
                      <a:pt x="1883758" y="1028241"/>
                    </a:moveTo>
                    <a:cubicBezTo>
                      <a:pt x="1892762" y="1027912"/>
                      <a:pt x="1901602" y="1029554"/>
                      <a:pt x="1908151" y="1033164"/>
                    </a:cubicBezTo>
                    <a:lnTo>
                      <a:pt x="2067275" y="1125728"/>
                    </a:lnTo>
                    <a:cubicBezTo>
                      <a:pt x="2080371" y="1133605"/>
                      <a:pt x="2079061" y="1146079"/>
                      <a:pt x="2064000" y="1154613"/>
                    </a:cubicBezTo>
                    <a:lnTo>
                      <a:pt x="1905531" y="1246520"/>
                    </a:lnTo>
                    <a:cubicBezTo>
                      <a:pt x="1891125" y="1255054"/>
                      <a:pt x="1868206" y="1255711"/>
                      <a:pt x="1855764" y="1248489"/>
                    </a:cubicBezTo>
                    <a:lnTo>
                      <a:pt x="1695986" y="1155926"/>
                    </a:lnTo>
                    <a:cubicBezTo>
                      <a:pt x="1683544" y="1148705"/>
                      <a:pt x="1684854" y="1135575"/>
                      <a:pt x="1699915" y="1127041"/>
                    </a:cubicBezTo>
                    <a:lnTo>
                      <a:pt x="1858384" y="1035134"/>
                    </a:lnTo>
                    <a:cubicBezTo>
                      <a:pt x="1865587" y="1030867"/>
                      <a:pt x="1874754" y="1028569"/>
                      <a:pt x="1883758" y="1028241"/>
                    </a:cubicBezTo>
                    <a:close/>
                    <a:moveTo>
                      <a:pt x="2312923" y="1002295"/>
                    </a:moveTo>
                    <a:cubicBezTo>
                      <a:pt x="2321927" y="1001970"/>
                      <a:pt x="2330768" y="1003596"/>
                      <a:pt x="2337316" y="1007171"/>
                    </a:cubicBezTo>
                    <a:lnTo>
                      <a:pt x="2497094" y="1098840"/>
                    </a:lnTo>
                    <a:cubicBezTo>
                      <a:pt x="2509536" y="1105991"/>
                      <a:pt x="2508227" y="1118994"/>
                      <a:pt x="2493165" y="1127445"/>
                    </a:cubicBezTo>
                    <a:lnTo>
                      <a:pt x="2334696" y="1217813"/>
                    </a:lnTo>
                    <a:cubicBezTo>
                      <a:pt x="2320290" y="1226265"/>
                      <a:pt x="2298026" y="1226915"/>
                      <a:pt x="2284929" y="1219763"/>
                    </a:cubicBezTo>
                    <a:lnTo>
                      <a:pt x="2125151" y="1128095"/>
                    </a:lnTo>
                    <a:cubicBezTo>
                      <a:pt x="2112709" y="1120944"/>
                      <a:pt x="2114019" y="1108591"/>
                      <a:pt x="2129080" y="1099490"/>
                    </a:cubicBezTo>
                    <a:lnTo>
                      <a:pt x="2287549" y="1009122"/>
                    </a:lnTo>
                    <a:cubicBezTo>
                      <a:pt x="2294752" y="1004896"/>
                      <a:pt x="2303919" y="1002621"/>
                      <a:pt x="2312923" y="1002295"/>
                    </a:cubicBezTo>
                    <a:close/>
                    <a:moveTo>
                      <a:pt x="1275851" y="953353"/>
                    </a:moveTo>
                    <a:cubicBezTo>
                      <a:pt x="1284855" y="953024"/>
                      <a:pt x="1293531" y="954666"/>
                      <a:pt x="1299752" y="958276"/>
                    </a:cubicBezTo>
                    <a:lnTo>
                      <a:pt x="1459531" y="1050840"/>
                    </a:lnTo>
                    <a:cubicBezTo>
                      <a:pt x="1472627" y="1058061"/>
                      <a:pt x="1471317" y="1071191"/>
                      <a:pt x="1456256" y="1079725"/>
                    </a:cubicBezTo>
                    <a:lnTo>
                      <a:pt x="1297787" y="1170975"/>
                    </a:lnTo>
                    <a:cubicBezTo>
                      <a:pt x="1283381" y="1179510"/>
                      <a:pt x="1261117" y="1180823"/>
                      <a:pt x="1248020" y="1173601"/>
                    </a:cubicBezTo>
                    <a:lnTo>
                      <a:pt x="1088242" y="1081038"/>
                    </a:lnTo>
                    <a:cubicBezTo>
                      <a:pt x="1075800" y="1073160"/>
                      <a:pt x="1077764" y="1060030"/>
                      <a:pt x="1092171" y="1052153"/>
                    </a:cubicBezTo>
                    <a:lnTo>
                      <a:pt x="1249985" y="960246"/>
                    </a:lnTo>
                    <a:cubicBezTo>
                      <a:pt x="1257516" y="955979"/>
                      <a:pt x="1266847" y="953681"/>
                      <a:pt x="1275851" y="953353"/>
                    </a:cubicBezTo>
                    <a:close/>
                    <a:moveTo>
                      <a:pt x="2676333" y="933436"/>
                    </a:moveTo>
                    <a:cubicBezTo>
                      <a:pt x="2685337" y="933026"/>
                      <a:pt x="2694013" y="934503"/>
                      <a:pt x="2700234" y="938113"/>
                    </a:cubicBezTo>
                    <a:lnTo>
                      <a:pt x="2860012" y="1030677"/>
                    </a:lnTo>
                    <a:cubicBezTo>
                      <a:pt x="2872454" y="1037898"/>
                      <a:pt x="2871145" y="1051028"/>
                      <a:pt x="2856738" y="1059562"/>
                    </a:cubicBezTo>
                    <a:lnTo>
                      <a:pt x="2698269" y="1150812"/>
                    </a:lnTo>
                    <a:cubicBezTo>
                      <a:pt x="2683863" y="1159347"/>
                      <a:pt x="2660944" y="1160660"/>
                      <a:pt x="2648502" y="1152782"/>
                    </a:cubicBezTo>
                    <a:lnTo>
                      <a:pt x="2488724" y="1060218"/>
                    </a:lnTo>
                    <a:cubicBezTo>
                      <a:pt x="2475627" y="1052997"/>
                      <a:pt x="2477591" y="1039867"/>
                      <a:pt x="2492653" y="1031990"/>
                    </a:cubicBezTo>
                    <a:lnTo>
                      <a:pt x="2650467" y="940083"/>
                    </a:lnTo>
                    <a:cubicBezTo>
                      <a:pt x="2657997" y="936144"/>
                      <a:pt x="2667329" y="933846"/>
                      <a:pt x="2676333" y="933436"/>
                    </a:cubicBezTo>
                    <a:close/>
                    <a:moveTo>
                      <a:pt x="718088" y="913106"/>
                    </a:moveTo>
                    <a:cubicBezTo>
                      <a:pt x="727146" y="912697"/>
                      <a:pt x="735959" y="914335"/>
                      <a:pt x="742160" y="917939"/>
                    </a:cubicBezTo>
                    <a:lnTo>
                      <a:pt x="901446" y="1010338"/>
                    </a:lnTo>
                    <a:cubicBezTo>
                      <a:pt x="913849" y="1017546"/>
                      <a:pt x="912544" y="1030652"/>
                      <a:pt x="897529" y="1039171"/>
                    </a:cubicBezTo>
                    <a:lnTo>
                      <a:pt x="710172" y="1148607"/>
                    </a:lnTo>
                    <a:cubicBezTo>
                      <a:pt x="695158" y="1156471"/>
                      <a:pt x="672962" y="1157782"/>
                      <a:pt x="659906" y="1149918"/>
                    </a:cubicBezTo>
                    <a:lnTo>
                      <a:pt x="501273" y="1058175"/>
                    </a:lnTo>
                    <a:cubicBezTo>
                      <a:pt x="488217" y="1050311"/>
                      <a:pt x="489523" y="1037861"/>
                      <a:pt x="504537" y="1028686"/>
                    </a:cubicBezTo>
                    <a:lnTo>
                      <a:pt x="692547" y="920561"/>
                    </a:lnTo>
                    <a:cubicBezTo>
                      <a:pt x="699728" y="915974"/>
                      <a:pt x="709030" y="913516"/>
                      <a:pt x="718088" y="913106"/>
                    </a:cubicBezTo>
                    <a:close/>
                    <a:moveTo>
                      <a:pt x="1636298" y="887105"/>
                    </a:moveTo>
                    <a:cubicBezTo>
                      <a:pt x="1645220" y="886776"/>
                      <a:pt x="1653897" y="888418"/>
                      <a:pt x="1660445" y="892028"/>
                    </a:cubicBezTo>
                    <a:lnTo>
                      <a:pt x="1820223" y="984592"/>
                    </a:lnTo>
                    <a:cubicBezTo>
                      <a:pt x="1832665" y="991813"/>
                      <a:pt x="1831355" y="1004943"/>
                      <a:pt x="1816294" y="1013477"/>
                    </a:cubicBezTo>
                    <a:lnTo>
                      <a:pt x="1658480" y="1105384"/>
                    </a:lnTo>
                    <a:cubicBezTo>
                      <a:pt x="1644074" y="1113262"/>
                      <a:pt x="1621155" y="1114575"/>
                      <a:pt x="1608713" y="1106697"/>
                    </a:cubicBezTo>
                    <a:lnTo>
                      <a:pt x="1448935" y="1014790"/>
                    </a:lnTo>
                    <a:cubicBezTo>
                      <a:pt x="1435838" y="1007569"/>
                      <a:pt x="1437802" y="994439"/>
                      <a:pt x="1452209" y="985905"/>
                    </a:cubicBezTo>
                    <a:lnTo>
                      <a:pt x="1610678" y="893998"/>
                    </a:lnTo>
                    <a:cubicBezTo>
                      <a:pt x="1618208" y="889731"/>
                      <a:pt x="1627376" y="887433"/>
                      <a:pt x="1636298" y="887105"/>
                    </a:cubicBezTo>
                    <a:close/>
                    <a:moveTo>
                      <a:pt x="2068014" y="858712"/>
                    </a:moveTo>
                    <a:cubicBezTo>
                      <a:pt x="2077085" y="858302"/>
                      <a:pt x="2085910" y="859943"/>
                      <a:pt x="2092121" y="863882"/>
                    </a:cubicBezTo>
                    <a:lnTo>
                      <a:pt x="2251637" y="955789"/>
                    </a:lnTo>
                    <a:cubicBezTo>
                      <a:pt x="2264712" y="963010"/>
                      <a:pt x="2262751" y="976140"/>
                      <a:pt x="2248368" y="984674"/>
                    </a:cubicBezTo>
                    <a:lnTo>
                      <a:pt x="2090160" y="1076581"/>
                    </a:lnTo>
                    <a:cubicBezTo>
                      <a:pt x="2075778" y="1085115"/>
                      <a:pt x="2053550" y="1085772"/>
                      <a:pt x="2040475" y="1078550"/>
                    </a:cubicBezTo>
                    <a:lnTo>
                      <a:pt x="1880959" y="985987"/>
                    </a:lnTo>
                    <a:cubicBezTo>
                      <a:pt x="1867884" y="978766"/>
                      <a:pt x="1869845" y="966292"/>
                      <a:pt x="1884882" y="957102"/>
                    </a:cubicBezTo>
                    <a:lnTo>
                      <a:pt x="2042436" y="865851"/>
                    </a:lnTo>
                    <a:cubicBezTo>
                      <a:pt x="2049628" y="861584"/>
                      <a:pt x="2058943" y="859122"/>
                      <a:pt x="2068014" y="858712"/>
                    </a:cubicBezTo>
                    <a:close/>
                    <a:moveTo>
                      <a:pt x="1028145" y="812619"/>
                    </a:moveTo>
                    <a:cubicBezTo>
                      <a:pt x="1037148" y="812210"/>
                      <a:pt x="1045825" y="813847"/>
                      <a:pt x="1052046" y="817774"/>
                    </a:cubicBezTo>
                    <a:lnTo>
                      <a:pt x="1211825" y="909420"/>
                    </a:lnTo>
                    <a:cubicBezTo>
                      <a:pt x="1224921" y="917276"/>
                      <a:pt x="1222957" y="930368"/>
                      <a:pt x="1208550" y="938878"/>
                    </a:cubicBezTo>
                    <a:lnTo>
                      <a:pt x="1050081" y="1029869"/>
                    </a:lnTo>
                    <a:cubicBezTo>
                      <a:pt x="1035675" y="1038379"/>
                      <a:pt x="1012756" y="1039688"/>
                      <a:pt x="1000314" y="1032488"/>
                    </a:cubicBezTo>
                    <a:lnTo>
                      <a:pt x="840536" y="940187"/>
                    </a:lnTo>
                    <a:cubicBezTo>
                      <a:pt x="828094" y="932332"/>
                      <a:pt x="829404" y="919239"/>
                      <a:pt x="843810" y="910730"/>
                    </a:cubicBezTo>
                    <a:lnTo>
                      <a:pt x="1002279" y="819738"/>
                    </a:lnTo>
                    <a:cubicBezTo>
                      <a:pt x="1009809" y="815483"/>
                      <a:pt x="1019141" y="813028"/>
                      <a:pt x="1028145" y="812619"/>
                    </a:cubicBezTo>
                    <a:close/>
                    <a:moveTo>
                      <a:pt x="2431262" y="792376"/>
                    </a:moveTo>
                    <a:cubicBezTo>
                      <a:pt x="2440184" y="791886"/>
                      <a:pt x="2448860" y="793359"/>
                      <a:pt x="2455409" y="796959"/>
                    </a:cubicBezTo>
                    <a:lnTo>
                      <a:pt x="2615187" y="889259"/>
                    </a:lnTo>
                    <a:cubicBezTo>
                      <a:pt x="2627629" y="897115"/>
                      <a:pt x="2626319" y="909552"/>
                      <a:pt x="2611258" y="918717"/>
                    </a:cubicBezTo>
                    <a:lnTo>
                      <a:pt x="2453444" y="1009708"/>
                    </a:lnTo>
                    <a:cubicBezTo>
                      <a:pt x="2438383" y="1018218"/>
                      <a:pt x="2416119" y="1019527"/>
                      <a:pt x="2403022" y="1011672"/>
                    </a:cubicBezTo>
                    <a:lnTo>
                      <a:pt x="2243899" y="919372"/>
                    </a:lnTo>
                    <a:cubicBezTo>
                      <a:pt x="2230802" y="912171"/>
                      <a:pt x="2232766" y="899078"/>
                      <a:pt x="2247173" y="890568"/>
                    </a:cubicBezTo>
                    <a:lnTo>
                      <a:pt x="2405642" y="799577"/>
                    </a:lnTo>
                    <a:cubicBezTo>
                      <a:pt x="2413173" y="795322"/>
                      <a:pt x="2422340" y="792867"/>
                      <a:pt x="2431262" y="792376"/>
                    </a:cubicBezTo>
                    <a:close/>
                    <a:moveTo>
                      <a:pt x="472855" y="771867"/>
                    </a:moveTo>
                    <a:cubicBezTo>
                      <a:pt x="481831" y="771542"/>
                      <a:pt x="490481" y="773166"/>
                      <a:pt x="496682" y="776737"/>
                    </a:cubicBezTo>
                    <a:lnTo>
                      <a:pt x="655968" y="868304"/>
                    </a:lnTo>
                    <a:cubicBezTo>
                      <a:pt x="669024" y="875448"/>
                      <a:pt x="667066" y="888436"/>
                      <a:pt x="652704" y="896878"/>
                    </a:cubicBezTo>
                    <a:lnTo>
                      <a:pt x="464695" y="1004680"/>
                    </a:lnTo>
                    <a:cubicBezTo>
                      <a:pt x="449680" y="1013122"/>
                      <a:pt x="427484" y="1013772"/>
                      <a:pt x="415081" y="1006628"/>
                    </a:cubicBezTo>
                    <a:lnTo>
                      <a:pt x="255795" y="915062"/>
                    </a:lnTo>
                    <a:cubicBezTo>
                      <a:pt x="243392" y="907918"/>
                      <a:pt x="244698" y="895579"/>
                      <a:pt x="259059" y="886488"/>
                    </a:cubicBezTo>
                    <a:lnTo>
                      <a:pt x="447069" y="778686"/>
                    </a:lnTo>
                    <a:cubicBezTo>
                      <a:pt x="454576" y="774465"/>
                      <a:pt x="463879" y="772192"/>
                      <a:pt x="472855" y="771867"/>
                    </a:cubicBezTo>
                    <a:close/>
                    <a:moveTo>
                      <a:pt x="1391226" y="745971"/>
                    </a:moveTo>
                    <a:cubicBezTo>
                      <a:pt x="1400230" y="745642"/>
                      <a:pt x="1409070" y="747284"/>
                      <a:pt x="1415619" y="750894"/>
                    </a:cubicBezTo>
                    <a:lnTo>
                      <a:pt x="1575397" y="843458"/>
                    </a:lnTo>
                    <a:cubicBezTo>
                      <a:pt x="1587839" y="850679"/>
                      <a:pt x="1586529" y="863152"/>
                      <a:pt x="1571468" y="872343"/>
                    </a:cubicBezTo>
                    <a:lnTo>
                      <a:pt x="1413654" y="963593"/>
                    </a:lnTo>
                    <a:cubicBezTo>
                      <a:pt x="1398593" y="972128"/>
                      <a:pt x="1376329" y="973441"/>
                      <a:pt x="1363232" y="965563"/>
                    </a:cubicBezTo>
                    <a:lnTo>
                      <a:pt x="1203454" y="873656"/>
                    </a:lnTo>
                    <a:cubicBezTo>
                      <a:pt x="1191012" y="866435"/>
                      <a:pt x="1192322" y="853305"/>
                      <a:pt x="1207383" y="844114"/>
                    </a:cubicBezTo>
                    <a:lnTo>
                      <a:pt x="1365852" y="752864"/>
                    </a:lnTo>
                    <a:cubicBezTo>
                      <a:pt x="1373055" y="748597"/>
                      <a:pt x="1382222" y="746299"/>
                      <a:pt x="1391226" y="745971"/>
                    </a:cubicBezTo>
                    <a:close/>
                    <a:moveTo>
                      <a:pt x="1814468" y="714689"/>
                    </a:moveTo>
                    <a:cubicBezTo>
                      <a:pt x="1823472" y="714280"/>
                      <a:pt x="1832148" y="715917"/>
                      <a:pt x="1838369" y="719844"/>
                    </a:cubicBezTo>
                    <a:lnTo>
                      <a:pt x="1998148" y="812145"/>
                    </a:lnTo>
                    <a:cubicBezTo>
                      <a:pt x="2011244" y="819346"/>
                      <a:pt x="2009280" y="832438"/>
                      <a:pt x="1994873" y="840948"/>
                    </a:cubicBezTo>
                    <a:lnTo>
                      <a:pt x="1837059" y="931939"/>
                    </a:lnTo>
                    <a:cubicBezTo>
                      <a:pt x="1821998" y="941104"/>
                      <a:pt x="1799734" y="941758"/>
                      <a:pt x="1786637" y="934558"/>
                    </a:cubicBezTo>
                    <a:lnTo>
                      <a:pt x="1626859" y="842257"/>
                    </a:lnTo>
                    <a:cubicBezTo>
                      <a:pt x="1614417" y="834402"/>
                      <a:pt x="1615727" y="821309"/>
                      <a:pt x="1630788" y="812800"/>
                    </a:cubicBezTo>
                    <a:lnTo>
                      <a:pt x="1788602" y="721808"/>
                    </a:lnTo>
                    <a:cubicBezTo>
                      <a:pt x="1796133" y="717553"/>
                      <a:pt x="1805464" y="715098"/>
                      <a:pt x="1814468" y="714689"/>
                    </a:cubicBezTo>
                    <a:close/>
                    <a:moveTo>
                      <a:pt x="2183147" y="651248"/>
                    </a:moveTo>
                    <a:cubicBezTo>
                      <a:pt x="2192150" y="650756"/>
                      <a:pt x="2200827" y="652233"/>
                      <a:pt x="2207048" y="655843"/>
                    </a:cubicBezTo>
                    <a:lnTo>
                      <a:pt x="2366827" y="748407"/>
                    </a:lnTo>
                    <a:cubicBezTo>
                      <a:pt x="2379923" y="755628"/>
                      <a:pt x="2377959" y="768758"/>
                      <a:pt x="2363552" y="777292"/>
                    </a:cubicBezTo>
                    <a:lnTo>
                      <a:pt x="2205738" y="868542"/>
                    </a:lnTo>
                    <a:cubicBezTo>
                      <a:pt x="2190677" y="877733"/>
                      <a:pt x="2168413" y="878390"/>
                      <a:pt x="2155316" y="871168"/>
                    </a:cubicBezTo>
                    <a:lnTo>
                      <a:pt x="1995538" y="778605"/>
                    </a:lnTo>
                    <a:cubicBezTo>
                      <a:pt x="1983096" y="771384"/>
                      <a:pt x="1984406" y="758254"/>
                      <a:pt x="1999467" y="749720"/>
                    </a:cubicBezTo>
                    <a:lnTo>
                      <a:pt x="2157281" y="658469"/>
                    </a:lnTo>
                    <a:cubicBezTo>
                      <a:pt x="2164812" y="654202"/>
                      <a:pt x="2174143" y="651740"/>
                      <a:pt x="2183147" y="651248"/>
                    </a:cubicBezTo>
                    <a:close/>
                    <a:moveTo>
                      <a:pt x="225802" y="627852"/>
                    </a:moveTo>
                    <a:cubicBezTo>
                      <a:pt x="234778" y="627527"/>
                      <a:pt x="243428" y="629151"/>
                      <a:pt x="249629" y="632722"/>
                    </a:cubicBezTo>
                    <a:lnTo>
                      <a:pt x="408915" y="724289"/>
                    </a:lnTo>
                    <a:cubicBezTo>
                      <a:pt x="421318" y="731433"/>
                      <a:pt x="420013" y="744421"/>
                      <a:pt x="405651" y="752863"/>
                    </a:cubicBezTo>
                    <a:lnTo>
                      <a:pt x="217641" y="860665"/>
                    </a:lnTo>
                    <a:cubicBezTo>
                      <a:pt x="202627" y="869107"/>
                      <a:pt x="180431" y="869757"/>
                      <a:pt x="168028" y="862613"/>
                    </a:cubicBezTo>
                    <a:lnTo>
                      <a:pt x="8742" y="771046"/>
                    </a:lnTo>
                    <a:cubicBezTo>
                      <a:pt x="-4314" y="763903"/>
                      <a:pt x="-2356" y="750915"/>
                      <a:pt x="12006" y="742473"/>
                    </a:cubicBezTo>
                    <a:lnTo>
                      <a:pt x="200016" y="634671"/>
                    </a:lnTo>
                    <a:cubicBezTo>
                      <a:pt x="207523" y="630450"/>
                      <a:pt x="216826" y="628177"/>
                      <a:pt x="225802" y="627852"/>
                    </a:cubicBezTo>
                    <a:close/>
                    <a:moveTo>
                      <a:pt x="2399582" y="608135"/>
                    </a:moveTo>
                    <a:cubicBezTo>
                      <a:pt x="2408653" y="607723"/>
                      <a:pt x="2417478" y="609370"/>
                      <a:pt x="2424015" y="613322"/>
                    </a:cubicBezTo>
                    <a:lnTo>
                      <a:pt x="2583525" y="705536"/>
                    </a:lnTo>
                    <a:cubicBezTo>
                      <a:pt x="2595946" y="712781"/>
                      <a:pt x="2593985" y="725955"/>
                      <a:pt x="2579603" y="734517"/>
                    </a:cubicBezTo>
                    <a:lnTo>
                      <a:pt x="2527305" y="765475"/>
                    </a:lnTo>
                    <a:cubicBezTo>
                      <a:pt x="2512269" y="773379"/>
                      <a:pt x="2490042" y="774696"/>
                      <a:pt x="2477621" y="767451"/>
                    </a:cubicBezTo>
                    <a:lnTo>
                      <a:pt x="2318111" y="674578"/>
                    </a:lnTo>
                    <a:cubicBezTo>
                      <a:pt x="2305690" y="666674"/>
                      <a:pt x="2306997" y="654160"/>
                      <a:pt x="2321380" y="645597"/>
                    </a:cubicBezTo>
                    <a:lnTo>
                      <a:pt x="2373678" y="615298"/>
                    </a:lnTo>
                    <a:cubicBezTo>
                      <a:pt x="2381196" y="611017"/>
                      <a:pt x="2390512" y="608547"/>
                      <a:pt x="2399582" y="608135"/>
                    </a:cubicBezTo>
                    <a:close/>
                    <a:moveTo>
                      <a:pt x="1140559" y="602284"/>
                    </a:moveTo>
                    <a:cubicBezTo>
                      <a:pt x="1149644" y="601792"/>
                      <a:pt x="1158484" y="603269"/>
                      <a:pt x="1165033" y="606879"/>
                    </a:cubicBezTo>
                    <a:lnTo>
                      <a:pt x="1324157" y="699443"/>
                    </a:lnTo>
                    <a:cubicBezTo>
                      <a:pt x="1337253" y="706664"/>
                      <a:pt x="1335289" y="719794"/>
                      <a:pt x="1320882" y="728328"/>
                    </a:cubicBezTo>
                    <a:lnTo>
                      <a:pt x="1163068" y="819578"/>
                    </a:lnTo>
                    <a:cubicBezTo>
                      <a:pt x="1148007" y="828769"/>
                      <a:pt x="1125743" y="829426"/>
                      <a:pt x="1112646" y="822204"/>
                    </a:cubicBezTo>
                    <a:lnTo>
                      <a:pt x="953523" y="729641"/>
                    </a:lnTo>
                    <a:cubicBezTo>
                      <a:pt x="940426" y="722420"/>
                      <a:pt x="942390" y="709290"/>
                      <a:pt x="956797" y="700756"/>
                    </a:cubicBezTo>
                    <a:lnTo>
                      <a:pt x="1114611" y="609505"/>
                    </a:lnTo>
                    <a:cubicBezTo>
                      <a:pt x="1122142" y="605238"/>
                      <a:pt x="1131473" y="602776"/>
                      <a:pt x="1140559" y="602284"/>
                    </a:cubicBezTo>
                    <a:close/>
                    <a:moveTo>
                      <a:pt x="1563962" y="567473"/>
                    </a:moveTo>
                    <a:cubicBezTo>
                      <a:pt x="1573047" y="567063"/>
                      <a:pt x="1581888" y="568704"/>
                      <a:pt x="1588436" y="572315"/>
                    </a:cubicBezTo>
                    <a:lnTo>
                      <a:pt x="1747560" y="664879"/>
                    </a:lnTo>
                    <a:cubicBezTo>
                      <a:pt x="1760656" y="672100"/>
                      <a:pt x="1759346" y="685230"/>
                      <a:pt x="1744285" y="693764"/>
                    </a:cubicBezTo>
                    <a:lnTo>
                      <a:pt x="1586471" y="785014"/>
                    </a:lnTo>
                    <a:cubicBezTo>
                      <a:pt x="1571410" y="793549"/>
                      <a:pt x="1549146" y="794862"/>
                      <a:pt x="1536049" y="787640"/>
                    </a:cubicBezTo>
                    <a:lnTo>
                      <a:pt x="1376926" y="695077"/>
                    </a:lnTo>
                    <a:cubicBezTo>
                      <a:pt x="1363829" y="687856"/>
                      <a:pt x="1365793" y="674726"/>
                      <a:pt x="1380200" y="666192"/>
                    </a:cubicBezTo>
                    <a:lnTo>
                      <a:pt x="1538014" y="574941"/>
                    </a:lnTo>
                    <a:cubicBezTo>
                      <a:pt x="1545545" y="570346"/>
                      <a:pt x="1554876" y="567884"/>
                      <a:pt x="1563962" y="567473"/>
                    </a:cubicBezTo>
                    <a:close/>
                    <a:moveTo>
                      <a:pt x="1937991" y="509868"/>
                    </a:moveTo>
                    <a:cubicBezTo>
                      <a:pt x="1947159" y="509457"/>
                      <a:pt x="1955999" y="511099"/>
                      <a:pt x="1962220" y="514709"/>
                    </a:cubicBezTo>
                    <a:lnTo>
                      <a:pt x="2121999" y="607273"/>
                    </a:lnTo>
                    <a:cubicBezTo>
                      <a:pt x="2135095" y="614494"/>
                      <a:pt x="2133131" y="627624"/>
                      <a:pt x="2118070" y="636158"/>
                    </a:cubicBezTo>
                    <a:lnTo>
                      <a:pt x="1960255" y="727408"/>
                    </a:lnTo>
                    <a:cubicBezTo>
                      <a:pt x="1945194" y="736599"/>
                      <a:pt x="1922930" y="737256"/>
                      <a:pt x="1910488" y="730034"/>
                    </a:cubicBezTo>
                    <a:lnTo>
                      <a:pt x="1750710" y="637471"/>
                    </a:lnTo>
                    <a:cubicBezTo>
                      <a:pt x="1738268" y="630250"/>
                      <a:pt x="1739578" y="617120"/>
                      <a:pt x="1753984" y="608586"/>
                    </a:cubicBezTo>
                    <a:lnTo>
                      <a:pt x="1911798" y="517335"/>
                    </a:lnTo>
                    <a:cubicBezTo>
                      <a:pt x="1919329" y="512740"/>
                      <a:pt x="1928824" y="510278"/>
                      <a:pt x="1937991" y="509868"/>
                    </a:cubicBezTo>
                    <a:close/>
                    <a:moveTo>
                      <a:pt x="468825" y="490026"/>
                    </a:moveTo>
                    <a:cubicBezTo>
                      <a:pt x="477882" y="489617"/>
                      <a:pt x="486695" y="491253"/>
                      <a:pt x="493223" y="495179"/>
                    </a:cubicBezTo>
                    <a:lnTo>
                      <a:pt x="961279" y="766102"/>
                    </a:lnTo>
                    <a:cubicBezTo>
                      <a:pt x="974335" y="773301"/>
                      <a:pt x="973030" y="786389"/>
                      <a:pt x="958015" y="794896"/>
                    </a:cubicBezTo>
                    <a:lnTo>
                      <a:pt x="800691" y="885859"/>
                    </a:lnTo>
                    <a:cubicBezTo>
                      <a:pt x="785676" y="894366"/>
                      <a:pt x="763481" y="895675"/>
                      <a:pt x="750425" y="887822"/>
                    </a:cubicBezTo>
                    <a:lnTo>
                      <a:pt x="282369" y="616898"/>
                    </a:lnTo>
                    <a:cubicBezTo>
                      <a:pt x="269313" y="609700"/>
                      <a:pt x="271271" y="596612"/>
                      <a:pt x="285633" y="588104"/>
                    </a:cubicBezTo>
                    <a:lnTo>
                      <a:pt x="442957" y="497142"/>
                    </a:lnTo>
                    <a:cubicBezTo>
                      <a:pt x="450465" y="492889"/>
                      <a:pt x="459767" y="490435"/>
                      <a:pt x="468825" y="490026"/>
                    </a:cubicBezTo>
                    <a:close/>
                    <a:moveTo>
                      <a:pt x="2154754" y="466588"/>
                    </a:moveTo>
                    <a:cubicBezTo>
                      <a:pt x="2163825" y="466259"/>
                      <a:pt x="2172651" y="467905"/>
                      <a:pt x="2179188" y="471528"/>
                    </a:cubicBezTo>
                    <a:lnTo>
                      <a:pt x="2338698" y="564402"/>
                    </a:lnTo>
                    <a:cubicBezTo>
                      <a:pt x="2351119" y="571648"/>
                      <a:pt x="2349812" y="584821"/>
                      <a:pt x="2334776" y="593384"/>
                    </a:cubicBezTo>
                    <a:lnTo>
                      <a:pt x="2282477" y="623683"/>
                    </a:lnTo>
                    <a:cubicBezTo>
                      <a:pt x="2267442" y="632246"/>
                      <a:pt x="2245215" y="633563"/>
                      <a:pt x="2232794" y="625659"/>
                    </a:cubicBezTo>
                    <a:lnTo>
                      <a:pt x="2073283" y="533444"/>
                    </a:lnTo>
                    <a:cubicBezTo>
                      <a:pt x="2060862" y="525540"/>
                      <a:pt x="2062169" y="512367"/>
                      <a:pt x="2076552" y="504462"/>
                    </a:cubicBezTo>
                    <a:lnTo>
                      <a:pt x="2128850" y="473504"/>
                    </a:lnTo>
                    <a:cubicBezTo>
                      <a:pt x="2136368" y="469223"/>
                      <a:pt x="2145684" y="466918"/>
                      <a:pt x="2154754" y="466588"/>
                    </a:cubicBezTo>
                    <a:close/>
                    <a:moveTo>
                      <a:pt x="1310492" y="423787"/>
                    </a:moveTo>
                    <a:cubicBezTo>
                      <a:pt x="1319399" y="423377"/>
                      <a:pt x="1328061" y="425018"/>
                      <a:pt x="1334599" y="428957"/>
                    </a:cubicBezTo>
                    <a:lnTo>
                      <a:pt x="1494115" y="520864"/>
                    </a:lnTo>
                    <a:cubicBezTo>
                      <a:pt x="1507190" y="528741"/>
                      <a:pt x="1505229" y="541215"/>
                      <a:pt x="1490193" y="550405"/>
                    </a:cubicBezTo>
                    <a:lnTo>
                      <a:pt x="1332638" y="641656"/>
                    </a:lnTo>
                    <a:cubicBezTo>
                      <a:pt x="1318256" y="650190"/>
                      <a:pt x="1295374" y="650847"/>
                      <a:pt x="1282299" y="643625"/>
                    </a:cubicBezTo>
                    <a:lnTo>
                      <a:pt x="1123437" y="551062"/>
                    </a:lnTo>
                    <a:cubicBezTo>
                      <a:pt x="1110362" y="543841"/>
                      <a:pt x="1112323" y="530711"/>
                      <a:pt x="1126706" y="522177"/>
                    </a:cubicBezTo>
                    <a:lnTo>
                      <a:pt x="1284914" y="430926"/>
                    </a:lnTo>
                    <a:cubicBezTo>
                      <a:pt x="1292432" y="426659"/>
                      <a:pt x="1301584" y="424197"/>
                      <a:pt x="1310492" y="423787"/>
                    </a:cubicBezTo>
                    <a:close/>
                    <a:moveTo>
                      <a:pt x="1693576" y="368650"/>
                    </a:moveTo>
                    <a:cubicBezTo>
                      <a:pt x="1702661" y="368321"/>
                      <a:pt x="1711502" y="369963"/>
                      <a:pt x="1718050" y="373573"/>
                    </a:cubicBezTo>
                    <a:lnTo>
                      <a:pt x="1877828" y="466137"/>
                    </a:lnTo>
                    <a:cubicBezTo>
                      <a:pt x="1890270" y="473358"/>
                      <a:pt x="1888960" y="486488"/>
                      <a:pt x="1873899" y="495022"/>
                    </a:cubicBezTo>
                    <a:lnTo>
                      <a:pt x="1715430" y="586272"/>
                    </a:lnTo>
                    <a:cubicBezTo>
                      <a:pt x="1701024" y="594807"/>
                      <a:pt x="1678760" y="596120"/>
                      <a:pt x="1665663" y="588242"/>
                    </a:cubicBezTo>
                    <a:lnTo>
                      <a:pt x="1505885" y="496335"/>
                    </a:lnTo>
                    <a:cubicBezTo>
                      <a:pt x="1493443" y="488457"/>
                      <a:pt x="1494753" y="475327"/>
                      <a:pt x="1509814" y="466793"/>
                    </a:cubicBezTo>
                    <a:lnTo>
                      <a:pt x="1667628" y="375543"/>
                    </a:lnTo>
                    <a:cubicBezTo>
                      <a:pt x="1675158" y="371276"/>
                      <a:pt x="1684490" y="368978"/>
                      <a:pt x="1693576" y="368650"/>
                    </a:cubicBezTo>
                    <a:close/>
                    <a:moveTo>
                      <a:pt x="708205" y="351349"/>
                    </a:moveTo>
                    <a:cubicBezTo>
                      <a:pt x="717170" y="351024"/>
                      <a:pt x="725809" y="352652"/>
                      <a:pt x="732002" y="356234"/>
                    </a:cubicBezTo>
                    <a:lnTo>
                      <a:pt x="1074281" y="553577"/>
                    </a:lnTo>
                    <a:cubicBezTo>
                      <a:pt x="1086668" y="560741"/>
                      <a:pt x="1085364" y="573767"/>
                      <a:pt x="1071021" y="582234"/>
                    </a:cubicBezTo>
                    <a:lnTo>
                      <a:pt x="913247" y="672764"/>
                    </a:lnTo>
                    <a:cubicBezTo>
                      <a:pt x="898904" y="681882"/>
                      <a:pt x="876737" y="682534"/>
                      <a:pt x="863698" y="675369"/>
                    </a:cubicBezTo>
                    <a:lnTo>
                      <a:pt x="521419" y="478027"/>
                    </a:lnTo>
                    <a:cubicBezTo>
                      <a:pt x="508380" y="470211"/>
                      <a:pt x="509684" y="457836"/>
                      <a:pt x="524679" y="449370"/>
                    </a:cubicBezTo>
                    <a:lnTo>
                      <a:pt x="682453" y="358188"/>
                    </a:lnTo>
                    <a:cubicBezTo>
                      <a:pt x="689950" y="353955"/>
                      <a:pt x="699241" y="351675"/>
                      <a:pt x="708205" y="351349"/>
                    </a:cubicBezTo>
                    <a:close/>
                    <a:moveTo>
                      <a:pt x="1912808" y="325424"/>
                    </a:moveTo>
                    <a:cubicBezTo>
                      <a:pt x="1921879" y="325099"/>
                      <a:pt x="1930705" y="326724"/>
                      <a:pt x="1937242" y="330299"/>
                    </a:cubicBezTo>
                    <a:lnTo>
                      <a:pt x="2096099" y="421954"/>
                    </a:lnTo>
                    <a:cubicBezTo>
                      <a:pt x="2109173" y="429104"/>
                      <a:pt x="2107866" y="442105"/>
                      <a:pt x="2092830" y="450555"/>
                    </a:cubicBezTo>
                    <a:lnTo>
                      <a:pt x="2040531" y="480457"/>
                    </a:lnTo>
                    <a:cubicBezTo>
                      <a:pt x="2025496" y="488907"/>
                      <a:pt x="2003269" y="489557"/>
                      <a:pt x="1990848" y="482407"/>
                    </a:cubicBezTo>
                    <a:lnTo>
                      <a:pt x="1831337" y="390752"/>
                    </a:lnTo>
                    <a:cubicBezTo>
                      <a:pt x="1818916" y="383602"/>
                      <a:pt x="1820223" y="370601"/>
                      <a:pt x="1835259" y="362151"/>
                    </a:cubicBezTo>
                    <a:lnTo>
                      <a:pt x="1886904" y="332249"/>
                    </a:lnTo>
                    <a:cubicBezTo>
                      <a:pt x="1894422" y="328024"/>
                      <a:pt x="1903738" y="325749"/>
                      <a:pt x="1912808" y="325424"/>
                    </a:cubicBezTo>
                    <a:close/>
                    <a:moveTo>
                      <a:pt x="1449323" y="227493"/>
                    </a:moveTo>
                    <a:cubicBezTo>
                      <a:pt x="1458327" y="227168"/>
                      <a:pt x="1467003" y="228794"/>
                      <a:pt x="1473224" y="232369"/>
                    </a:cubicBezTo>
                    <a:lnTo>
                      <a:pt x="1633002" y="324037"/>
                    </a:lnTo>
                    <a:cubicBezTo>
                      <a:pt x="1645444" y="331188"/>
                      <a:pt x="1644134" y="343540"/>
                      <a:pt x="1629073" y="352642"/>
                    </a:cubicBezTo>
                    <a:lnTo>
                      <a:pt x="1471259" y="443009"/>
                    </a:lnTo>
                    <a:cubicBezTo>
                      <a:pt x="1456198" y="451461"/>
                      <a:pt x="1433934" y="452111"/>
                      <a:pt x="1421492" y="444960"/>
                    </a:cubicBezTo>
                    <a:lnTo>
                      <a:pt x="1261714" y="353292"/>
                    </a:lnTo>
                    <a:cubicBezTo>
                      <a:pt x="1248617" y="346141"/>
                      <a:pt x="1249927" y="333138"/>
                      <a:pt x="1264988" y="324687"/>
                    </a:cubicBezTo>
                    <a:lnTo>
                      <a:pt x="1423457" y="234320"/>
                    </a:lnTo>
                    <a:cubicBezTo>
                      <a:pt x="1430988" y="230094"/>
                      <a:pt x="1440319" y="227819"/>
                      <a:pt x="1449323" y="227493"/>
                    </a:cubicBezTo>
                    <a:close/>
                    <a:moveTo>
                      <a:pt x="947556" y="213501"/>
                    </a:moveTo>
                    <a:cubicBezTo>
                      <a:pt x="956611" y="213094"/>
                      <a:pt x="965421" y="214721"/>
                      <a:pt x="971948" y="218624"/>
                    </a:cubicBezTo>
                    <a:lnTo>
                      <a:pt x="1249314" y="378020"/>
                    </a:lnTo>
                    <a:cubicBezTo>
                      <a:pt x="1262366" y="385827"/>
                      <a:pt x="1260408" y="398189"/>
                      <a:pt x="1246051" y="406647"/>
                    </a:cubicBezTo>
                    <a:lnTo>
                      <a:pt x="1088768" y="497730"/>
                    </a:lnTo>
                    <a:cubicBezTo>
                      <a:pt x="1073757" y="506188"/>
                      <a:pt x="1051568" y="506838"/>
                      <a:pt x="1038515" y="499682"/>
                    </a:cubicBezTo>
                    <a:lnTo>
                      <a:pt x="760497" y="339635"/>
                    </a:lnTo>
                    <a:cubicBezTo>
                      <a:pt x="747444" y="332479"/>
                      <a:pt x="749402" y="319467"/>
                      <a:pt x="764412" y="311009"/>
                    </a:cubicBezTo>
                    <a:lnTo>
                      <a:pt x="921695" y="220576"/>
                    </a:lnTo>
                    <a:cubicBezTo>
                      <a:pt x="929200" y="216347"/>
                      <a:pt x="938500" y="213907"/>
                      <a:pt x="947556" y="213501"/>
                    </a:cubicBezTo>
                    <a:close/>
                    <a:moveTo>
                      <a:pt x="1668066" y="184731"/>
                    </a:moveTo>
                    <a:cubicBezTo>
                      <a:pt x="1677055" y="184319"/>
                      <a:pt x="1685880" y="185966"/>
                      <a:pt x="1692417" y="189918"/>
                    </a:cubicBezTo>
                    <a:lnTo>
                      <a:pt x="1851274" y="282133"/>
                    </a:lnTo>
                    <a:cubicBezTo>
                      <a:pt x="1864348" y="290037"/>
                      <a:pt x="1863041" y="302552"/>
                      <a:pt x="1848005" y="311115"/>
                    </a:cubicBezTo>
                    <a:lnTo>
                      <a:pt x="1796360" y="341414"/>
                    </a:lnTo>
                    <a:cubicBezTo>
                      <a:pt x="1781325" y="350636"/>
                      <a:pt x="1758444" y="351294"/>
                      <a:pt x="1746023" y="344049"/>
                    </a:cubicBezTo>
                    <a:lnTo>
                      <a:pt x="1586513" y="251175"/>
                    </a:lnTo>
                    <a:cubicBezTo>
                      <a:pt x="1574092" y="243271"/>
                      <a:pt x="1575399" y="230756"/>
                      <a:pt x="1590435" y="222193"/>
                    </a:cubicBezTo>
                    <a:lnTo>
                      <a:pt x="1642734" y="191894"/>
                    </a:lnTo>
                    <a:cubicBezTo>
                      <a:pt x="1649925" y="187613"/>
                      <a:pt x="1659077" y="185143"/>
                      <a:pt x="1668066" y="184731"/>
                    </a:cubicBezTo>
                    <a:close/>
                    <a:moveTo>
                      <a:pt x="1203925" y="83583"/>
                    </a:moveTo>
                    <a:cubicBezTo>
                      <a:pt x="1213010" y="83172"/>
                      <a:pt x="1221851" y="84814"/>
                      <a:pt x="1228399" y="88424"/>
                    </a:cubicBezTo>
                    <a:lnTo>
                      <a:pt x="1387523" y="180988"/>
                    </a:lnTo>
                    <a:cubicBezTo>
                      <a:pt x="1400619" y="188865"/>
                      <a:pt x="1399310" y="201339"/>
                      <a:pt x="1384248" y="210529"/>
                    </a:cubicBezTo>
                    <a:lnTo>
                      <a:pt x="1225779" y="301780"/>
                    </a:lnTo>
                    <a:cubicBezTo>
                      <a:pt x="1210718" y="310314"/>
                      <a:pt x="1189109" y="310971"/>
                      <a:pt x="1176012" y="303749"/>
                    </a:cubicBezTo>
                    <a:lnTo>
                      <a:pt x="1016234" y="211186"/>
                    </a:lnTo>
                    <a:cubicBezTo>
                      <a:pt x="1003792" y="203965"/>
                      <a:pt x="1005102" y="190835"/>
                      <a:pt x="1020163" y="182301"/>
                    </a:cubicBezTo>
                    <a:lnTo>
                      <a:pt x="1177977" y="91050"/>
                    </a:lnTo>
                    <a:cubicBezTo>
                      <a:pt x="1185508" y="86455"/>
                      <a:pt x="1194839" y="83993"/>
                      <a:pt x="1203925" y="83583"/>
                    </a:cubicBezTo>
                    <a:close/>
                    <a:moveTo>
                      <a:pt x="1348596" y="61"/>
                    </a:moveTo>
                    <a:cubicBezTo>
                      <a:pt x="1357667" y="-350"/>
                      <a:pt x="1366492" y="1297"/>
                      <a:pt x="1372703" y="4919"/>
                    </a:cubicBezTo>
                    <a:lnTo>
                      <a:pt x="1532213" y="97793"/>
                    </a:lnTo>
                    <a:cubicBezTo>
                      <a:pt x="1544634" y="105038"/>
                      <a:pt x="1543327" y="118212"/>
                      <a:pt x="1528945" y="126775"/>
                    </a:cubicBezTo>
                    <a:lnTo>
                      <a:pt x="1476646" y="157074"/>
                    </a:lnTo>
                    <a:cubicBezTo>
                      <a:pt x="1461610" y="166296"/>
                      <a:pt x="1439383" y="166954"/>
                      <a:pt x="1426309" y="159709"/>
                    </a:cubicBezTo>
                    <a:lnTo>
                      <a:pt x="1267452" y="66835"/>
                    </a:lnTo>
                    <a:cubicBezTo>
                      <a:pt x="1254377" y="59590"/>
                      <a:pt x="1256338" y="46416"/>
                      <a:pt x="1270720" y="37853"/>
                    </a:cubicBezTo>
                    <a:lnTo>
                      <a:pt x="1323019" y="7554"/>
                    </a:lnTo>
                    <a:cubicBezTo>
                      <a:pt x="1330210" y="2943"/>
                      <a:pt x="1339526" y="473"/>
                      <a:pt x="1348596" y="61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9" name="Freeform 333">
                <a:extLst>
                  <a:ext uri="{FF2B5EF4-FFF2-40B4-BE49-F238E27FC236}">
                    <a16:creationId xmlns:a16="http://schemas.microsoft.com/office/drawing/2014/main" id="{00EE10D7-C6EA-3E42-A33C-10A8E56E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9721" y="9715262"/>
                <a:ext cx="2292721" cy="1347982"/>
              </a:xfrm>
              <a:custGeom>
                <a:avLst/>
                <a:gdLst>
                  <a:gd name="T0" fmla="*/ 1965 w 3508"/>
                  <a:gd name="T1" fmla="*/ 1985 h 2064"/>
                  <a:gd name="T2" fmla="*/ 1965 w 3508"/>
                  <a:gd name="T3" fmla="*/ 1985 h 2064"/>
                  <a:gd name="T4" fmla="*/ 2162 w 3508"/>
                  <a:gd name="T5" fmla="*/ 1975 h 2064"/>
                  <a:gd name="T6" fmla="*/ 3407 w 3508"/>
                  <a:gd name="T7" fmla="*/ 1256 h 2064"/>
                  <a:gd name="T8" fmla="*/ 3407 w 3508"/>
                  <a:gd name="T9" fmla="*/ 1256 h 2064"/>
                  <a:gd name="T10" fmla="*/ 3448 w 3508"/>
                  <a:gd name="T11" fmla="*/ 1207 h 2064"/>
                  <a:gd name="T12" fmla="*/ 3448 w 3508"/>
                  <a:gd name="T13" fmla="*/ 1207 h 2064"/>
                  <a:gd name="T14" fmla="*/ 3423 w 3508"/>
                  <a:gd name="T15" fmla="*/ 1176 h 2064"/>
                  <a:gd name="T16" fmla="*/ 1542 w 3508"/>
                  <a:gd name="T17" fmla="*/ 90 h 2064"/>
                  <a:gd name="T18" fmla="*/ 1542 w 3508"/>
                  <a:gd name="T19" fmla="*/ 90 h 2064"/>
                  <a:gd name="T20" fmla="*/ 1345 w 3508"/>
                  <a:gd name="T21" fmla="*/ 100 h 2064"/>
                  <a:gd name="T22" fmla="*/ 99 w 3508"/>
                  <a:gd name="T23" fmla="*/ 819 h 2064"/>
                  <a:gd name="T24" fmla="*/ 99 w 3508"/>
                  <a:gd name="T25" fmla="*/ 819 h 2064"/>
                  <a:gd name="T26" fmla="*/ 59 w 3508"/>
                  <a:gd name="T27" fmla="*/ 867 h 2064"/>
                  <a:gd name="T28" fmla="*/ 59 w 3508"/>
                  <a:gd name="T29" fmla="*/ 867 h 2064"/>
                  <a:gd name="T30" fmla="*/ 83 w 3508"/>
                  <a:gd name="T31" fmla="*/ 898 h 2064"/>
                  <a:gd name="T32" fmla="*/ 1965 w 3508"/>
                  <a:gd name="T33" fmla="*/ 1985 h 2064"/>
                  <a:gd name="T34" fmla="*/ 2048 w 3508"/>
                  <a:gd name="T35" fmla="*/ 2063 h 2064"/>
                  <a:gd name="T36" fmla="*/ 2048 w 3508"/>
                  <a:gd name="T37" fmla="*/ 2063 h 2064"/>
                  <a:gd name="T38" fmla="*/ 1935 w 3508"/>
                  <a:gd name="T39" fmla="*/ 2035 h 2064"/>
                  <a:gd name="T40" fmla="*/ 1935 w 3508"/>
                  <a:gd name="T41" fmla="*/ 2035 h 2064"/>
                  <a:gd name="T42" fmla="*/ 53 w 3508"/>
                  <a:gd name="T43" fmla="*/ 950 h 2064"/>
                  <a:gd name="T44" fmla="*/ 53 w 3508"/>
                  <a:gd name="T45" fmla="*/ 950 h 2064"/>
                  <a:gd name="T46" fmla="*/ 0 w 3508"/>
                  <a:gd name="T47" fmla="*/ 867 h 2064"/>
                  <a:gd name="T48" fmla="*/ 0 w 3508"/>
                  <a:gd name="T49" fmla="*/ 867 h 2064"/>
                  <a:gd name="T50" fmla="*/ 70 w 3508"/>
                  <a:gd name="T51" fmla="*/ 767 h 2064"/>
                  <a:gd name="T52" fmla="*/ 1316 w 3508"/>
                  <a:gd name="T53" fmla="*/ 49 h 2064"/>
                  <a:gd name="T54" fmla="*/ 1316 w 3508"/>
                  <a:gd name="T55" fmla="*/ 49 h 2064"/>
                  <a:gd name="T56" fmla="*/ 1572 w 3508"/>
                  <a:gd name="T57" fmla="*/ 39 h 2064"/>
                  <a:gd name="T58" fmla="*/ 3453 w 3508"/>
                  <a:gd name="T59" fmla="*/ 1125 h 2064"/>
                  <a:gd name="T60" fmla="*/ 3453 w 3508"/>
                  <a:gd name="T61" fmla="*/ 1125 h 2064"/>
                  <a:gd name="T62" fmla="*/ 3507 w 3508"/>
                  <a:gd name="T63" fmla="*/ 1207 h 2064"/>
                  <a:gd name="T64" fmla="*/ 3507 w 3508"/>
                  <a:gd name="T65" fmla="*/ 1207 h 2064"/>
                  <a:gd name="T66" fmla="*/ 3437 w 3508"/>
                  <a:gd name="T67" fmla="*/ 1307 h 2064"/>
                  <a:gd name="T68" fmla="*/ 2191 w 3508"/>
                  <a:gd name="T69" fmla="*/ 2026 h 2064"/>
                  <a:gd name="T70" fmla="*/ 2191 w 3508"/>
                  <a:gd name="T71" fmla="*/ 2026 h 2064"/>
                  <a:gd name="T72" fmla="*/ 2048 w 3508"/>
                  <a:gd name="T73" fmla="*/ 2063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08" h="2064">
                    <a:moveTo>
                      <a:pt x="1965" y="1985"/>
                    </a:moveTo>
                    <a:lnTo>
                      <a:pt x="1965" y="1985"/>
                    </a:lnTo>
                    <a:cubicBezTo>
                      <a:pt x="2013" y="2013"/>
                      <a:pt x="2104" y="2009"/>
                      <a:pt x="2162" y="1975"/>
                    </a:cubicBezTo>
                    <a:lnTo>
                      <a:pt x="3407" y="1256"/>
                    </a:lnTo>
                    <a:lnTo>
                      <a:pt x="3407" y="1256"/>
                    </a:lnTo>
                    <a:cubicBezTo>
                      <a:pt x="3433" y="1241"/>
                      <a:pt x="3448" y="1223"/>
                      <a:pt x="3448" y="1207"/>
                    </a:cubicBezTo>
                    <a:lnTo>
                      <a:pt x="3448" y="1207"/>
                    </a:lnTo>
                    <a:cubicBezTo>
                      <a:pt x="3448" y="1193"/>
                      <a:pt x="3433" y="1182"/>
                      <a:pt x="3423" y="1176"/>
                    </a:cubicBezTo>
                    <a:lnTo>
                      <a:pt x="1542" y="90"/>
                    </a:lnTo>
                    <a:lnTo>
                      <a:pt x="1542" y="90"/>
                    </a:lnTo>
                    <a:cubicBezTo>
                      <a:pt x="1493" y="61"/>
                      <a:pt x="1402" y="66"/>
                      <a:pt x="1345" y="100"/>
                    </a:cubicBezTo>
                    <a:lnTo>
                      <a:pt x="99" y="819"/>
                    </a:lnTo>
                    <a:lnTo>
                      <a:pt x="99" y="819"/>
                    </a:lnTo>
                    <a:cubicBezTo>
                      <a:pt x="74" y="833"/>
                      <a:pt x="59" y="851"/>
                      <a:pt x="59" y="867"/>
                    </a:cubicBezTo>
                    <a:lnTo>
                      <a:pt x="59" y="867"/>
                    </a:lnTo>
                    <a:cubicBezTo>
                      <a:pt x="59" y="882"/>
                      <a:pt x="74" y="893"/>
                      <a:pt x="83" y="898"/>
                    </a:cubicBezTo>
                    <a:lnTo>
                      <a:pt x="1965" y="1985"/>
                    </a:lnTo>
                    <a:close/>
                    <a:moveTo>
                      <a:pt x="2048" y="2063"/>
                    </a:moveTo>
                    <a:lnTo>
                      <a:pt x="2048" y="2063"/>
                    </a:lnTo>
                    <a:cubicBezTo>
                      <a:pt x="2006" y="2063"/>
                      <a:pt x="1966" y="2054"/>
                      <a:pt x="1935" y="2035"/>
                    </a:cubicBezTo>
                    <a:lnTo>
                      <a:pt x="1935" y="2035"/>
                    </a:lnTo>
                    <a:lnTo>
                      <a:pt x="53" y="950"/>
                    </a:lnTo>
                    <a:lnTo>
                      <a:pt x="53" y="950"/>
                    </a:lnTo>
                    <a:cubicBezTo>
                      <a:pt x="19" y="930"/>
                      <a:pt x="0" y="900"/>
                      <a:pt x="0" y="867"/>
                    </a:cubicBezTo>
                    <a:lnTo>
                      <a:pt x="0" y="867"/>
                    </a:lnTo>
                    <a:cubicBezTo>
                      <a:pt x="0" y="830"/>
                      <a:pt x="25" y="793"/>
                      <a:pt x="70" y="767"/>
                    </a:cubicBezTo>
                    <a:lnTo>
                      <a:pt x="1316" y="49"/>
                    </a:lnTo>
                    <a:lnTo>
                      <a:pt x="1316" y="49"/>
                    </a:lnTo>
                    <a:cubicBezTo>
                      <a:pt x="1392" y="4"/>
                      <a:pt x="1504" y="0"/>
                      <a:pt x="1572" y="39"/>
                    </a:cubicBezTo>
                    <a:lnTo>
                      <a:pt x="3453" y="1125"/>
                    </a:lnTo>
                    <a:lnTo>
                      <a:pt x="3453" y="1125"/>
                    </a:lnTo>
                    <a:cubicBezTo>
                      <a:pt x="3488" y="1145"/>
                      <a:pt x="3507" y="1174"/>
                      <a:pt x="3507" y="1207"/>
                    </a:cubicBezTo>
                    <a:lnTo>
                      <a:pt x="3507" y="1207"/>
                    </a:lnTo>
                    <a:cubicBezTo>
                      <a:pt x="3507" y="1245"/>
                      <a:pt x="3482" y="1281"/>
                      <a:pt x="3437" y="1307"/>
                    </a:cubicBezTo>
                    <a:lnTo>
                      <a:pt x="2191" y="2026"/>
                    </a:lnTo>
                    <a:lnTo>
                      <a:pt x="2191" y="2026"/>
                    </a:lnTo>
                    <a:cubicBezTo>
                      <a:pt x="2150" y="2050"/>
                      <a:pt x="2098" y="2063"/>
                      <a:pt x="2048" y="206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4A97276B-D84F-CC4D-B64D-4E4E315890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69639" y="9982582"/>
                <a:ext cx="945436" cy="602836"/>
              </a:xfrm>
              <a:custGeom>
                <a:avLst/>
                <a:gdLst>
                  <a:gd name="connsiteX0" fmla="*/ 281692 w 945436"/>
                  <a:gd name="connsiteY0" fmla="*/ 526729 h 602836"/>
                  <a:gd name="connsiteX1" fmla="*/ 304108 w 945436"/>
                  <a:gd name="connsiteY1" fmla="*/ 532630 h 602836"/>
                  <a:gd name="connsiteX2" fmla="*/ 307345 w 945436"/>
                  <a:gd name="connsiteY2" fmla="*/ 557546 h 602836"/>
                  <a:gd name="connsiteX3" fmla="*/ 234836 w 945436"/>
                  <a:gd name="connsiteY3" fmla="*/ 598853 h 602836"/>
                  <a:gd name="connsiteX4" fmla="*/ 191459 w 945436"/>
                  <a:gd name="connsiteY4" fmla="*/ 596886 h 602836"/>
                  <a:gd name="connsiteX5" fmla="*/ 188870 w 945436"/>
                  <a:gd name="connsiteY5" fmla="*/ 571971 h 602836"/>
                  <a:gd name="connsiteX6" fmla="*/ 260732 w 945436"/>
                  <a:gd name="connsiteY6" fmla="*/ 530663 h 602836"/>
                  <a:gd name="connsiteX7" fmla="*/ 281692 w 945436"/>
                  <a:gd name="connsiteY7" fmla="*/ 526729 h 602836"/>
                  <a:gd name="connsiteX8" fmla="*/ 912177 w 945436"/>
                  <a:gd name="connsiteY8" fmla="*/ 394327 h 602836"/>
                  <a:gd name="connsiteX9" fmla="*/ 934774 w 945436"/>
                  <a:gd name="connsiteY9" fmla="*/ 400173 h 602836"/>
                  <a:gd name="connsiteX10" fmla="*/ 937384 w 945436"/>
                  <a:gd name="connsiteY10" fmla="*/ 425862 h 602836"/>
                  <a:gd name="connsiteX11" fmla="*/ 708316 w 945436"/>
                  <a:gd name="connsiteY11" fmla="*/ 554963 h 602836"/>
                  <a:gd name="connsiteX12" fmla="*/ 664591 w 945436"/>
                  <a:gd name="connsiteY12" fmla="*/ 552986 h 602836"/>
                  <a:gd name="connsiteX13" fmla="*/ 661327 w 945436"/>
                  <a:gd name="connsiteY13" fmla="*/ 528615 h 602836"/>
                  <a:gd name="connsiteX14" fmla="*/ 891049 w 945436"/>
                  <a:gd name="connsiteY14" fmla="*/ 398856 h 602836"/>
                  <a:gd name="connsiteX15" fmla="*/ 912177 w 945436"/>
                  <a:gd name="connsiteY15" fmla="*/ 394327 h 602836"/>
                  <a:gd name="connsiteX16" fmla="*/ 564235 w 945436"/>
                  <a:gd name="connsiteY16" fmla="*/ 368386 h 602836"/>
                  <a:gd name="connsiteX17" fmla="*/ 586879 w 945436"/>
                  <a:gd name="connsiteY17" fmla="*/ 374175 h 602836"/>
                  <a:gd name="connsiteX18" fmla="*/ 589495 w 945436"/>
                  <a:gd name="connsiteY18" fmla="*/ 399618 h 602836"/>
                  <a:gd name="connsiteX19" fmla="*/ 388723 w 945436"/>
                  <a:gd name="connsiteY19" fmla="*/ 511826 h 602836"/>
                  <a:gd name="connsiteX20" fmla="*/ 344253 w 945436"/>
                  <a:gd name="connsiteY20" fmla="*/ 509869 h 602836"/>
                  <a:gd name="connsiteX21" fmla="*/ 341637 w 945436"/>
                  <a:gd name="connsiteY21" fmla="*/ 485079 h 602836"/>
                  <a:gd name="connsiteX22" fmla="*/ 543063 w 945436"/>
                  <a:gd name="connsiteY22" fmla="*/ 372871 h 602836"/>
                  <a:gd name="connsiteX23" fmla="*/ 564235 w 945436"/>
                  <a:gd name="connsiteY23" fmla="*/ 368386 h 602836"/>
                  <a:gd name="connsiteX24" fmla="*/ 206448 w 945436"/>
                  <a:gd name="connsiteY24" fmla="*/ 345251 h 602836"/>
                  <a:gd name="connsiteX25" fmla="*/ 229078 w 945436"/>
                  <a:gd name="connsiteY25" fmla="*/ 351093 h 602836"/>
                  <a:gd name="connsiteX26" fmla="*/ 232346 w 945436"/>
                  <a:gd name="connsiteY26" fmla="*/ 375758 h 602836"/>
                  <a:gd name="connsiteX27" fmla="*/ 54572 w 945436"/>
                  <a:gd name="connsiteY27" fmla="*/ 474419 h 602836"/>
                  <a:gd name="connsiteX28" fmla="*/ 10783 w 945436"/>
                  <a:gd name="connsiteY28" fmla="*/ 472472 h 602836"/>
                  <a:gd name="connsiteX29" fmla="*/ 7515 w 945436"/>
                  <a:gd name="connsiteY29" fmla="*/ 447807 h 602836"/>
                  <a:gd name="connsiteX30" fmla="*/ 185288 w 945436"/>
                  <a:gd name="connsiteY30" fmla="*/ 349146 h 602836"/>
                  <a:gd name="connsiteX31" fmla="*/ 206448 w 945436"/>
                  <a:gd name="connsiteY31" fmla="*/ 345251 h 602836"/>
                  <a:gd name="connsiteX32" fmla="*/ 817024 w 945436"/>
                  <a:gd name="connsiteY32" fmla="*/ 339588 h 602836"/>
                  <a:gd name="connsiteX33" fmla="*/ 839062 w 945436"/>
                  <a:gd name="connsiteY33" fmla="*/ 346049 h 602836"/>
                  <a:gd name="connsiteX34" fmla="*/ 842980 w 945436"/>
                  <a:gd name="connsiteY34" fmla="*/ 370257 h 602836"/>
                  <a:gd name="connsiteX35" fmla="*/ 492326 w 945436"/>
                  <a:gd name="connsiteY35" fmla="*/ 567186 h 602836"/>
                  <a:gd name="connsiteX36" fmla="*/ 449229 w 945436"/>
                  <a:gd name="connsiteY36" fmla="*/ 565224 h 602836"/>
                  <a:gd name="connsiteX37" fmla="*/ 445311 w 945436"/>
                  <a:gd name="connsiteY37" fmla="*/ 540362 h 602836"/>
                  <a:gd name="connsiteX38" fmla="*/ 795965 w 945436"/>
                  <a:gd name="connsiteY38" fmla="*/ 343432 h 602836"/>
                  <a:gd name="connsiteX39" fmla="*/ 817024 w 945436"/>
                  <a:gd name="connsiteY39" fmla="*/ 339588 h 602836"/>
                  <a:gd name="connsiteX40" fmla="*/ 717024 w 945436"/>
                  <a:gd name="connsiteY40" fmla="*/ 281953 h 602836"/>
                  <a:gd name="connsiteX41" fmla="*/ 739588 w 945436"/>
                  <a:gd name="connsiteY41" fmla="*/ 287679 h 602836"/>
                  <a:gd name="connsiteX42" fmla="*/ 742194 w 945436"/>
                  <a:gd name="connsiteY42" fmla="*/ 312841 h 602836"/>
                  <a:gd name="connsiteX43" fmla="*/ 667254 w 945436"/>
                  <a:gd name="connsiteY43" fmla="*/ 354133 h 602836"/>
                  <a:gd name="connsiteX44" fmla="*/ 623594 w 945436"/>
                  <a:gd name="connsiteY44" fmla="*/ 352198 h 602836"/>
                  <a:gd name="connsiteX45" fmla="*/ 620987 w 945436"/>
                  <a:gd name="connsiteY45" fmla="*/ 327681 h 602836"/>
                  <a:gd name="connsiteX46" fmla="*/ 695927 w 945436"/>
                  <a:gd name="connsiteY46" fmla="*/ 286389 h 602836"/>
                  <a:gd name="connsiteX47" fmla="*/ 717024 w 945436"/>
                  <a:gd name="connsiteY47" fmla="*/ 281953 h 602836"/>
                  <a:gd name="connsiteX48" fmla="*/ 405208 w 945436"/>
                  <a:gd name="connsiteY48" fmla="*/ 233070 h 602836"/>
                  <a:gd name="connsiteX49" fmla="*/ 427827 w 945436"/>
                  <a:gd name="connsiteY49" fmla="*/ 239368 h 602836"/>
                  <a:gd name="connsiteX50" fmla="*/ 431093 w 945436"/>
                  <a:gd name="connsiteY50" fmla="*/ 263911 h 602836"/>
                  <a:gd name="connsiteX51" fmla="*/ 310239 w 945436"/>
                  <a:gd name="connsiteY51" fmla="*/ 330438 h 602836"/>
                  <a:gd name="connsiteX52" fmla="*/ 267124 w 945436"/>
                  <a:gd name="connsiteY52" fmla="*/ 328501 h 602836"/>
                  <a:gd name="connsiteX53" fmla="*/ 263857 w 945436"/>
                  <a:gd name="connsiteY53" fmla="*/ 303957 h 602836"/>
                  <a:gd name="connsiteX54" fmla="*/ 384058 w 945436"/>
                  <a:gd name="connsiteY54" fmla="*/ 237430 h 602836"/>
                  <a:gd name="connsiteX55" fmla="*/ 405208 w 945436"/>
                  <a:gd name="connsiteY55" fmla="*/ 233070 h 602836"/>
                  <a:gd name="connsiteX56" fmla="*/ 618308 w 945436"/>
                  <a:gd name="connsiteY56" fmla="*/ 227258 h 602836"/>
                  <a:gd name="connsiteX57" fmla="*/ 640952 w 945436"/>
                  <a:gd name="connsiteY57" fmla="*/ 233728 h 602836"/>
                  <a:gd name="connsiteX58" fmla="*/ 644222 w 945436"/>
                  <a:gd name="connsiteY58" fmla="*/ 257970 h 602836"/>
                  <a:gd name="connsiteX59" fmla="*/ 442796 w 945436"/>
                  <a:gd name="connsiteY59" fmla="*/ 371316 h 602836"/>
                  <a:gd name="connsiteX60" fmla="*/ 399634 w 945436"/>
                  <a:gd name="connsiteY60" fmla="*/ 368695 h 602836"/>
                  <a:gd name="connsiteX61" fmla="*/ 395710 w 945436"/>
                  <a:gd name="connsiteY61" fmla="*/ 344454 h 602836"/>
                  <a:gd name="connsiteX62" fmla="*/ 597136 w 945436"/>
                  <a:gd name="connsiteY62" fmla="*/ 231108 h 602836"/>
                  <a:gd name="connsiteX63" fmla="*/ 618308 w 945436"/>
                  <a:gd name="connsiteY63" fmla="*/ 227258 h 602836"/>
                  <a:gd name="connsiteX64" fmla="*/ 521037 w 945436"/>
                  <a:gd name="connsiteY64" fmla="*/ 169535 h 602836"/>
                  <a:gd name="connsiteX65" fmla="*/ 543057 w 945436"/>
                  <a:gd name="connsiteY65" fmla="*/ 175323 h 602836"/>
                  <a:gd name="connsiteX66" fmla="*/ 546319 w 945436"/>
                  <a:gd name="connsiteY66" fmla="*/ 199764 h 602836"/>
                  <a:gd name="connsiteX67" fmla="*/ 498038 w 945436"/>
                  <a:gd name="connsiteY67" fmla="*/ 226778 h 602836"/>
                  <a:gd name="connsiteX68" fmla="*/ 454324 w 945436"/>
                  <a:gd name="connsiteY68" fmla="*/ 224848 h 602836"/>
                  <a:gd name="connsiteX69" fmla="*/ 451714 w 945436"/>
                  <a:gd name="connsiteY69" fmla="*/ 199764 h 602836"/>
                  <a:gd name="connsiteX70" fmla="*/ 499995 w 945436"/>
                  <a:gd name="connsiteY70" fmla="*/ 173394 h 602836"/>
                  <a:gd name="connsiteX71" fmla="*/ 521037 w 945436"/>
                  <a:gd name="connsiteY71" fmla="*/ 169535 h 602836"/>
                  <a:gd name="connsiteX72" fmla="*/ 189256 w 945436"/>
                  <a:gd name="connsiteY72" fmla="*/ 132629 h 602836"/>
                  <a:gd name="connsiteX73" fmla="*/ 211831 w 945436"/>
                  <a:gd name="connsiteY73" fmla="*/ 139373 h 602836"/>
                  <a:gd name="connsiteX74" fmla="*/ 215091 w 945436"/>
                  <a:gd name="connsiteY74" fmla="*/ 163717 h 602836"/>
                  <a:gd name="connsiteX75" fmla="*/ 57311 w 945436"/>
                  <a:gd name="connsiteY75" fmla="*/ 253196 h 602836"/>
                  <a:gd name="connsiteX76" fmla="*/ 13628 w 945436"/>
                  <a:gd name="connsiteY76" fmla="*/ 251222 h 602836"/>
                  <a:gd name="connsiteX77" fmla="*/ 10368 w 945436"/>
                  <a:gd name="connsiteY77" fmla="*/ 226220 h 602836"/>
                  <a:gd name="connsiteX78" fmla="*/ 168148 w 945436"/>
                  <a:gd name="connsiteY78" fmla="*/ 136741 h 602836"/>
                  <a:gd name="connsiteX79" fmla="*/ 189256 w 945436"/>
                  <a:gd name="connsiteY79" fmla="*/ 132629 h 602836"/>
                  <a:gd name="connsiteX80" fmla="*/ 422553 w 945436"/>
                  <a:gd name="connsiteY80" fmla="*/ 114929 h 602836"/>
                  <a:gd name="connsiteX81" fmla="*/ 445134 w 945436"/>
                  <a:gd name="connsiteY81" fmla="*/ 121403 h 602836"/>
                  <a:gd name="connsiteX82" fmla="*/ 448394 w 945436"/>
                  <a:gd name="connsiteY82" fmla="*/ 145659 h 602836"/>
                  <a:gd name="connsiteX83" fmla="*/ 207101 w 945436"/>
                  <a:gd name="connsiteY83" fmla="*/ 282022 h 602836"/>
                  <a:gd name="connsiteX84" fmla="*/ 163407 w 945436"/>
                  <a:gd name="connsiteY84" fmla="*/ 280055 h 602836"/>
                  <a:gd name="connsiteX85" fmla="*/ 160146 w 945436"/>
                  <a:gd name="connsiteY85" fmla="*/ 254487 h 602836"/>
                  <a:gd name="connsiteX86" fmla="*/ 401440 w 945436"/>
                  <a:gd name="connsiteY86" fmla="*/ 118780 h 602836"/>
                  <a:gd name="connsiteX87" fmla="*/ 422553 w 945436"/>
                  <a:gd name="connsiteY87" fmla="*/ 114929 h 602836"/>
                  <a:gd name="connsiteX88" fmla="*/ 324670 w 945436"/>
                  <a:gd name="connsiteY88" fmla="*/ 57203 h 602836"/>
                  <a:gd name="connsiteX89" fmla="*/ 347222 w 945436"/>
                  <a:gd name="connsiteY89" fmla="*/ 62989 h 602836"/>
                  <a:gd name="connsiteX90" fmla="*/ 349828 w 945436"/>
                  <a:gd name="connsiteY90" fmla="*/ 87420 h 602836"/>
                  <a:gd name="connsiteX91" fmla="*/ 290557 w 945436"/>
                  <a:gd name="connsiteY91" fmla="*/ 120209 h 602836"/>
                  <a:gd name="connsiteX92" fmla="*/ 246917 w 945436"/>
                  <a:gd name="connsiteY92" fmla="*/ 118923 h 602836"/>
                  <a:gd name="connsiteX93" fmla="*/ 243661 w 945436"/>
                  <a:gd name="connsiteY93" fmla="*/ 93849 h 602836"/>
                  <a:gd name="connsiteX94" fmla="*/ 303583 w 945436"/>
                  <a:gd name="connsiteY94" fmla="*/ 61060 h 602836"/>
                  <a:gd name="connsiteX95" fmla="*/ 324670 w 945436"/>
                  <a:gd name="connsiteY95" fmla="*/ 57203 h 602836"/>
                  <a:gd name="connsiteX96" fmla="*/ 229349 w 945436"/>
                  <a:gd name="connsiteY96" fmla="*/ 98 h 602836"/>
                  <a:gd name="connsiteX97" fmla="*/ 252063 w 945436"/>
                  <a:gd name="connsiteY97" fmla="*/ 6741 h 602836"/>
                  <a:gd name="connsiteX98" fmla="*/ 255343 w 945436"/>
                  <a:gd name="connsiteY98" fmla="*/ 30720 h 602836"/>
                  <a:gd name="connsiteX99" fmla="*/ 140541 w 945436"/>
                  <a:gd name="connsiteY99" fmla="*/ 94230 h 602836"/>
                  <a:gd name="connsiteX100" fmla="*/ 96588 w 945436"/>
                  <a:gd name="connsiteY100" fmla="*/ 92286 h 602836"/>
                  <a:gd name="connsiteX101" fmla="*/ 93964 w 945436"/>
                  <a:gd name="connsiteY101" fmla="*/ 67011 h 602836"/>
                  <a:gd name="connsiteX102" fmla="*/ 208110 w 945436"/>
                  <a:gd name="connsiteY102" fmla="*/ 4149 h 602836"/>
                  <a:gd name="connsiteX103" fmla="*/ 229349 w 945436"/>
                  <a:gd name="connsiteY103" fmla="*/ 98 h 60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45436" h="602836">
                    <a:moveTo>
                      <a:pt x="281692" y="526729"/>
                    </a:moveTo>
                    <a:cubicBezTo>
                      <a:pt x="289542" y="527057"/>
                      <a:pt x="297634" y="529024"/>
                      <a:pt x="304108" y="532630"/>
                    </a:cubicBezTo>
                    <a:cubicBezTo>
                      <a:pt x="317056" y="539843"/>
                      <a:pt x="318351" y="551645"/>
                      <a:pt x="307345" y="557546"/>
                    </a:cubicBezTo>
                    <a:lnTo>
                      <a:pt x="234836" y="598853"/>
                    </a:lnTo>
                    <a:cubicBezTo>
                      <a:pt x="223830" y="604754"/>
                      <a:pt x="204408" y="604099"/>
                      <a:pt x="191459" y="596886"/>
                    </a:cubicBezTo>
                    <a:cubicBezTo>
                      <a:pt x="178511" y="589018"/>
                      <a:pt x="177864" y="577872"/>
                      <a:pt x="188870" y="571971"/>
                    </a:cubicBezTo>
                    <a:lnTo>
                      <a:pt x="260732" y="530663"/>
                    </a:lnTo>
                    <a:cubicBezTo>
                      <a:pt x="266235" y="527712"/>
                      <a:pt x="273842" y="526401"/>
                      <a:pt x="281692" y="526729"/>
                    </a:cubicBezTo>
                    <a:close/>
                    <a:moveTo>
                      <a:pt x="912177" y="394327"/>
                    </a:moveTo>
                    <a:cubicBezTo>
                      <a:pt x="920090" y="394574"/>
                      <a:pt x="928248" y="396550"/>
                      <a:pt x="934774" y="400173"/>
                    </a:cubicBezTo>
                    <a:cubicBezTo>
                      <a:pt x="947826" y="408077"/>
                      <a:pt x="949131" y="419275"/>
                      <a:pt x="937384" y="425862"/>
                    </a:cubicBezTo>
                    <a:lnTo>
                      <a:pt x="708316" y="554963"/>
                    </a:lnTo>
                    <a:cubicBezTo>
                      <a:pt x="697221" y="561549"/>
                      <a:pt x="677643" y="560891"/>
                      <a:pt x="664591" y="552986"/>
                    </a:cubicBezTo>
                    <a:cubicBezTo>
                      <a:pt x="651538" y="545741"/>
                      <a:pt x="650233" y="534544"/>
                      <a:pt x="661327" y="528615"/>
                    </a:cubicBezTo>
                    <a:lnTo>
                      <a:pt x="891049" y="398856"/>
                    </a:lnTo>
                    <a:cubicBezTo>
                      <a:pt x="896596" y="395562"/>
                      <a:pt x="904264" y="394080"/>
                      <a:pt x="912177" y="394327"/>
                    </a:cubicBezTo>
                    <a:close/>
                    <a:moveTo>
                      <a:pt x="564235" y="368386"/>
                    </a:moveTo>
                    <a:cubicBezTo>
                      <a:pt x="572165" y="368630"/>
                      <a:pt x="580339" y="370587"/>
                      <a:pt x="586879" y="374175"/>
                    </a:cubicBezTo>
                    <a:cubicBezTo>
                      <a:pt x="599305" y="382004"/>
                      <a:pt x="600613" y="393094"/>
                      <a:pt x="589495" y="399618"/>
                    </a:cubicBezTo>
                    <a:lnTo>
                      <a:pt x="388723" y="511826"/>
                    </a:lnTo>
                    <a:cubicBezTo>
                      <a:pt x="376952" y="518350"/>
                      <a:pt x="357332" y="517045"/>
                      <a:pt x="344253" y="509869"/>
                    </a:cubicBezTo>
                    <a:cubicBezTo>
                      <a:pt x="331827" y="502693"/>
                      <a:pt x="330519" y="491602"/>
                      <a:pt x="341637" y="485079"/>
                    </a:cubicBezTo>
                    <a:lnTo>
                      <a:pt x="543063" y="372871"/>
                    </a:lnTo>
                    <a:cubicBezTo>
                      <a:pt x="548621" y="369609"/>
                      <a:pt x="556306" y="368141"/>
                      <a:pt x="564235" y="368386"/>
                    </a:cubicBezTo>
                    <a:close/>
                    <a:moveTo>
                      <a:pt x="206448" y="345251"/>
                    </a:moveTo>
                    <a:cubicBezTo>
                      <a:pt x="214372" y="345576"/>
                      <a:pt x="222542" y="347523"/>
                      <a:pt x="229078" y="351093"/>
                    </a:cubicBezTo>
                    <a:cubicBezTo>
                      <a:pt x="242149" y="358882"/>
                      <a:pt x="243456" y="369267"/>
                      <a:pt x="232346" y="375758"/>
                    </a:cubicBezTo>
                    <a:lnTo>
                      <a:pt x="54572" y="474419"/>
                    </a:lnTo>
                    <a:cubicBezTo>
                      <a:pt x="43462" y="480910"/>
                      <a:pt x="23854" y="479612"/>
                      <a:pt x="10783" y="472472"/>
                    </a:cubicBezTo>
                    <a:cubicBezTo>
                      <a:pt x="-2289" y="464683"/>
                      <a:pt x="-3596" y="454297"/>
                      <a:pt x="7515" y="447807"/>
                    </a:cubicBezTo>
                    <a:lnTo>
                      <a:pt x="185288" y="349146"/>
                    </a:lnTo>
                    <a:cubicBezTo>
                      <a:pt x="190844" y="346225"/>
                      <a:pt x="198523" y="344927"/>
                      <a:pt x="206448" y="345251"/>
                    </a:cubicBezTo>
                    <a:close/>
                    <a:moveTo>
                      <a:pt x="817024" y="339588"/>
                    </a:moveTo>
                    <a:cubicBezTo>
                      <a:pt x="824860" y="339997"/>
                      <a:pt x="832859" y="342124"/>
                      <a:pt x="839062" y="346049"/>
                    </a:cubicBezTo>
                    <a:cubicBezTo>
                      <a:pt x="852122" y="353246"/>
                      <a:pt x="854081" y="364368"/>
                      <a:pt x="842980" y="370257"/>
                    </a:cubicBezTo>
                    <a:lnTo>
                      <a:pt x="492326" y="567186"/>
                    </a:lnTo>
                    <a:cubicBezTo>
                      <a:pt x="481225" y="573075"/>
                      <a:pt x="461635" y="572420"/>
                      <a:pt x="449229" y="565224"/>
                    </a:cubicBezTo>
                    <a:cubicBezTo>
                      <a:pt x="436169" y="557373"/>
                      <a:pt x="434210" y="546250"/>
                      <a:pt x="445311" y="540362"/>
                    </a:cubicBezTo>
                    <a:lnTo>
                      <a:pt x="795965" y="343432"/>
                    </a:lnTo>
                    <a:cubicBezTo>
                      <a:pt x="801516" y="340488"/>
                      <a:pt x="809188" y="339180"/>
                      <a:pt x="817024" y="339588"/>
                    </a:cubicBezTo>
                    <a:close/>
                    <a:moveTo>
                      <a:pt x="717024" y="281953"/>
                    </a:moveTo>
                    <a:cubicBezTo>
                      <a:pt x="724926" y="282195"/>
                      <a:pt x="733072" y="284131"/>
                      <a:pt x="739588" y="287679"/>
                    </a:cubicBezTo>
                    <a:cubicBezTo>
                      <a:pt x="751969" y="295421"/>
                      <a:pt x="753272" y="306390"/>
                      <a:pt x="742194" y="312841"/>
                    </a:cubicBezTo>
                    <a:lnTo>
                      <a:pt x="667254" y="354133"/>
                    </a:lnTo>
                    <a:cubicBezTo>
                      <a:pt x="656176" y="359940"/>
                      <a:pt x="636627" y="359295"/>
                      <a:pt x="623594" y="352198"/>
                    </a:cubicBezTo>
                    <a:cubicBezTo>
                      <a:pt x="610561" y="345101"/>
                      <a:pt x="609909" y="333487"/>
                      <a:pt x="620987" y="327681"/>
                    </a:cubicBezTo>
                    <a:lnTo>
                      <a:pt x="695927" y="286389"/>
                    </a:lnTo>
                    <a:cubicBezTo>
                      <a:pt x="701466" y="283163"/>
                      <a:pt x="709123" y="281711"/>
                      <a:pt x="717024" y="281953"/>
                    </a:cubicBezTo>
                    <a:close/>
                    <a:moveTo>
                      <a:pt x="405208" y="233070"/>
                    </a:moveTo>
                    <a:cubicBezTo>
                      <a:pt x="413129" y="233393"/>
                      <a:pt x="421295" y="235492"/>
                      <a:pt x="427827" y="239368"/>
                    </a:cubicBezTo>
                    <a:cubicBezTo>
                      <a:pt x="440892" y="246472"/>
                      <a:pt x="442199" y="257453"/>
                      <a:pt x="431093" y="263911"/>
                    </a:cubicBezTo>
                    <a:lnTo>
                      <a:pt x="310239" y="330438"/>
                    </a:lnTo>
                    <a:cubicBezTo>
                      <a:pt x="299134" y="336897"/>
                      <a:pt x="280189" y="335605"/>
                      <a:pt x="267124" y="328501"/>
                    </a:cubicBezTo>
                    <a:cubicBezTo>
                      <a:pt x="254059" y="320750"/>
                      <a:pt x="252752" y="309770"/>
                      <a:pt x="263857" y="303957"/>
                    </a:cubicBezTo>
                    <a:lnTo>
                      <a:pt x="384058" y="237430"/>
                    </a:lnTo>
                    <a:cubicBezTo>
                      <a:pt x="389611" y="234201"/>
                      <a:pt x="397287" y="232747"/>
                      <a:pt x="405208" y="233070"/>
                    </a:cubicBezTo>
                    <a:close/>
                    <a:moveTo>
                      <a:pt x="618308" y="227258"/>
                    </a:moveTo>
                    <a:cubicBezTo>
                      <a:pt x="626238" y="227668"/>
                      <a:pt x="634413" y="229797"/>
                      <a:pt x="640952" y="233728"/>
                    </a:cubicBezTo>
                    <a:cubicBezTo>
                      <a:pt x="654032" y="240935"/>
                      <a:pt x="655340" y="252073"/>
                      <a:pt x="644222" y="257970"/>
                    </a:cubicBezTo>
                    <a:lnTo>
                      <a:pt x="442796" y="371316"/>
                    </a:lnTo>
                    <a:cubicBezTo>
                      <a:pt x="431679" y="377213"/>
                      <a:pt x="412059" y="376558"/>
                      <a:pt x="399634" y="368695"/>
                    </a:cubicBezTo>
                    <a:cubicBezTo>
                      <a:pt x="386554" y="361488"/>
                      <a:pt x="385246" y="350350"/>
                      <a:pt x="395710" y="344454"/>
                    </a:cubicBezTo>
                    <a:lnTo>
                      <a:pt x="597136" y="231108"/>
                    </a:lnTo>
                    <a:cubicBezTo>
                      <a:pt x="602695" y="228160"/>
                      <a:pt x="610379" y="226849"/>
                      <a:pt x="618308" y="227258"/>
                    </a:cubicBezTo>
                    <a:close/>
                    <a:moveTo>
                      <a:pt x="521037" y="169535"/>
                    </a:moveTo>
                    <a:cubicBezTo>
                      <a:pt x="528866" y="169856"/>
                      <a:pt x="536858" y="171786"/>
                      <a:pt x="543057" y="175323"/>
                    </a:cubicBezTo>
                    <a:cubicBezTo>
                      <a:pt x="556106" y="183041"/>
                      <a:pt x="557411" y="193976"/>
                      <a:pt x="546319" y="199764"/>
                    </a:cubicBezTo>
                    <a:lnTo>
                      <a:pt x="498038" y="226778"/>
                    </a:lnTo>
                    <a:cubicBezTo>
                      <a:pt x="486946" y="233210"/>
                      <a:pt x="467373" y="231923"/>
                      <a:pt x="454324" y="224848"/>
                    </a:cubicBezTo>
                    <a:cubicBezTo>
                      <a:pt x="441275" y="217773"/>
                      <a:pt x="439970" y="206196"/>
                      <a:pt x="451714" y="199764"/>
                    </a:cubicBezTo>
                    <a:lnTo>
                      <a:pt x="499995" y="173394"/>
                    </a:lnTo>
                    <a:cubicBezTo>
                      <a:pt x="505541" y="170500"/>
                      <a:pt x="513207" y="169213"/>
                      <a:pt x="521037" y="169535"/>
                    </a:cubicBezTo>
                    <a:close/>
                    <a:moveTo>
                      <a:pt x="189256" y="132629"/>
                    </a:moveTo>
                    <a:cubicBezTo>
                      <a:pt x="197162" y="133123"/>
                      <a:pt x="205312" y="135426"/>
                      <a:pt x="211831" y="139373"/>
                    </a:cubicBezTo>
                    <a:cubicBezTo>
                      <a:pt x="224219" y="146610"/>
                      <a:pt x="226175" y="157795"/>
                      <a:pt x="215091" y="163717"/>
                    </a:cubicBezTo>
                    <a:lnTo>
                      <a:pt x="57311" y="253196"/>
                    </a:lnTo>
                    <a:cubicBezTo>
                      <a:pt x="45575" y="259117"/>
                      <a:pt x="26667" y="258459"/>
                      <a:pt x="13628" y="251222"/>
                    </a:cubicBezTo>
                    <a:cubicBezTo>
                      <a:pt x="588" y="243327"/>
                      <a:pt x="-716" y="232800"/>
                      <a:pt x="10368" y="226220"/>
                    </a:cubicBezTo>
                    <a:lnTo>
                      <a:pt x="168148" y="136741"/>
                    </a:lnTo>
                    <a:cubicBezTo>
                      <a:pt x="173690" y="133452"/>
                      <a:pt x="181351" y="132136"/>
                      <a:pt x="189256" y="132629"/>
                    </a:cubicBezTo>
                    <a:close/>
                    <a:moveTo>
                      <a:pt x="422553" y="114929"/>
                    </a:moveTo>
                    <a:cubicBezTo>
                      <a:pt x="430461" y="115339"/>
                      <a:pt x="438613" y="117470"/>
                      <a:pt x="445134" y="121403"/>
                    </a:cubicBezTo>
                    <a:cubicBezTo>
                      <a:pt x="458177" y="128614"/>
                      <a:pt x="459481" y="139759"/>
                      <a:pt x="448394" y="145659"/>
                    </a:cubicBezTo>
                    <a:lnTo>
                      <a:pt x="207101" y="282022"/>
                    </a:lnTo>
                    <a:cubicBezTo>
                      <a:pt x="196014" y="287922"/>
                      <a:pt x="176450" y="287267"/>
                      <a:pt x="163407" y="280055"/>
                    </a:cubicBezTo>
                    <a:cubicBezTo>
                      <a:pt x="151016" y="272188"/>
                      <a:pt x="149060" y="261043"/>
                      <a:pt x="160146" y="254487"/>
                    </a:cubicBezTo>
                    <a:lnTo>
                      <a:pt x="401440" y="118780"/>
                    </a:lnTo>
                    <a:cubicBezTo>
                      <a:pt x="406983" y="115830"/>
                      <a:pt x="414646" y="114519"/>
                      <a:pt x="422553" y="114929"/>
                    </a:cubicBezTo>
                    <a:close/>
                    <a:moveTo>
                      <a:pt x="324670" y="57203"/>
                    </a:moveTo>
                    <a:cubicBezTo>
                      <a:pt x="332568" y="57524"/>
                      <a:pt x="340709" y="59453"/>
                      <a:pt x="347222" y="62989"/>
                    </a:cubicBezTo>
                    <a:cubicBezTo>
                      <a:pt x="360249" y="70704"/>
                      <a:pt x="361552" y="81634"/>
                      <a:pt x="349828" y="87420"/>
                    </a:cubicBezTo>
                    <a:lnTo>
                      <a:pt x="290557" y="120209"/>
                    </a:lnTo>
                    <a:cubicBezTo>
                      <a:pt x="279484" y="126638"/>
                      <a:pt x="259944" y="125995"/>
                      <a:pt x="246917" y="118923"/>
                    </a:cubicBezTo>
                    <a:cubicBezTo>
                      <a:pt x="233891" y="111208"/>
                      <a:pt x="232588" y="100278"/>
                      <a:pt x="243661" y="93849"/>
                    </a:cubicBezTo>
                    <a:lnTo>
                      <a:pt x="303583" y="61060"/>
                    </a:lnTo>
                    <a:cubicBezTo>
                      <a:pt x="309120" y="58167"/>
                      <a:pt x="316773" y="56881"/>
                      <a:pt x="324670" y="57203"/>
                    </a:cubicBezTo>
                    <a:close/>
                    <a:moveTo>
                      <a:pt x="229349" y="98"/>
                    </a:moveTo>
                    <a:cubicBezTo>
                      <a:pt x="237303" y="584"/>
                      <a:pt x="245503" y="2853"/>
                      <a:pt x="252063" y="6741"/>
                    </a:cubicBezTo>
                    <a:cubicBezTo>
                      <a:pt x="265183" y="13870"/>
                      <a:pt x="266495" y="24887"/>
                      <a:pt x="255343" y="30720"/>
                    </a:cubicBezTo>
                    <a:lnTo>
                      <a:pt x="140541" y="94230"/>
                    </a:lnTo>
                    <a:cubicBezTo>
                      <a:pt x="129389" y="100711"/>
                      <a:pt x="109708" y="99415"/>
                      <a:pt x="96588" y="92286"/>
                    </a:cubicBezTo>
                    <a:cubicBezTo>
                      <a:pt x="84124" y="85157"/>
                      <a:pt x="82812" y="73492"/>
                      <a:pt x="93964" y="67011"/>
                    </a:cubicBezTo>
                    <a:lnTo>
                      <a:pt x="208110" y="4149"/>
                    </a:lnTo>
                    <a:cubicBezTo>
                      <a:pt x="213686" y="909"/>
                      <a:pt x="221394" y="-388"/>
                      <a:pt x="22934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1" name="Freeform 347">
                <a:extLst>
                  <a:ext uri="{FF2B5EF4-FFF2-40B4-BE49-F238E27FC236}">
                    <a16:creationId xmlns:a16="http://schemas.microsoft.com/office/drawing/2014/main" id="{C642549A-15EB-B349-9F36-BE3769148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97831" y="7796980"/>
                <a:ext cx="1684976" cy="1025388"/>
              </a:xfrm>
              <a:custGeom>
                <a:avLst/>
                <a:gdLst>
                  <a:gd name="T0" fmla="*/ 1863 w 2579"/>
                  <a:gd name="T1" fmla="*/ 1568 h 1569"/>
                  <a:gd name="T2" fmla="*/ 1863 w 2579"/>
                  <a:gd name="T3" fmla="*/ 1568 h 1569"/>
                  <a:gd name="T4" fmla="*/ 1743 w 2579"/>
                  <a:gd name="T5" fmla="*/ 1536 h 1569"/>
                  <a:gd name="T6" fmla="*/ 84 w 2579"/>
                  <a:gd name="T7" fmla="*/ 575 h 1569"/>
                  <a:gd name="T8" fmla="*/ 84 w 2579"/>
                  <a:gd name="T9" fmla="*/ 575 h 1569"/>
                  <a:gd name="T10" fmla="*/ 1 w 2579"/>
                  <a:gd name="T11" fmla="*/ 432 h 1569"/>
                  <a:gd name="T12" fmla="*/ 1 w 2579"/>
                  <a:gd name="T13" fmla="*/ 432 h 1569"/>
                  <a:gd name="T14" fmla="*/ 81 w 2579"/>
                  <a:gd name="T15" fmla="*/ 287 h 1569"/>
                  <a:gd name="T16" fmla="*/ 540 w 2579"/>
                  <a:gd name="T17" fmla="*/ 9 h 1569"/>
                  <a:gd name="T18" fmla="*/ 540 w 2579"/>
                  <a:gd name="T19" fmla="*/ 9 h 1569"/>
                  <a:gd name="T20" fmla="*/ 584 w 2579"/>
                  <a:gd name="T21" fmla="*/ 19 h 1569"/>
                  <a:gd name="T22" fmla="*/ 584 w 2579"/>
                  <a:gd name="T23" fmla="*/ 19 h 1569"/>
                  <a:gd name="T24" fmla="*/ 573 w 2579"/>
                  <a:gd name="T25" fmla="*/ 63 h 1569"/>
                  <a:gd name="T26" fmla="*/ 114 w 2579"/>
                  <a:gd name="T27" fmla="*/ 341 h 1569"/>
                  <a:gd name="T28" fmla="*/ 114 w 2579"/>
                  <a:gd name="T29" fmla="*/ 341 h 1569"/>
                  <a:gd name="T30" fmla="*/ 63 w 2579"/>
                  <a:gd name="T31" fmla="*/ 431 h 1569"/>
                  <a:gd name="T32" fmla="*/ 63 w 2579"/>
                  <a:gd name="T33" fmla="*/ 431 h 1569"/>
                  <a:gd name="T34" fmla="*/ 116 w 2579"/>
                  <a:gd name="T35" fmla="*/ 520 h 1569"/>
                  <a:gd name="T36" fmla="*/ 1775 w 2579"/>
                  <a:gd name="T37" fmla="*/ 1481 h 1569"/>
                  <a:gd name="T38" fmla="*/ 1775 w 2579"/>
                  <a:gd name="T39" fmla="*/ 1481 h 1569"/>
                  <a:gd name="T40" fmla="*/ 1955 w 2579"/>
                  <a:gd name="T41" fmla="*/ 1479 h 1569"/>
                  <a:gd name="T42" fmla="*/ 2526 w 2579"/>
                  <a:gd name="T43" fmla="*/ 1129 h 1569"/>
                  <a:gd name="T44" fmla="*/ 2526 w 2579"/>
                  <a:gd name="T45" fmla="*/ 1129 h 1569"/>
                  <a:gd name="T46" fmla="*/ 2570 w 2579"/>
                  <a:gd name="T47" fmla="*/ 1140 h 1569"/>
                  <a:gd name="T48" fmla="*/ 2570 w 2579"/>
                  <a:gd name="T49" fmla="*/ 1140 h 1569"/>
                  <a:gd name="T50" fmla="*/ 2559 w 2579"/>
                  <a:gd name="T51" fmla="*/ 1183 h 1569"/>
                  <a:gd name="T52" fmla="*/ 1987 w 2579"/>
                  <a:gd name="T53" fmla="*/ 1532 h 1569"/>
                  <a:gd name="T54" fmla="*/ 1987 w 2579"/>
                  <a:gd name="T55" fmla="*/ 1532 h 1569"/>
                  <a:gd name="T56" fmla="*/ 1863 w 2579"/>
                  <a:gd name="T57" fmla="*/ 1568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79" h="1569">
                    <a:moveTo>
                      <a:pt x="1863" y="1568"/>
                    </a:moveTo>
                    <a:lnTo>
                      <a:pt x="1863" y="1568"/>
                    </a:lnTo>
                    <a:cubicBezTo>
                      <a:pt x="1821" y="1568"/>
                      <a:pt x="1780" y="1557"/>
                      <a:pt x="1743" y="1536"/>
                    </a:cubicBezTo>
                    <a:lnTo>
                      <a:pt x="84" y="575"/>
                    </a:lnTo>
                    <a:lnTo>
                      <a:pt x="84" y="575"/>
                    </a:lnTo>
                    <a:cubicBezTo>
                      <a:pt x="32" y="545"/>
                      <a:pt x="1" y="492"/>
                      <a:pt x="1" y="432"/>
                    </a:cubicBezTo>
                    <a:lnTo>
                      <a:pt x="1" y="432"/>
                    </a:lnTo>
                    <a:cubicBezTo>
                      <a:pt x="0" y="372"/>
                      <a:pt x="30" y="318"/>
                      <a:pt x="81" y="287"/>
                    </a:cubicBezTo>
                    <a:lnTo>
                      <a:pt x="540" y="9"/>
                    </a:lnTo>
                    <a:lnTo>
                      <a:pt x="540" y="9"/>
                    </a:lnTo>
                    <a:cubicBezTo>
                      <a:pt x="555" y="0"/>
                      <a:pt x="575" y="5"/>
                      <a:pt x="584" y="19"/>
                    </a:cubicBezTo>
                    <a:lnTo>
                      <a:pt x="584" y="19"/>
                    </a:lnTo>
                    <a:cubicBezTo>
                      <a:pt x="593" y="35"/>
                      <a:pt x="588" y="54"/>
                      <a:pt x="573" y="63"/>
                    </a:cubicBezTo>
                    <a:lnTo>
                      <a:pt x="114" y="341"/>
                    </a:lnTo>
                    <a:lnTo>
                      <a:pt x="114" y="341"/>
                    </a:lnTo>
                    <a:cubicBezTo>
                      <a:pt x="82" y="360"/>
                      <a:pt x="63" y="394"/>
                      <a:pt x="63" y="431"/>
                    </a:cubicBezTo>
                    <a:lnTo>
                      <a:pt x="63" y="431"/>
                    </a:lnTo>
                    <a:cubicBezTo>
                      <a:pt x="64" y="468"/>
                      <a:pt x="83" y="502"/>
                      <a:pt x="116" y="520"/>
                    </a:cubicBezTo>
                    <a:lnTo>
                      <a:pt x="1775" y="1481"/>
                    </a:lnTo>
                    <a:lnTo>
                      <a:pt x="1775" y="1481"/>
                    </a:lnTo>
                    <a:cubicBezTo>
                      <a:pt x="1831" y="1514"/>
                      <a:pt x="1899" y="1513"/>
                      <a:pt x="1955" y="1479"/>
                    </a:cubicBezTo>
                    <a:lnTo>
                      <a:pt x="2526" y="1129"/>
                    </a:lnTo>
                    <a:lnTo>
                      <a:pt x="2526" y="1129"/>
                    </a:lnTo>
                    <a:cubicBezTo>
                      <a:pt x="2541" y="1121"/>
                      <a:pt x="2560" y="1125"/>
                      <a:pt x="2570" y="1140"/>
                    </a:cubicBezTo>
                    <a:lnTo>
                      <a:pt x="2570" y="1140"/>
                    </a:lnTo>
                    <a:cubicBezTo>
                      <a:pt x="2578" y="1155"/>
                      <a:pt x="2574" y="1174"/>
                      <a:pt x="2559" y="1183"/>
                    </a:cubicBezTo>
                    <a:lnTo>
                      <a:pt x="1987" y="1532"/>
                    </a:lnTo>
                    <a:lnTo>
                      <a:pt x="1987" y="1532"/>
                    </a:lnTo>
                    <a:cubicBezTo>
                      <a:pt x="1949" y="1556"/>
                      <a:pt x="1906" y="1568"/>
                      <a:pt x="1863" y="156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2" name="Freeform 348">
                <a:extLst>
                  <a:ext uri="{FF2B5EF4-FFF2-40B4-BE49-F238E27FC236}">
                    <a16:creationId xmlns:a16="http://schemas.microsoft.com/office/drawing/2014/main" id="{FAF07D10-DF26-3C45-ACDF-C5BE3637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69734" y="7339012"/>
                <a:ext cx="864091" cy="498293"/>
              </a:xfrm>
              <a:custGeom>
                <a:avLst/>
                <a:gdLst>
                  <a:gd name="T0" fmla="*/ 1323 w 1324"/>
                  <a:gd name="T1" fmla="*/ 382 h 765"/>
                  <a:gd name="T2" fmla="*/ 662 w 1324"/>
                  <a:gd name="T3" fmla="*/ 0 h 765"/>
                  <a:gd name="T4" fmla="*/ 0 w 1324"/>
                  <a:gd name="T5" fmla="*/ 382 h 765"/>
                  <a:gd name="T6" fmla="*/ 662 w 1324"/>
                  <a:gd name="T7" fmla="*/ 764 h 765"/>
                  <a:gd name="T8" fmla="*/ 1323 w 1324"/>
                  <a:gd name="T9" fmla="*/ 382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4" h="765">
                    <a:moveTo>
                      <a:pt x="1323" y="382"/>
                    </a:moveTo>
                    <a:lnTo>
                      <a:pt x="662" y="0"/>
                    </a:lnTo>
                    <a:lnTo>
                      <a:pt x="0" y="382"/>
                    </a:lnTo>
                    <a:lnTo>
                      <a:pt x="662" y="764"/>
                    </a:lnTo>
                    <a:lnTo>
                      <a:pt x="1323" y="38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3" name="Freeform 349">
                <a:extLst>
                  <a:ext uri="{FF2B5EF4-FFF2-40B4-BE49-F238E27FC236}">
                    <a16:creationId xmlns:a16="http://schemas.microsoft.com/office/drawing/2014/main" id="{45CC088A-EA7C-5F4F-AF48-D12E1EE3A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5492740"/>
                <a:ext cx="368679" cy="1765624"/>
              </a:xfrm>
              <a:custGeom>
                <a:avLst/>
                <a:gdLst>
                  <a:gd name="T0" fmla="*/ 0 w 563"/>
                  <a:gd name="T1" fmla="*/ 2702 h 2703"/>
                  <a:gd name="T2" fmla="*/ 0 w 563"/>
                  <a:gd name="T3" fmla="*/ 324 h 2703"/>
                  <a:gd name="T4" fmla="*/ 562 w 563"/>
                  <a:gd name="T5" fmla="*/ 0 h 2703"/>
                  <a:gd name="T6" fmla="*/ 562 w 563"/>
                  <a:gd name="T7" fmla="*/ 2377 h 2703"/>
                  <a:gd name="T8" fmla="*/ 0 w 563"/>
                  <a:gd name="T9" fmla="*/ 2702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0" y="2702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2377"/>
                    </a:lnTo>
                    <a:lnTo>
                      <a:pt x="0" y="270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4" name="Freeform 350">
                <a:extLst>
                  <a:ext uri="{FF2B5EF4-FFF2-40B4-BE49-F238E27FC236}">
                    <a16:creationId xmlns:a16="http://schemas.microsoft.com/office/drawing/2014/main" id="{AC3A1D0C-DF7D-3B45-B594-C08FF90DE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5492740"/>
                <a:ext cx="368679" cy="1765624"/>
              </a:xfrm>
              <a:custGeom>
                <a:avLst/>
                <a:gdLst>
                  <a:gd name="T0" fmla="*/ 562 w 563"/>
                  <a:gd name="T1" fmla="*/ 324 h 2703"/>
                  <a:gd name="T2" fmla="*/ 0 w 563"/>
                  <a:gd name="T3" fmla="*/ 0 h 2703"/>
                  <a:gd name="T4" fmla="*/ 0 w 563"/>
                  <a:gd name="T5" fmla="*/ 2377 h 2703"/>
                  <a:gd name="T6" fmla="*/ 562 w 563"/>
                  <a:gd name="T7" fmla="*/ 2702 h 2703"/>
                  <a:gd name="T8" fmla="*/ 562 w 563"/>
                  <a:gd name="T9" fmla="*/ 324 h 2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703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377"/>
                    </a:lnTo>
                    <a:lnTo>
                      <a:pt x="562" y="2702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5" name="Freeform 351">
                <a:extLst>
                  <a:ext uri="{FF2B5EF4-FFF2-40B4-BE49-F238E27FC236}">
                    <a16:creationId xmlns:a16="http://schemas.microsoft.com/office/drawing/2014/main" id="{FE9E3AF0-64AD-9D41-8E99-60B7A11E3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5282477"/>
                <a:ext cx="734478" cy="423405"/>
              </a:xfrm>
              <a:custGeom>
                <a:avLst/>
                <a:gdLst>
                  <a:gd name="T0" fmla="*/ 1124 w 1125"/>
                  <a:gd name="T1" fmla="*/ 325 h 650"/>
                  <a:gd name="T2" fmla="*/ 562 w 1125"/>
                  <a:gd name="T3" fmla="*/ 0 h 650"/>
                  <a:gd name="T4" fmla="*/ 0 w 1125"/>
                  <a:gd name="T5" fmla="*/ 325 h 650"/>
                  <a:gd name="T6" fmla="*/ 562 w 1125"/>
                  <a:gd name="T7" fmla="*/ 649 h 650"/>
                  <a:gd name="T8" fmla="*/ 1124 w 1125"/>
                  <a:gd name="T9" fmla="*/ 325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50">
                    <a:moveTo>
                      <a:pt x="1124" y="325"/>
                    </a:moveTo>
                    <a:lnTo>
                      <a:pt x="562" y="0"/>
                    </a:lnTo>
                    <a:lnTo>
                      <a:pt x="0" y="325"/>
                    </a:lnTo>
                    <a:lnTo>
                      <a:pt x="562" y="649"/>
                    </a:lnTo>
                    <a:lnTo>
                      <a:pt x="1124" y="32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6" name="Freeform 352">
                <a:extLst>
                  <a:ext uri="{FF2B5EF4-FFF2-40B4-BE49-F238E27FC236}">
                    <a16:creationId xmlns:a16="http://schemas.microsoft.com/office/drawing/2014/main" id="{16F18D45-EA0C-454C-B8A1-42158A434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7117229"/>
                <a:ext cx="368679" cy="354276"/>
              </a:xfrm>
              <a:custGeom>
                <a:avLst/>
                <a:gdLst>
                  <a:gd name="T0" fmla="*/ 562 w 563"/>
                  <a:gd name="T1" fmla="*/ 324 h 541"/>
                  <a:gd name="T2" fmla="*/ 0 w 563"/>
                  <a:gd name="T3" fmla="*/ 0 h 541"/>
                  <a:gd name="T4" fmla="*/ 0 w 563"/>
                  <a:gd name="T5" fmla="*/ 216 h 541"/>
                  <a:gd name="T6" fmla="*/ 562 w 563"/>
                  <a:gd name="T7" fmla="*/ 540 h 541"/>
                  <a:gd name="T8" fmla="*/ 562 w 563"/>
                  <a:gd name="T9" fmla="*/ 324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541">
                    <a:moveTo>
                      <a:pt x="562" y="324"/>
                    </a:moveTo>
                    <a:lnTo>
                      <a:pt x="0" y="0"/>
                    </a:lnTo>
                    <a:lnTo>
                      <a:pt x="0" y="216"/>
                    </a:lnTo>
                    <a:lnTo>
                      <a:pt x="562" y="540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95D35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7" name="Freeform 353">
                <a:extLst>
                  <a:ext uri="{FF2B5EF4-FFF2-40B4-BE49-F238E27FC236}">
                    <a16:creationId xmlns:a16="http://schemas.microsoft.com/office/drawing/2014/main" id="{E86F4C37-746E-6248-815A-40AD4894D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rgbClr val="C13D1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8" name="Freeform 354">
                <a:extLst>
                  <a:ext uri="{FF2B5EF4-FFF2-40B4-BE49-F238E27FC236}">
                    <a16:creationId xmlns:a16="http://schemas.microsoft.com/office/drawing/2014/main" id="{E71CD528-9E77-414E-9922-A283A84B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rgbClr val="DB512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9" name="Freeform 355">
                <a:extLst>
                  <a:ext uri="{FF2B5EF4-FFF2-40B4-BE49-F238E27FC236}">
                    <a16:creationId xmlns:a16="http://schemas.microsoft.com/office/drawing/2014/main" id="{C7FE5B37-CC3E-CC46-9611-B5A356855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rgbClr val="EF602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0" name="Freeform 356">
                <a:extLst>
                  <a:ext uri="{FF2B5EF4-FFF2-40B4-BE49-F238E27FC236}">
                    <a16:creationId xmlns:a16="http://schemas.microsoft.com/office/drawing/2014/main" id="{28C7BFA5-3706-B448-A2CF-24567E1E1D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129285"/>
                <a:ext cx="368679" cy="1342221"/>
              </a:xfrm>
              <a:custGeom>
                <a:avLst/>
                <a:gdLst>
                  <a:gd name="T0" fmla="*/ 0 w 563"/>
                  <a:gd name="T1" fmla="*/ 2053 h 2054"/>
                  <a:gd name="T2" fmla="*/ 0 w 563"/>
                  <a:gd name="T3" fmla="*/ 324 h 2054"/>
                  <a:gd name="T4" fmla="*/ 562 w 563"/>
                  <a:gd name="T5" fmla="*/ 0 h 2054"/>
                  <a:gd name="T6" fmla="*/ 562 w 563"/>
                  <a:gd name="T7" fmla="*/ 1729 h 2054"/>
                  <a:gd name="T8" fmla="*/ 0 w 563"/>
                  <a:gd name="T9" fmla="*/ 2053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0" y="2053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1729"/>
                    </a:lnTo>
                    <a:lnTo>
                      <a:pt x="0" y="2053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1" name="Freeform 357">
                <a:extLst>
                  <a:ext uri="{FF2B5EF4-FFF2-40B4-BE49-F238E27FC236}">
                    <a16:creationId xmlns:a16="http://schemas.microsoft.com/office/drawing/2014/main" id="{BC43AD4D-05C8-F54B-94EB-BDDD4E79A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6129285"/>
                <a:ext cx="368679" cy="1342221"/>
              </a:xfrm>
              <a:custGeom>
                <a:avLst/>
                <a:gdLst>
                  <a:gd name="T0" fmla="*/ 562 w 563"/>
                  <a:gd name="T1" fmla="*/ 324 h 2054"/>
                  <a:gd name="T2" fmla="*/ 0 w 563"/>
                  <a:gd name="T3" fmla="*/ 0 h 2054"/>
                  <a:gd name="T4" fmla="*/ 0 w 563"/>
                  <a:gd name="T5" fmla="*/ 1729 h 2054"/>
                  <a:gd name="T6" fmla="*/ 562 w 563"/>
                  <a:gd name="T7" fmla="*/ 2053 h 2054"/>
                  <a:gd name="T8" fmla="*/ 562 w 563"/>
                  <a:gd name="T9" fmla="*/ 324 h 2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054">
                    <a:moveTo>
                      <a:pt x="562" y="324"/>
                    </a:moveTo>
                    <a:lnTo>
                      <a:pt x="0" y="0"/>
                    </a:lnTo>
                    <a:lnTo>
                      <a:pt x="0" y="1729"/>
                    </a:lnTo>
                    <a:lnTo>
                      <a:pt x="562" y="2053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2" name="Freeform 358">
                <a:extLst>
                  <a:ext uri="{FF2B5EF4-FFF2-40B4-BE49-F238E27FC236}">
                    <a16:creationId xmlns:a16="http://schemas.microsoft.com/office/drawing/2014/main" id="{6A62A9DC-DBAA-514A-8081-05AEA2B7C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94036" y="5919023"/>
                <a:ext cx="734476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3" name="Freeform 359">
                <a:extLst>
                  <a:ext uri="{FF2B5EF4-FFF2-40B4-BE49-F238E27FC236}">
                    <a16:creationId xmlns:a16="http://schemas.microsoft.com/office/drawing/2014/main" id="{8C9EABD0-6660-1E47-B482-57C14FEAC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8512" y="6834960"/>
                <a:ext cx="368679" cy="849688"/>
              </a:xfrm>
              <a:custGeom>
                <a:avLst/>
                <a:gdLst>
                  <a:gd name="T0" fmla="*/ 0 w 563"/>
                  <a:gd name="T1" fmla="*/ 1298 h 1299"/>
                  <a:gd name="T2" fmla="*/ 0 w 563"/>
                  <a:gd name="T3" fmla="*/ 324 h 1299"/>
                  <a:gd name="T4" fmla="*/ 562 w 563"/>
                  <a:gd name="T5" fmla="*/ 0 h 1299"/>
                  <a:gd name="T6" fmla="*/ 562 w 563"/>
                  <a:gd name="T7" fmla="*/ 973 h 1299"/>
                  <a:gd name="T8" fmla="*/ 0 w 563"/>
                  <a:gd name="T9" fmla="*/ 129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0" y="1298"/>
                    </a:moveTo>
                    <a:lnTo>
                      <a:pt x="0" y="324"/>
                    </a:lnTo>
                    <a:lnTo>
                      <a:pt x="562" y="0"/>
                    </a:lnTo>
                    <a:lnTo>
                      <a:pt x="562" y="973"/>
                    </a:lnTo>
                    <a:lnTo>
                      <a:pt x="0" y="129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4" name="Freeform 360">
                <a:extLst>
                  <a:ext uri="{FF2B5EF4-FFF2-40B4-BE49-F238E27FC236}">
                    <a16:creationId xmlns:a16="http://schemas.microsoft.com/office/drawing/2014/main" id="{C880C21D-072F-9B46-AE7C-81338BF9B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4" y="6834960"/>
                <a:ext cx="368679" cy="849688"/>
              </a:xfrm>
              <a:custGeom>
                <a:avLst/>
                <a:gdLst>
                  <a:gd name="T0" fmla="*/ 562 w 563"/>
                  <a:gd name="T1" fmla="*/ 324 h 1299"/>
                  <a:gd name="T2" fmla="*/ 0 w 563"/>
                  <a:gd name="T3" fmla="*/ 0 h 1299"/>
                  <a:gd name="T4" fmla="*/ 0 w 563"/>
                  <a:gd name="T5" fmla="*/ 973 h 1299"/>
                  <a:gd name="T6" fmla="*/ 562 w 563"/>
                  <a:gd name="T7" fmla="*/ 1298 h 1299"/>
                  <a:gd name="T8" fmla="*/ 562 w 563"/>
                  <a:gd name="T9" fmla="*/ 32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99">
                    <a:moveTo>
                      <a:pt x="562" y="324"/>
                    </a:moveTo>
                    <a:lnTo>
                      <a:pt x="0" y="0"/>
                    </a:lnTo>
                    <a:lnTo>
                      <a:pt x="0" y="973"/>
                    </a:lnTo>
                    <a:lnTo>
                      <a:pt x="562" y="1298"/>
                    </a:lnTo>
                    <a:lnTo>
                      <a:pt x="562" y="32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5" name="Freeform 361">
                <a:extLst>
                  <a:ext uri="{FF2B5EF4-FFF2-40B4-BE49-F238E27FC236}">
                    <a16:creationId xmlns:a16="http://schemas.microsoft.com/office/drawing/2014/main" id="{1065FB27-A7ED-6E4A-B99C-D06C94318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9835" y="6621817"/>
                <a:ext cx="734478" cy="423404"/>
              </a:xfrm>
              <a:custGeom>
                <a:avLst/>
                <a:gdLst>
                  <a:gd name="T0" fmla="*/ 1124 w 1125"/>
                  <a:gd name="T1" fmla="*/ 324 h 649"/>
                  <a:gd name="T2" fmla="*/ 562 w 1125"/>
                  <a:gd name="T3" fmla="*/ 0 h 649"/>
                  <a:gd name="T4" fmla="*/ 0 w 1125"/>
                  <a:gd name="T5" fmla="*/ 324 h 649"/>
                  <a:gd name="T6" fmla="*/ 562 w 1125"/>
                  <a:gd name="T7" fmla="*/ 648 h 649"/>
                  <a:gd name="T8" fmla="*/ 1124 w 1125"/>
                  <a:gd name="T9" fmla="*/ 324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5" h="649">
                    <a:moveTo>
                      <a:pt x="1124" y="324"/>
                    </a:moveTo>
                    <a:lnTo>
                      <a:pt x="562" y="0"/>
                    </a:lnTo>
                    <a:lnTo>
                      <a:pt x="0" y="324"/>
                    </a:lnTo>
                    <a:lnTo>
                      <a:pt x="562" y="648"/>
                    </a:lnTo>
                    <a:lnTo>
                      <a:pt x="1124" y="324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82F8126A-D223-A14B-8180-57AC42D54B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0033" y="6082855"/>
                <a:ext cx="567077" cy="532702"/>
              </a:xfrm>
              <a:custGeom>
                <a:avLst/>
                <a:gdLst>
                  <a:gd name="connsiteX0" fmla="*/ 464519 w 567077"/>
                  <a:gd name="connsiteY0" fmla="*/ 149764 h 532702"/>
                  <a:gd name="connsiteX1" fmla="*/ 507549 w 567077"/>
                  <a:gd name="connsiteY1" fmla="*/ 161327 h 532702"/>
                  <a:gd name="connsiteX2" fmla="*/ 544128 w 567077"/>
                  <a:gd name="connsiteY2" fmla="*/ 185428 h 532702"/>
                  <a:gd name="connsiteX3" fmla="*/ 565030 w 567077"/>
                  <a:gd name="connsiteY3" fmla="*/ 279880 h 532702"/>
                  <a:gd name="connsiteX4" fmla="*/ 387360 w 567077"/>
                  <a:gd name="connsiteY4" fmla="*/ 519591 h 532702"/>
                  <a:gd name="connsiteX5" fmla="*/ 273051 w 567077"/>
                  <a:gd name="connsiteY5" fmla="*/ 457058 h 532702"/>
                  <a:gd name="connsiteX6" fmla="*/ 386707 w 567077"/>
                  <a:gd name="connsiteY6" fmla="*/ 180217 h 532702"/>
                  <a:gd name="connsiteX7" fmla="*/ 464519 w 567077"/>
                  <a:gd name="connsiteY7" fmla="*/ 149764 h 532702"/>
                  <a:gd name="connsiteX8" fmla="*/ 190474 w 567077"/>
                  <a:gd name="connsiteY8" fmla="*/ 533 h 532702"/>
                  <a:gd name="connsiteX9" fmla="*/ 233411 w 567077"/>
                  <a:gd name="connsiteY9" fmla="*/ 12402 h 532702"/>
                  <a:gd name="connsiteX10" fmla="*/ 269911 w 567077"/>
                  <a:gd name="connsiteY10" fmla="*/ 36630 h 532702"/>
                  <a:gd name="connsiteX11" fmla="*/ 291421 w 567077"/>
                  <a:gd name="connsiteY11" fmla="*/ 130923 h 532702"/>
                  <a:gd name="connsiteX12" fmla="*/ 113481 w 567077"/>
                  <a:gd name="connsiteY12" fmla="*/ 373205 h 532702"/>
                  <a:gd name="connsiteX13" fmla="*/ 68 w 567077"/>
                  <a:gd name="connsiteY13" fmla="*/ 310343 h 532702"/>
                  <a:gd name="connsiteX14" fmla="*/ 112829 w 567077"/>
                  <a:gd name="connsiteY14" fmla="*/ 31391 h 532702"/>
                  <a:gd name="connsiteX15" fmla="*/ 190474 w 567077"/>
                  <a:gd name="connsiteY15" fmla="*/ 533 h 53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7077" h="532702">
                    <a:moveTo>
                      <a:pt x="464519" y="149764"/>
                    </a:moveTo>
                    <a:cubicBezTo>
                      <a:pt x="488933" y="152044"/>
                      <a:pt x="507549" y="161327"/>
                      <a:pt x="507549" y="161327"/>
                    </a:cubicBezTo>
                    <a:cubicBezTo>
                      <a:pt x="507549" y="161327"/>
                      <a:pt x="531717" y="176309"/>
                      <a:pt x="544128" y="185428"/>
                    </a:cubicBezTo>
                    <a:cubicBezTo>
                      <a:pt x="556539" y="195199"/>
                      <a:pt x="572869" y="244053"/>
                      <a:pt x="565030" y="279880"/>
                    </a:cubicBezTo>
                    <a:cubicBezTo>
                      <a:pt x="557192" y="315706"/>
                      <a:pt x="431125" y="498747"/>
                      <a:pt x="387360" y="519591"/>
                    </a:cubicBezTo>
                    <a:cubicBezTo>
                      <a:pt x="343596" y="540436"/>
                      <a:pt x="271091" y="546950"/>
                      <a:pt x="273051" y="457058"/>
                    </a:cubicBezTo>
                    <a:cubicBezTo>
                      <a:pt x="275010" y="368469"/>
                      <a:pt x="340983" y="236236"/>
                      <a:pt x="386707" y="180217"/>
                    </a:cubicBezTo>
                    <a:cubicBezTo>
                      <a:pt x="409896" y="152207"/>
                      <a:pt x="440106" y="147485"/>
                      <a:pt x="464519" y="149764"/>
                    </a:cubicBezTo>
                    <a:close/>
                    <a:moveTo>
                      <a:pt x="190474" y="533"/>
                    </a:moveTo>
                    <a:cubicBezTo>
                      <a:pt x="214835" y="2907"/>
                      <a:pt x="233411" y="12402"/>
                      <a:pt x="233411" y="12402"/>
                    </a:cubicBezTo>
                    <a:cubicBezTo>
                      <a:pt x="233411" y="12402"/>
                      <a:pt x="257527" y="26808"/>
                      <a:pt x="269911" y="36630"/>
                    </a:cubicBezTo>
                    <a:cubicBezTo>
                      <a:pt x="282296" y="45797"/>
                      <a:pt x="299242" y="94908"/>
                      <a:pt x="291421" y="130923"/>
                    </a:cubicBezTo>
                    <a:cubicBezTo>
                      <a:pt x="283599" y="166938"/>
                      <a:pt x="157151" y="351596"/>
                      <a:pt x="113481" y="373205"/>
                    </a:cubicBezTo>
                    <a:cubicBezTo>
                      <a:pt x="70462" y="394159"/>
                      <a:pt x="-2539" y="400052"/>
                      <a:pt x="68" y="310343"/>
                    </a:cubicBezTo>
                    <a:cubicBezTo>
                      <a:pt x="1372" y="219978"/>
                      <a:pt x="67203" y="87051"/>
                      <a:pt x="112829" y="31391"/>
                    </a:cubicBezTo>
                    <a:cubicBezTo>
                      <a:pt x="135968" y="2907"/>
                      <a:pt x="166113" y="-1841"/>
                      <a:pt x="190474" y="533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31CB6C81-BEBA-CA4D-B8B3-312EA8F74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88500" y="6060944"/>
                <a:ext cx="420588" cy="292295"/>
              </a:xfrm>
              <a:custGeom>
                <a:avLst/>
                <a:gdLst>
                  <a:gd name="connsiteX0" fmla="*/ 318774 w 420588"/>
                  <a:gd name="connsiteY0" fmla="*/ 147244 h 292295"/>
                  <a:gd name="connsiteX1" fmla="*/ 416664 w 420588"/>
                  <a:gd name="connsiteY1" fmla="*/ 164771 h 292295"/>
                  <a:gd name="connsiteX2" fmla="*/ 420554 w 420588"/>
                  <a:gd name="connsiteY2" fmla="*/ 242012 h 292295"/>
                  <a:gd name="connsiteX3" fmla="*/ 398509 w 420588"/>
                  <a:gd name="connsiteY3" fmla="*/ 282255 h 292295"/>
                  <a:gd name="connsiteX4" fmla="*/ 341452 w 420588"/>
                  <a:gd name="connsiteY4" fmla="*/ 290693 h 292295"/>
                  <a:gd name="connsiteX5" fmla="*/ 275965 w 420588"/>
                  <a:gd name="connsiteY5" fmla="*/ 188787 h 292295"/>
                  <a:gd name="connsiteX6" fmla="*/ 318774 w 420588"/>
                  <a:gd name="connsiteY6" fmla="*/ 147244 h 292295"/>
                  <a:gd name="connsiteX7" fmla="*/ 42628 w 420588"/>
                  <a:gd name="connsiteY7" fmla="*/ 348 h 292295"/>
                  <a:gd name="connsiteX8" fmla="*/ 140803 w 420588"/>
                  <a:gd name="connsiteY8" fmla="*/ 17875 h 292295"/>
                  <a:gd name="connsiteX9" fmla="*/ 144045 w 420588"/>
                  <a:gd name="connsiteY9" fmla="*/ 95116 h 292295"/>
                  <a:gd name="connsiteX10" fmla="*/ 122000 w 420588"/>
                  <a:gd name="connsiteY10" fmla="*/ 135359 h 292295"/>
                  <a:gd name="connsiteX11" fmla="*/ 64943 w 420588"/>
                  <a:gd name="connsiteY11" fmla="*/ 144446 h 292295"/>
                  <a:gd name="connsiteX12" fmla="*/ 105 w 420588"/>
                  <a:gd name="connsiteY12" fmla="*/ 41891 h 292295"/>
                  <a:gd name="connsiteX13" fmla="*/ 42628 w 420588"/>
                  <a:gd name="connsiteY13" fmla="*/ 348 h 292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0588" h="292295">
                    <a:moveTo>
                      <a:pt x="318774" y="147244"/>
                    </a:moveTo>
                    <a:cubicBezTo>
                      <a:pt x="360184" y="143980"/>
                      <a:pt x="416664" y="164771"/>
                      <a:pt x="416664" y="164771"/>
                    </a:cubicBezTo>
                    <a:lnTo>
                      <a:pt x="420554" y="242012"/>
                    </a:lnTo>
                    <a:cubicBezTo>
                      <a:pt x="421203" y="258239"/>
                      <a:pt x="412774" y="273816"/>
                      <a:pt x="398509" y="282255"/>
                    </a:cubicBezTo>
                    <a:cubicBezTo>
                      <a:pt x="385542" y="289394"/>
                      <a:pt x="366739" y="295236"/>
                      <a:pt x="341452" y="290693"/>
                    </a:cubicBezTo>
                    <a:cubicBezTo>
                      <a:pt x="285043" y="282255"/>
                      <a:pt x="279856" y="266028"/>
                      <a:pt x="275965" y="188787"/>
                    </a:cubicBezTo>
                    <a:cubicBezTo>
                      <a:pt x="274506" y="159822"/>
                      <a:pt x="293927" y="149203"/>
                      <a:pt x="318774" y="147244"/>
                    </a:cubicBezTo>
                    <a:close/>
                    <a:moveTo>
                      <a:pt x="42628" y="348"/>
                    </a:moveTo>
                    <a:cubicBezTo>
                      <a:pt x="84070" y="-2916"/>
                      <a:pt x="140803" y="17875"/>
                      <a:pt x="140803" y="17875"/>
                    </a:cubicBezTo>
                    <a:lnTo>
                      <a:pt x="144045" y="95116"/>
                    </a:lnTo>
                    <a:cubicBezTo>
                      <a:pt x="144694" y="111992"/>
                      <a:pt x="136265" y="127570"/>
                      <a:pt x="122000" y="135359"/>
                    </a:cubicBezTo>
                    <a:cubicBezTo>
                      <a:pt x="109033" y="142498"/>
                      <a:pt x="90230" y="148340"/>
                      <a:pt x="64943" y="144446"/>
                    </a:cubicBezTo>
                    <a:cubicBezTo>
                      <a:pt x="8534" y="135359"/>
                      <a:pt x="3995" y="119781"/>
                      <a:pt x="105" y="41891"/>
                    </a:cubicBezTo>
                    <a:cubicBezTo>
                      <a:pt x="-1597" y="12926"/>
                      <a:pt x="17763" y="2307"/>
                      <a:pt x="42628" y="348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61DCD84C-CC02-144F-ACF0-E7B180C93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9735" y="4504464"/>
                <a:ext cx="1207156" cy="1773944"/>
              </a:xfrm>
              <a:custGeom>
                <a:avLst/>
                <a:gdLst>
                  <a:gd name="connsiteX0" fmla="*/ 829084 w 1207156"/>
                  <a:gd name="connsiteY0" fmla="*/ 97 h 1773944"/>
                  <a:gd name="connsiteX1" fmla="*/ 929616 w 1207156"/>
                  <a:gd name="connsiteY1" fmla="*/ 147489 h 1773944"/>
                  <a:gd name="connsiteX2" fmla="*/ 928238 w 1207156"/>
                  <a:gd name="connsiteY2" fmla="*/ 231535 h 1773944"/>
                  <a:gd name="connsiteX3" fmla="*/ 932958 w 1207156"/>
                  <a:gd name="connsiteY3" fmla="*/ 227365 h 1773944"/>
                  <a:gd name="connsiteX4" fmla="*/ 1205471 w 1207156"/>
                  <a:gd name="connsiteY4" fmla="*/ 286397 h 1773944"/>
                  <a:gd name="connsiteX5" fmla="*/ 1010635 w 1207156"/>
                  <a:gd name="connsiteY5" fmla="*/ 739384 h 1773944"/>
                  <a:gd name="connsiteX6" fmla="*/ 532700 w 1207156"/>
                  <a:gd name="connsiteY6" fmla="*/ 1026581 h 1773944"/>
                  <a:gd name="connsiteX7" fmla="*/ 549699 w 1207156"/>
                  <a:gd name="connsiteY7" fmla="*/ 1680606 h 1773944"/>
                  <a:gd name="connsiteX8" fmla="*/ 473857 w 1207156"/>
                  <a:gd name="connsiteY8" fmla="*/ 1770681 h 1773944"/>
                  <a:gd name="connsiteX9" fmla="*/ 439205 w 1207156"/>
                  <a:gd name="connsiteY9" fmla="*/ 1773944 h 1773944"/>
                  <a:gd name="connsiteX10" fmla="*/ 370555 w 1207156"/>
                  <a:gd name="connsiteY10" fmla="*/ 1714547 h 1773944"/>
                  <a:gd name="connsiteX11" fmla="*/ 278368 w 1207156"/>
                  <a:gd name="connsiteY11" fmla="*/ 1014832 h 1773944"/>
                  <a:gd name="connsiteX12" fmla="*/ 306410 w 1207156"/>
                  <a:gd name="connsiteY12" fmla="*/ 874854 h 1773944"/>
                  <a:gd name="connsiteX13" fmla="*/ 328249 w 1207156"/>
                  <a:gd name="connsiteY13" fmla="*/ 844927 h 1773944"/>
                  <a:gd name="connsiteX14" fmla="*/ 256191 w 1207156"/>
                  <a:gd name="connsiteY14" fmla="*/ 888326 h 1773944"/>
                  <a:gd name="connsiteX15" fmla="*/ 273190 w 1207156"/>
                  <a:gd name="connsiteY15" fmla="*/ 1541698 h 1773944"/>
                  <a:gd name="connsiteX16" fmla="*/ 197348 w 1207156"/>
                  <a:gd name="connsiteY16" fmla="*/ 1632426 h 1773944"/>
                  <a:gd name="connsiteX17" fmla="*/ 163350 w 1207156"/>
                  <a:gd name="connsiteY17" fmla="*/ 1635037 h 1773944"/>
                  <a:gd name="connsiteX18" fmla="*/ 94046 w 1207156"/>
                  <a:gd name="connsiteY18" fmla="*/ 1575639 h 1773944"/>
                  <a:gd name="connsiteX19" fmla="*/ 1859 w 1207156"/>
                  <a:gd name="connsiteY19" fmla="*/ 876577 h 1773944"/>
                  <a:gd name="connsiteX20" fmla="*/ 58740 w 1207156"/>
                  <a:gd name="connsiteY20" fmla="*/ 696426 h 1773944"/>
                  <a:gd name="connsiteX21" fmla="*/ 286266 w 1207156"/>
                  <a:gd name="connsiteY21" fmla="*/ 447740 h 1773944"/>
                  <a:gd name="connsiteX22" fmla="*/ 538637 w 1207156"/>
                  <a:gd name="connsiteY22" fmla="*/ 200360 h 1773944"/>
                  <a:gd name="connsiteX23" fmla="*/ 829084 w 1207156"/>
                  <a:gd name="connsiteY23" fmla="*/ 97 h 1773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07156" h="1773944">
                    <a:moveTo>
                      <a:pt x="829084" y="97"/>
                    </a:moveTo>
                    <a:cubicBezTo>
                      <a:pt x="881883" y="-2164"/>
                      <a:pt x="922669" y="34895"/>
                      <a:pt x="929616" y="147489"/>
                    </a:cubicBezTo>
                    <a:lnTo>
                      <a:pt x="928238" y="231535"/>
                    </a:lnTo>
                    <a:lnTo>
                      <a:pt x="932958" y="227365"/>
                    </a:lnTo>
                    <a:cubicBezTo>
                      <a:pt x="1042887" y="137852"/>
                      <a:pt x="1191986" y="60801"/>
                      <a:pt x="1205471" y="286397"/>
                    </a:cubicBezTo>
                    <a:cubicBezTo>
                      <a:pt x="1228354" y="646698"/>
                      <a:pt x="1010635" y="739384"/>
                      <a:pt x="1010635" y="739384"/>
                    </a:cubicBezTo>
                    <a:lnTo>
                      <a:pt x="532700" y="1026581"/>
                    </a:lnTo>
                    <a:lnTo>
                      <a:pt x="549699" y="1680606"/>
                    </a:lnTo>
                    <a:cubicBezTo>
                      <a:pt x="549699" y="1680606"/>
                      <a:pt x="555583" y="1758279"/>
                      <a:pt x="473857" y="1770681"/>
                    </a:cubicBezTo>
                    <a:cubicBezTo>
                      <a:pt x="460781" y="1772639"/>
                      <a:pt x="449666" y="1773944"/>
                      <a:pt x="439205" y="1773944"/>
                    </a:cubicBezTo>
                    <a:cubicBezTo>
                      <a:pt x="404553" y="1773944"/>
                      <a:pt x="375131" y="1748488"/>
                      <a:pt x="370555" y="1714547"/>
                    </a:cubicBezTo>
                    <a:lnTo>
                      <a:pt x="278368" y="1014832"/>
                    </a:lnTo>
                    <a:cubicBezTo>
                      <a:pt x="271993" y="965878"/>
                      <a:pt x="282168" y="916924"/>
                      <a:pt x="306410" y="874854"/>
                    </a:cubicBezTo>
                    <a:lnTo>
                      <a:pt x="328249" y="844927"/>
                    </a:lnTo>
                    <a:lnTo>
                      <a:pt x="256191" y="888326"/>
                    </a:lnTo>
                    <a:lnTo>
                      <a:pt x="273190" y="1541698"/>
                    </a:lnTo>
                    <a:cubicBezTo>
                      <a:pt x="273190" y="1541698"/>
                      <a:pt x="279074" y="1619371"/>
                      <a:pt x="197348" y="1632426"/>
                    </a:cubicBezTo>
                    <a:cubicBezTo>
                      <a:pt x="184272" y="1634384"/>
                      <a:pt x="173157" y="1635037"/>
                      <a:pt x="163350" y="1635037"/>
                    </a:cubicBezTo>
                    <a:cubicBezTo>
                      <a:pt x="128698" y="1635689"/>
                      <a:pt x="98622" y="1610233"/>
                      <a:pt x="94046" y="1575639"/>
                    </a:cubicBezTo>
                    <a:lnTo>
                      <a:pt x="1859" y="876577"/>
                    </a:lnTo>
                    <a:cubicBezTo>
                      <a:pt x="-6641" y="811305"/>
                      <a:pt x="14281" y="745380"/>
                      <a:pt x="58740" y="696426"/>
                    </a:cubicBezTo>
                    <a:lnTo>
                      <a:pt x="286266" y="447740"/>
                    </a:lnTo>
                    <a:lnTo>
                      <a:pt x="538637" y="200360"/>
                    </a:lnTo>
                    <a:cubicBezTo>
                      <a:pt x="538637" y="200360"/>
                      <a:pt x="712929" y="5072"/>
                      <a:pt x="829084" y="9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99" name="Freeform 368">
                <a:extLst>
                  <a:ext uri="{FF2B5EF4-FFF2-40B4-BE49-F238E27FC236}">
                    <a16:creationId xmlns:a16="http://schemas.microsoft.com/office/drawing/2014/main" id="{4CA07A75-FB6E-F044-966A-9ADC81CC72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4328" y="3562936"/>
                <a:ext cx="941860" cy="1543842"/>
              </a:xfrm>
              <a:custGeom>
                <a:avLst/>
                <a:gdLst>
                  <a:gd name="T0" fmla="*/ 1011 w 1440"/>
                  <a:gd name="T1" fmla="*/ 108 h 2363"/>
                  <a:gd name="T2" fmla="*/ 1011 w 1440"/>
                  <a:gd name="T3" fmla="*/ 108 h 2363"/>
                  <a:gd name="T4" fmla="*/ 1430 w 1440"/>
                  <a:gd name="T5" fmla="*/ 537 h 2363"/>
                  <a:gd name="T6" fmla="*/ 1430 w 1440"/>
                  <a:gd name="T7" fmla="*/ 537 h 2363"/>
                  <a:gd name="T8" fmla="*/ 1375 w 1440"/>
                  <a:gd name="T9" fmla="*/ 2084 h 2363"/>
                  <a:gd name="T10" fmla="*/ 1375 w 1440"/>
                  <a:gd name="T11" fmla="*/ 2084 h 2363"/>
                  <a:gd name="T12" fmla="*/ 207 w 1440"/>
                  <a:gd name="T13" fmla="*/ 1672 h 2363"/>
                  <a:gd name="T14" fmla="*/ 207 w 1440"/>
                  <a:gd name="T15" fmla="*/ 1672 h 2363"/>
                  <a:gd name="T16" fmla="*/ 473 w 1440"/>
                  <a:gd name="T17" fmla="*/ 99 h 2363"/>
                  <a:gd name="T18" fmla="*/ 473 w 1440"/>
                  <a:gd name="T19" fmla="*/ 99 h 2363"/>
                  <a:gd name="T20" fmla="*/ 1011 w 1440"/>
                  <a:gd name="T21" fmla="*/ 108 h 2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0" h="2363">
                    <a:moveTo>
                      <a:pt x="1011" y="108"/>
                    </a:moveTo>
                    <a:lnTo>
                      <a:pt x="1011" y="108"/>
                    </a:lnTo>
                    <a:cubicBezTo>
                      <a:pt x="1439" y="285"/>
                      <a:pt x="1430" y="537"/>
                      <a:pt x="1430" y="537"/>
                    </a:cubicBezTo>
                    <a:lnTo>
                      <a:pt x="1430" y="537"/>
                    </a:lnTo>
                    <a:cubicBezTo>
                      <a:pt x="1430" y="537"/>
                      <a:pt x="1346" y="1465"/>
                      <a:pt x="1375" y="2084"/>
                    </a:cubicBezTo>
                    <a:lnTo>
                      <a:pt x="1375" y="2084"/>
                    </a:lnTo>
                    <a:cubicBezTo>
                      <a:pt x="1387" y="2342"/>
                      <a:pt x="0" y="2362"/>
                      <a:pt x="207" y="1672"/>
                    </a:cubicBezTo>
                    <a:lnTo>
                      <a:pt x="207" y="1672"/>
                    </a:lnTo>
                    <a:cubicBezTo>
                      <a:pt x="451" y="858"/>
                      <a:pt x="359" y="199"/>
                      <a:pt x="473" y="99"/>
                    </a:cubicBezTo>
                    <a:lnTo>
                      <a:pt x="473" y="99"/>
                    </a:lnTo>
                    <a:cubicBezTo>
                      <a:pt x="587" y="0"/>
                      <a:pt x="900" y="62"/>
                      <a:pt x="1011" y="10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0" name="Freeform 369">
                <a:extLst>
                  <a:ext uri="{FF2B5EF4-FFF2-40B4-BE49-F238E27FC236}">
                    <a16:creationId xmlns:a16="http://schemas.microsoft.com/office/drawing/2014/main" id="{8AB1995B-9099-AE40-8C6F-B5840B85F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2296" y="3620543"/>
                <a:ext cx="308191" cy="244825"/>
              </a:xfrm>
              <a:custGeom>
                <a:avLst/>
                <a:gdLst>
                  <a:gd name="T0" fmla="*/ 449 w 473"/>
                  <a:gd name="T1" fmla="*/ 243 h 376"/>
                  <a:gd name="T2" fmla="*/ 449 w 473"/>
                  <a:gd name="T3" fmla="*/ 243 h 376"/>
                  <a:gd name="T4" fmla="*/ 195 w 473"/>
                  <a:gd name="T5" fmla="*/ 345 h 376"/>
                  <a:gd name="T6" fmla="*/ 195 w 473"/>
                  <a:gd name="T7" fmla="*/ 345 h 376"/>
                  <a:gd name="T8" fmla="*/ 23 w 473"/>
                  <a:gd name="T9" fmla="*/ 133 h 376"/>
                  <a:gd name="T10" fmla="*/ 23 w 473"/>
                  <a:gd name="T11" fmla="*/ 133 h 376"/>
                  <a:gd name="T12" fmla="*/ 276 w 473"/>
                  <a:gd name="T13" fmla="*/ 30 h 376"/>
                  <a:gd name="T14" fmla="*/ 276 w 473"/>
                  <a:gd name="T15" fmla="*/ 30 h 376"/>
                  <a:gd name="T16" fmla="*/ 449 w 473"/>
                  <a:gd name="T17" fmla="*/ 24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" h="376">
                    <a:moveTo>
                      <a:pt x="449" y="243"/>
                    </a:moveTo>
                    <a:lnTo>
                      <a:pt x="449" y="243"/>
                    </a:lnTo>
                    <a:cubicBezTo>
                      <a:pt x="427" y="330"/>
                      <a:pt x="313" y="375"/>
                      <a:pt x="195" y="345"/>
                    </a:cubicBezTo>
                    <a:lnTo>
                      <a:pt x="195" y="345"/>
                    </a:lnTo>
                    <a:cubicBezTo>
                      <a:pt x="78" y="315"/>
                      <a:pt x="0" y="219"/>
                      <a:pt x="23" y="133"/>
                    </a:cubicBezTo>
                    <a:lnTo>
                      <a:pt x="23" y="133"/>
                    </a:lnTo>
                    <a:cubicBezTo>
                      <a:pt x="45" y="45"/>
                      <a:pt x="158" y="0"/>
                      <a:pt x="276" y="30"/>
                    </a:cubicBezTo>
                    <a:lnTo>
                      <a:pt x="276" y="30"/>
                    </a:lnTo>
                    <a:cubicBezTo>
                      <a:pt x="394" y="61"/>
                      <a:pt x="472" y="156"/>
                      <a:pt x="449" y="243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1" name="Freeform 370">
                <a:extLst>
                  <a:ext uri="{FF2B5EF4-FFF2-40B4-BE49-F238E27FC236}">
                    <a16:creationId xmlns:a16="http://schemas.microsoft.com/office/drawing/2014/main" id="{2AA7B3B6-BCED-2E4E-A65A-212E34F86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6535" y="3606141"/>
                <a:ext cx="322594" cy="259227"/>
              </a:xfrm>
              <a:custGeom>
                <a:avLst/>
                <a:gdLst>
                  <a:gd name="T0" fmla="*/ 213 w 493"/>
                  <a:gd name="T1" fmla="*/ 63 h 398"/>
                  <a:gd name="T2" fmla="*/ 213 w 493"/>
                  <a:gd name="T3" fmla="*/ 63 h 398"/>
                  <a:gd name="T4" fmla="*/ 52 w 493"/>
                  <a:gd name="T5" fmla="*/ 160 h 398"/>
                  <a:gd name="T6" fmla="*/ 52 w 493"/>
                  <a:gd name="T7" fmla="*/ 160 h 398"/>
                  <a:gd name="T8" fmla="*/ 82 w 493"/>
                  <a:gd name="T9" fmla="*/ 269 h 398"/>
                  <a:gd name="T10" fmla="*/ 82 w 493"/>
                  <a:gd name="T11" fmla="*/ 269 h 398"/>
                  <a:gd name="T12" fmla="*/ 210 w 493"/>
                  <a:gd name="T13" fmla="*/ 347 h 398"/>
                  <a:gd name="T14" fmla="*/ 210 w 493"/>
                  <a:gd name="T15" fmla="*/ 347 h 398"/>
                  <a:gd name="T16" fmla="*/ 361 w 493"/>
                  <a:gd name="T17" fmla="*/ 341 h 398"/>
                  <a:gd name="T18" fmla="*/ 361 w 493"/>
                  <a:gd name="T19" fmla="*/ 341 h 398"/>
                  <a:gd name="T20" fmla="*/ 439 w 493"/>
                  <a:gd name="T21" fmla="*/ 259 h 398"/>
                  <a:gd name="T22" fmla="*/ 439 w 493"/>
                  <a:gd name="T23" fmla="*/ 259 h 398"/>
                  <a:gd name="T24" fmla="*/ 410 w 493"/>
                  <a:gd name="T25" fmla="*/ 150 h 398"/>
                  <a:gd name="T26" fmla="*/ 410 w 493"/>
                  <a:gd name="T27" fmla="*/ 150 h 398"/>
                  <a:gd name="T28" fmla="*/ 281 w 493"/>
                  <a:gd name="T29" fmla="*/ 72 h 398"/>
                  <a:gd name="T30" fmla="*/ 281 w 493"/>
                  <a:gd name="T31" fmla="*/ 72 h 398"/>
                  <a:gd name="T32" fmla="*/ 213 w 493"/>
                  <a:gd name="T33" fmla="*/ 63 h 398"/>
                  <a:gd name="T34" fmla="*/ 278 w 493"/>
                  <a:gd name="T35" fmla="*/ 397 h 398"/>
                  <a:gd name="T36" fmla="*/ 278 w 493"/>
                  <a:gd name="T37" fmla="*/ 397 h 398"/>
                  <a:gd name="T38" fmla="*/ 200 w 493"/>
                  <a:gd name="T39" fmla="*/ 387 h 398"/>
                  <a:gd name="T40" fmla="*/ 200 w 493"/>
                  <a:gd name="T41" fmla="*/ 387 h 398"/>
                  <a:gd name="T42" fmla="*/ 51 w 493"/>
                  <a:gd name="T43" fmla="*/ 295 h 398"/>
                  <a:gd name="T44" fmla="*/ 51 w 493"/>
                  <a:gd name="T45" fmla="*/ 295 h 398"/>
                  <a:gd name="T46" fmla="*/ 13 w 493"/>
                  <a:gd name="T47" fmla="*/ 150 h 398"/>
                  <a:gd name="T48" fmla="*/ 13 w 493"/>
                  <a:gd name="T49" fmla="*/ 150 h 398"/>
                  <a:gd name="T50" fmla="*/ 291 w 493"/>
                  <a:gd name="T51" fmla="*/ 33 h 398"/>
                  <a:gd name="T52" fmla="*/ 291 w 493"/>
                  <a:gd name="T53" fmla="*/ 33 h 398"/>
                  <a:gd name="T54" fmla="*/ 441 w 493"/>
                  <a:gd name="T55" fmla="*/ 125 h 398"/>
                  <a:gd name="T56" fmla="*/ 441 w 493"/>
                  <a:gd name="T57" fmla="*/ 125 h 398"/>
                  <a:gd name="T58" fmla="*/ 479 w 493"/>
                  <a:gd name="T59" fmla="*/ 269 h 398"/>
                  <a:gd name="T60" fmla="*/ 479 w 493"/>
                  <a:gd name="T61" fmla="*/ 269 h 398"/>
                  <a:gd name="T62" fmla="*/ 376 w 493"/>
                  <a:gd name="T63" fmla="*/ 379 h 398"/>
                  <a:gd name="T64" fmla="*/ 376 w 493"/>
                  <a:gd name="T65" fmla="*/ 379 h 398"/>
                  <a:gd name="T66" fmla="*/ 278 w 493"/>
                  <a:gd name="T67" fmla="*/ 39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3" h="398">
                    <a:moveTo>
                      <a:pt x="213" y="63"/>
                    </a:moveTo>
                    <a:lnTo>
                      <a:pt x="213" y="63"/>
                    </a:lnTo>
                    <a:cubicBezTo>
                      <a:pt x="134" y="63"/>
                      <a:pt x="67" y="101"/>
                      <a:pt x="52" y="160"/>
                    </a:cubicBezTo>
                    <a:lnTo>
                      <a:pt x="52" y="160"/>
                    </a:lnTo>
                    <a:cubicBezTo>
                      <a:pt x="43" y="196"/>
                      <a:pt x="54" y="234"/>
                      <a:pt x="82" y="269"/>
                    </a:cubicBezTo>
                    <a:lnTo>
                      <a:pt x="82" y="269"/>
                    </a:lnTo>
                    <a:cubicBezTo>
                      <a:pt x="112" y="306"/>
                      <a:pt x="157" y="334"/>
                      <a:pt x="210" y="347"/>
                    </a:cubicBezTo>
                    <a:lnTo>
                      <a:pt x="210" y="347"/>
                    </a:lnTo>
                    <a:cubicBezTo>
                      <a:pt x="263" y="361"/>
                      <a:pt x="317" y="358"/>
                      <a:pt x="361" y="341"/>
                    </a:cubicBezTo>
                    <a:lnTo>
                      <a:pt x="361" y="341"/>
                    </a:lnTo>
                    <a:cubicBezTo>
                      <a:pt x="402" y="324"/>
                      <a:pt x="431" y="296"/>
                      <a:pt x="439" y="259"/>
                    </a:cubicBezTo>
                    <a:lnTo>
                      <a:pt x="439" y="259"/>
                    </a:lnTo>
                    <a:cubicBezTo>
                      <a:pt x="449" y="224"/>
                      <a:pt x="438" y="185"/>
                      <a:pt x="410" y="150"/>
                    </a:cubicBezTo>
                    <a:lnTo>
                      <a:pt x="410" y="150"/>
                    </a:lnTo>
                    <a:cubicBezTo>
                      <a:pt x="380" y="113"/>
                      <a:pt x="334" y="86"/>
                      <a:pt x="281" y="72"/>
                    </a:cubicBezTo>
                    <a:lnTo>
                      <a:pt x="281" y="72"/>
                    </a:lnTo>
                    <a:cubicBezTo>
                      <a:pt x="258" y="66"/>
                      <a:pt x="235" y="63"/>
                      <a:pt x="213" y="63"/>
                    </a:cubicBezTo>
                    <a:close/>
                    <a:moveTo>
                      <a:pt x="278" y="397"/>
                    </a:moveTo>
                    <a:lnTo>
                      <a:pt x="278" y="397"/>
                    </a:lnTo>
                    <a:cubicBezTo>
                      <a:pt x="253" y="397"/>
                      <a:pt x="226" y="394"/>
                      <a:pt x="200" y="387"/>
                    </a:cubicBezTo>
                    <a:lnTo>
                      <a:pt x="200" y="387"/>
                    </a:lnTo>
                    <a:cubicBezTo>
                      <a:pt x="139" y="371"/>
                      <a:pt x="86" y="338"/>
                      <a:pt x="51" y="295"/>
                    </a:cubicBezTo>
                    <a:lnTo>
                      <a:pt x="51" y="295"/>
                    </a:lnTo>
                    <a:cubicBezTo>
                      <a:pt x="14" y="250"/>
                      <a:pt x="0" y="198"/>
                      <a:pt x="13" y="150"/>
                    </a:cubicBezTo>
                    <a:lnTo>
                      <a:pt x="13" y="150"/>
                    </a:lnTo>
                    <a:cubicBezTo>
                      <a:pt x="38" y="52"/>
                      <a:pt x="163" y="0"/>
                      <a:pt x="291" y="33"/>
                    </a:cubicBezTo>
                    <a:lnTo>
                      <a:pt x="291" y="33"/>
                    </a:lnTo>
                    <a:cubicBezTo>
                      <a:pt x="352" y="48"/>
                      <a:pt x="406" y="81"/>
                      <a:pt x="441" y="125"/>
                    </a:cubicBezTo>
                    <a:lnTo>
                      <a:pt x="441" y="125"/>
                    </a:lnTo>
                    <a:cubicBezTo>
                      <a:pt x="478" y="170"/>
                      <a:pt x="492" y="221"/>
                      <a:pt x="479" y="269"/>
                    </a:cubicBezTo>
                    <a:lnTo>
                      <a:pt x="479" y="269"/>
                    </a:lnTo>
                    <a:cubicBezTo>
                      <a:pt x="467" y="318"/>
                      <a:pt x="430" y="357"/>
                      <a:pt x="376" y="379"/>
                    </a:cubicBezTo>
                    <a:lnTo>
                      <a:pt x="376" y="379"/>
                    </a:lnTo>
                    <a:cubicBezTo>
                      <a:pt x="346" y="390"/>
                      <a:pt x="312" y="397"/>
                      <a:pt x="278" y="3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2" name="Freeform 371">
                <a:extLst>
                  <a:ext uri="{FF2B5EF4-FFF2-40B4-BE49-F238E27FC236}">
                    <a16:creationId xmlns:a16="http://schemas.microsoft.com/office/drawing/2014/main" id="{09EA5824-3DBD-8D42-9BB9-8DDEBFCF6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8705" y="3508209"/>
                <a:ext cx="149776" cy="267869"/>
              </a:xfrm>
              <a:custGeom>
                <a:avLst/>
                <a:gdLst>
                  <a:gd name="T0" fmla="*/ 5 w 230"/>
                  <a:gd name="T1" fmla="*/ 172 h 408"/>
                  <a:gd name="T2" fmla="*/ 5 w 230"/>
                  <a:gd name="T3" fmla="*/ 172 h 408"/>
                  <a:gd name="T4" fmla="*/ 2 w 230"/>
                  <a:gd name="T5" fmla="*/ 325 h 408"/>
                  <a:gd name="T6" fmla="*/ 2 w 230"/>
                  <a:gd name="T7" fmla="*/ 325 h 408"/>
                  <a:gd name="T8" fmla="*/ 187 w 230"/>
                  <a:gd name="T9" fmla="*/ 369 h 408"/>
                  <a:gd name="T10" fmla="*/ 187 w 230"/>
                  <a:gd name="T11" fmla="*/ 369 h 408"/>
                  <a:gd name="T12" fmla="*/ 219 w 230"/>
                  <a:gd name="T13" fmla="*/ 145 h 408"/>
                  <a:gd name="T14" fmla="*/ 219 w 230"/>
                  <a:gd name="T15" fmla="*/ 145 h 408"/>
                  <a:gd name="T16" fmla="*/ 5 w 230"/>
                  <a:gd name="T17" fmla="*/ 17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408">
                    <a:moveTo>
                      <a:pt x="5" y="172"/>
                    </a:moveTo>
                    <a:lnTo>
                      <a:pt x="5" y="172"/>
                    </a:lnTo>
                    <a:cubicBezTo>
                      <a:pt x="5" y="172"/>
                      <a:pt x="9" y="189"/>
                      <a:pt x="2" y="325"/>
                    </a:cubicBezTo>
                    <a:lnTo>
                      <a:pt x="2" y="325"/>
                    </a:lnTo>
                    <a:cubicBezTo>
                      <a:pt x="0" y="368"/>
                      <a:pt x="149" y="407"/>
                      <a:pt x="187" y="369"/>
                    </a:cubicBezTo>
                    <a:lnTo>
                      <a:pt x="187" y="369"/>
                    </a:lnTo>
                    <a:cubicBezTo>
                      <a:pt x="226" y="330"/>
                      <a:pt x="210" y="290"/>
                      <a:pt x="219" y="145"/>
                    </a:cubicBezTo>
                    <a:lnTo>
                      <a:pt x="219" y="145"/>
                    </a:lnTo>
                    <a:cubicBezTo>
                      <a:pt x="229" y="0"/>
                      <a:pt x="5" y="172"/>
                      <a:pt x="5" y="17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3" name="Freeform 372">
                <a:extLst>
                  <a:ext uri="{FF2B5EF4-FFF2-40B4-BE49-F238E27FC236}">
                    <a16:creationId xmlns:a16="http://schemas.microsoft.com/office/drawing/2014/main" id="{3A1D13DA-ED50-3B4A-9D76-10D8482D7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41585" y="3603261"/>
                <a:ext cx="144015" cy="120973"/>
              </a:xfrm>
              <a:custGeom>
                <a:avLst/>
                <a:gdLst>
                  <a:gd name="T0" fmla="*/ 218 w 219"/>
                  <a:gd name="T1" fmla="*/ 0 h 187"/>
                  <a:gd name="T2" fmla="*/ 218 w 219"/>
                  <a:gd name="T3" fmla="*/ 0 h 187"/>
                  <a:gd name="T4" fmla="*/ 0 w 219"/>
                  <a:gd name="T5" fmla="*/ 186 h 187"/>
                  <a:gd name="T6" fmla="*/ 3 w 219"/>
                  <a:gd name="T7" fmla="*/ 64 h 187"/>
                  <a:gd name="T8" fmla="*/ 218 w 219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187">
                    <a:moveTo>
                      <a:pt x="218" y="0"/>
                    </a:moveTo>
                    <a:lnTo>
                      <a:pt x="218" y="0"/>
                    </a:lnTo>
                    <a:cubicBezTo>
                      <a:pt x="218" y="0"/>
                      <a:pt x="182" y="135"/>
                      <a:pt x="0" y="186"/>
                    </a:cubicBezTo>
                    <a:lnTo>
                      <a:pt x="3" y="64"/>
                    </a:lnTo>
                    <a:lnTo>
                      <a:pt x="218" y="0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4" name="Freeform 373">
                <a:extLst>
                  <a:ext uri="{FF2B5EF4-FFF2-40B4-BE49-F238E27FC236}">
                    <a16:creationId xmlns:a16="http://schemas.microsoft.com/office/drawing/2014/main" id="{70E9394B-6855-8A40-BD4E-DC96F686B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1160" y="3194258"/>
                <a:ext cx="475251" cy="478130"/>
              </a:xfrm>
              <a:custGeom>
                <a:avLst/>
                <a:gdLst>
                  <a:gd name="T0" fmla="*/ 683 w 729"/>
                  <a:gd name="T1" fmla="*/ 282 h 730"/>
                  <a:gd name="T2" fmla="*/ 683 w 729"/>
                  <a:gd name="T3" fmla="*/ 282 h 730"/>
                  <a:gd name="T4" fmla="*/ 447 w 729"/>
                  <a:gd name="T5" fmla="*/ 683 h 730"/>
                  <a:gd name="T6" fmla="*/ 447 w 729"/>
                  <a:gd name="T7" fmla="*/ 683 h 730"/>
                  <a:gd name="T8" fmla="*/ 46 w 729"/>
                  <a:gd name="T9" fmla="*/ 447 h 730"/>
                  <a:gd name="T10" fmla="*/ 46 w 729"/>
                  <a:gd name="T11" fmla="*/ 447 h 730"/>
                  <a:gd name="T12" fmla="*/ 282 w 729"/>
                  <a:gd name="T13" fmla="*/ 46 h 730"/>
                  <a:gd name="T14" fmla="*/ 282 w 729"/>
                  <a:gd name="T15" fmla="*/ 46 h 730"/>
                  <a:gd name="T16" fmla="*/ 683 w 729"/>
                  <a:gd name="T17" fmla="*/ 282 h 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9" h="730">
                    <a:moveTo>
                      <a:pt x="683" y="282"/>
                    </a:moveTo>
                    <a:lnTo>
                      <a:pt x="683" y="282"/>
                    </a:lnTo>
                    <a:cubicBezTo>
                      <a:pt x="728" y="459"/>
                      <a:pt x="623" y="638"/>
                      <a:pt x="447" y="683"/>
                    </a:cubicBezTo>
                    <a:lnTo>
                      <a:pt x="447" y="683"/>
                    </a:lnTo>
                    <a:cubicBezTo>
                      <a:pt x="271" y="729"/>
                      <a:pt x="91" y="624"/>
                      <a:pt x="46" y="447"/>
                    </a:cubicBezTo>
                    <a:lnTo>
                      <a:pt x="46" y="447"/>
                    </a:lnTo>
                    <a:cubicBezTo>
                      <a:pt x="0" y="271"/>
                      <a:pt x="106" y="91"/>
                      <a:pt x="282" y="46"/>
                    </a:cubicBezTo>
                    <a:lnTo>
                      <a:pt x="282" y="46"/>
                    </a:lnTo>
                    <a:cubicBezTo>
                      <a:pt x="458" y="0"/>
                      <a:pt x="637" y="107"/>
                      <a:pt x="683" y="282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5" name="Freeform 374">
                <a:extLst>
                  <a:ext uri="{FF2B5EF4-FFF2-40B4-BE49-F238E27FC236}">
                    <a16:creationId xmlns:a16="http://schemas.microsoft.com/office/drawing/2014/main" id="{CF568C47-70FA-1C4F-BD13-B2C3D9F8C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6922" y="3390118"/>
                <a:ext cx="282270" cy="103691"/>
              </a:xfrm>
              <a:custGeom>
                <a:avLst/>
                <a:gdLst>
                  <a:gd name="T0" fmla="*/ 432 w 433"/>
                  <a:gd name="T1" fmla="*/ 79 h 159"/>
                  <a:gd name="T2" fmla="*/ 432 w 433"/>
                  <a:gd name="T3" fmla="*/ 79 h 159"/>
                  <a:gd name="T4" fmla="*/ 125 w 433"/>
                  <a:gd name="T5" fmla="*/ 158 h 159"/>
                  <a:gd name="T6" fmla="*/ 125 w 433"/>
                  <a:gd name="T7" fmla="*/ 158 h 159"/>
                  <a:gd name="T8" fmla="*/ 28 w 433"/>
                  <a:gd name="T9" fmla="*/ 53 h 159"/>
                  <a:gd name="T10" fmla="*/ 400 w 433"/>
                  <a:gd name="T11" fmla="*/ 0 h 159"/>
                  <a:gd name="T12" fmla="*/ 432 w 433"/>
                  <a:gd name="T13" fmla="*/ 7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3" h="159">
                    <a:moveTo>
                      <a:pt x="432" y="79"/>
                    </a:moveTo>
                    <a:lnTo>
                      <a:pt x="432" y="79"/>
                    </a:lnTo>
                    <a:cubicBezTo>
                      <a:pt x="432" y="79"/>
                      <a:pt x="251" y="156"/>
                      <a:pt x="125" y="158"/>
                    </a:cubicBezTo>
                    <a:lnTo>
                      <a:pt x="125" y="158"/>
                    </a:lnTo>
                    <a:cubicBezTo>
                      <a:pt x="0" y="158"/>
                      <a:pt x="28" y="53"/>
                      <a:pt x="28" y="53"/>
                    </a:cubicBezTo>
                    <a:lnTo>
                      <a:pt x="400" y="0"/>
                    </a:lnTo>
                    <a:lnTo>
                      <a:pt x="432" y="79"/>
                    </a:lnTo>
                  </a:path>
                </a:pathLst>
              </a:custGeom>
              <a:solidFill>
                <a:srgbClr val="EA9C9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6" name="Freeform 375">
                <a:extLst>
                  <a:ext uri="{FF2B5EF4-FFF2-40B4-BE49-F238E27FC236}">
                    <a16:creationId xmlns:a16="http://schemas.microsoft.com/office/drawing/2014/main" id="{ACEEE6B0-5E7A-E647-8FC9-16657A6EC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01709" y="3038722"/>
                <a:ext cx="668230" cy="532855"/>
              </a:xfrm>
              <a:custGeom>
                <a:avLst/>
                <a:gdLst>
                  <a:gd name="T0" fmla="*/ 263 w 1024"/>
                  <a:gd name="T1" fmla="*/ 637 h 815"/>
                  <a:gd name="T2" fmla="*/ 263 w 1024"/>
                  <a:gd name="T3" fmla="*/ 637 h 815"/>
                  <a:gd name="T4" fmla="*/ 559 w 1024"/>
                  <a:gd name="T5" fmla="*/ 597 h 815"/>
                  <a:gd name="T6" fmla="*/ 559 w 1024"/>
                  <a:gd name="T7" fmla="*/ 597 h 815"/>
                  <a:gd name="T8" fmla="*/ 643 w 1024"/>
                  <a:gd name="T9" fmla="*/ 647 h 815"/>
                  <a:gd name="T10" fmla="*/ 643 w 1024"/>
                  <a:gd name="T11" fmla="*/ 647 h 815"/>
                  <a:gd name="T12" fmla="*/ 668 w 1024"/>
                  <a:gd name="T13" fmla="*/ 665 h 815"/>
                  <a:gd name="T14" fmla="*/ 668 w 1024"/>
                  <a:gd name="T15" fmla="*/ 665 h 815"/>
                  <a:gd name="T16" fmla="*/ 781 w 1024"/>
                  <a:gd name="T17" fmla="*/ 567 h 815"/>
                  <a:gd name="T18" fmla="*/ 781 w 1024"/>
                  <a:gd name="T19" fmla="*/ 567 h 815"/>
                  <a:gd name="T20" fmla="*/ 822 w 1024"/>
                  <a:gd name="T21" fmla="*/ 661 h 815"/>
                  <a:gd name="T22" fmla="*/ 822 w 1024"/>
                  <a:gd name="T23" fmla="*/ 661 h 815"/>
                  <a:gd name="T24" fmla="*/ 813 w 1024"/>
                  <a:gd name="T25" fmla="*/ 804 h 815"/>
                  <a:gd name="T26" fmla="*/ 813 w 1024"/>
                  <a:gd name="T27" fmla="*/ 804 h 815"/>
                  <a:gd name="T28" fmla="*/ 854 w 1024"/>
                  <a:gd name="T29" fmla="*/ 333 h 815"/>
                  <a:gd name="T30" fmla="*/ 854 w 1024"/>
                  <a:gd name="T31" fmla="*/ 333 h 815"/>
                  <a:gd name="T32" fmla="*/ 191 w 1024"/>
                  <a:gd name="T33" fmla="*/ 247 h 815"/>
                  <a:gd name="T34" fmla="*/ 191 w 1024"/>
                  <a:gd name="T35" fmla="*/ 247 h 815"/>
                  <a:gd name="T36" fmla="*/ 63 w 1024"/>
                  <a:gd name="T37" fmla="*/ 254 h 815"/>
                  <a:gd name="T38" fmla="*/ 63 w 1024"/>
                  <a:gd name="T39" fmla="*/ 254 h 815"/>
                  <a:gd name="T40" fmla="*/ 263 w 1024"/>
                  <a:gd name="T41" fmla="*/ 637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4" h="815">
                    <a:moveTo>
                      <a:pt x="263" y="637"/>
                    </a:moveTo>
                    <a:lnTo>
                      <a:pt x="263" y="637"/>
                    </a:lnTo>
                    <a:cubicBezTo>
                      <a:pt x="263" y="637"/>
                      <a:pt x="421" y="569"/>
                      <a:pt x="559" y="597"/>
                    </a:cubicBezTo>
                    <a:lnTo>
                      <a:pt x="559" y="597"/>
                    </a:lnTo>
                    <a:cubicBezTo>
                      <a:pt x="592" y="604"/>
                      <a:pt x="622" y="621"/>
                      <a:pt x="643" y="647"/>
                    </a:cubicBezTo>
                    <a:lnTo>
                      <a:pt x="643" y="647"/>
                    </a:lnTo>
                    <a:cubicBezTo>
                      <a:pt x="650" y="655"/>
                      <a:pt x="658" y="663"/>
                      <a:pt x="668" y="665"/>
                    </a:cubicBezTo>
                    <a:lnTo>
                      <a:pt x="668" y="665"/>
                    </a:lnTo>
                    <a:cubicBezTo>
                      <a:pt x="693" y="671"/>
                      <a:pt x="733" y="569"/>
                      <a:pt x="781" y="567"/>
                    </a:cubicBezTo>
                    <a:lnTo>
                      <a:pt x="781" y="567"/>
                    </a:lnTo>
                    <a:cubicBezTo>
                      <a:pt x="829" y="564"/>
                      <a:pt x="860" y="598"/>
                      <a:pt x="822" y="661"/>
                    </a:cubicBezTo>
                    <a:lnTo>
                      <a:pt x="822" y="661"/>
                    </a:lnTo>
                    <a:cubicBezTo>
                      <a:pt x="782" y="723"/>
                      <a:pt x="795" y="794"/>
                      <a:pt x="813" y="804"/>
                    </a:cubicBezTo>
                    <a:lnTo>
                      <a:pt x="813" y="804"/>
                    </a:lnTo>
                    <a:cubicBezTo>
                      <a:pt x="832" y="814"/>
                      <a:pt x="1023" y="668"/>
                      <a:pt x="854" y="333"/>
                    </a:cubicBezTo>
                    <a:lnTo>
                      <a:pt x="854" y="333"/>
                    </a:lnTo>
                    <a:cubicBezTo>
                      <a:pt x="685" y="0"/>
                      <a:pt x="257" y="180"/>
                      <a:pt x="191" y="247"/>
                    </a:cubicBezTo>
                    <a:lnTo>
                      <a:pt x="191" y="247"/>
                    </a:lnTo>
                    <a:cubicBezTo>
                      <a:pt x="191" y="247"/>
                      <a:pt x="121" y="308"/>
                      <a:pt x="63" y="254"/>
                    </a:cubicBezTo>
                    <a:lnTo>
                      <a:pt x="63" y="254"/>
                    </a:lnTo>
                    <a:cubicBezTo>
                      <a:pt x="63" y="254"/>
                      <a:pt x="0" y="733"/>
                      <a:pt x="263" y="637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3E223256-13A0-644F-865A-44F0C5282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75225" y="4262849"/>
                <a:ext cx="689113" cy="782809"/>
              </a:xfrm>
              <a:custGeom>
                <a:avLst/>
                <a:gdLst>
                  <a:gd name="connsiteX0" fmla="*/ 689113 w 689113"/>
                  <a:gd name="connsiteY0" fmla="*/ 0 h 782809"/>
                  <a:gd name="connsiteX1" fmla="*/ 658404 w 689113"/>
                  <a:gd name="connsiteY1" fmla="*/ 316278 h 782809"/>
                  <a:gd name="connsiteX2" fmla="*/ 621815 w 689113"/>
                  <a:gd name="connsiteY2" fmla="*/ 380318 h 782809"/>
                  <a:gd name="connsiteX3" fmla="*/ 178254 w 689113"/>
                  <a:gd name="connsiteY3" fmla="*/ 670407 h 782809"/>
                  <a:gd name="connsiteX4" fmla="*/ 179296 w 689113"/>
                  <a:gd name="connsiteY4" fmla="*/ 671987 h 782809"/>
                  <a:gd name="connsiteX5" fmla="*/ 170145 w 689113"/>
                  <a:gd name="connsiteY5" fmla="*/ 690386 h 782809"/>
                  <a:gd name="connsiteX6" fmla="*/ 125041 w 689113"/>
                  <a:gd name="connsiteY6" fmla="*/ 740983 h 782809"/>
                  <a:gd name="connsiteX7" fmla="*/ 70785 w 689113"/>
                  <a:gd name="connsiteY7" fmla="*/ 774495 h 782809"/>
                  <a:gd name="connsiteX8" fmla="*/ 15875 w 689113"/>
                  <a:gd name="connsiteY8" fmla="*/ 775810 h 782809"/>
                  <a:gd name="connsiteX9" fmla="*/ 13914 w 689113"/>
                  <a:gd name="connsiteY9" fmla="*/ 774495 h 782809"/>
                  <a:gd name="connsiteX10" fmla="*/ 9338 w 689113"/>
                  <a:gd name="connsiteY10" fmla="*/ 723898 h 782809"/>
                  <a:gd name="connsiteX11" fmla="*/ 66209 w 689113"/>
                  <a:gd name="connsiteY11" fmla="*/ 666073 h 782809"/>
                  <a:gd name="connsiteX12" fmla="*/ 25027 w 689113"/>
                  <a:gd name="connsiteY12" fmla="*/ 680530 h 782809"/>
                  <a:gd name="connsiteX13" fmla="*/ 84512 w 689113"/>
                  <a:gd name="connsiteY13" fmla="*/ 637161 h 782809"/>
                  <a:gd name="connsiteX14" fmla="*/ 135990 w 689113"/>
                  <a:gd name="connsiteY14" fmla="*/ 617017 h 782809"/>
                  <a:gd name="connsiteX15" fmla="*/ 140526 w 689113"/>
                  <a:gd name="connsiteY15" fmla="*/ 613656 h 782809"/>
                  <a:gd name="connsiteX16" fmla="*/ 139627 w 689113"/>
                  <a:gd name="connsiteY16" fmla="*/ 612299 h 782809"/>
                  <a:gd name="connsiteX17" fmla="*/ 476113 w 689113"/>
                  <a:gd name="connsiteY17" fmla="*/ 305823 h 782809"/>
                  <a:gd name="connsiteX18" fmla="*/ 497675 w 689113"/>
                  <a:gd name="connsiteY18" fmla="*/ 256813 h 782809"/>
                  <a:gd name="connsiteX19" fmla="*/ 497675 w 689113"/>
                  <a:gd name="connsiteY19" fmla="*/ 92793 h 78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89113" h="782809">
                    <a:moveTo>
                      <a:pt x="689113" y="0"/>
                    </a:moveTo>
                    <a:lnTo>
                      <a:pt x="658404" y="316278"/>
                    </a:lnTo>
                    <a:cubicBezTo>
                      <a:pt x="656444" y="341764"/>
                      <a:pt x="642723" y="365289"/>
                      <a:pt x="621815" y="380318"/>
                    </a:cubicBezTo>
                    <a:lnTo>
                      <a:pt x="178254" y="670407"/>
                    </a:lnTo>
                    <a:lnTo>
                      <a:pt x="179296" y="671987"/>
                    </a:lnTo>
                    <a:lnTo>
                      <a:pt x="170145" y="690386"/>
                    </a:lnTo>
                    <a:cubicBezTo>
                      <a:pt x="160339" y="710756"/>
                      <a:pt x="144651" y="729155"/>
                      <a:pt x="125041" y="740983"/>
                    </a:cubicBezTo>
                    <a:lnTo>
                      <a:pt x="70785" y="774495"/>
                    </a:lnTo>
                    <a:cubicBezTo>
                      <a:pt x="54443" y="785009"/>
                      <a:pt x="32871" y="785666"/>
                      <a:pt x="15875" y="775810"/>
                    </a:cubicBezTo>
                    <a:cubicBezTo>
                      <a:pt x="15222" y="775152"/>
                      <a:pt x="14568" y="775152"/>
                      <a:pt x="13914" y="774495"/>
                    </a:cubicBezTo>
                    <a:cubicBezTo>
                      <a:pt x="-3082" y="763325"/>
                      <a:pt x="-4389" y="739012"/>
                      <a:pt x="9338" y="723898"/>
                    </a:cubicBezTo>
                    <a:lnTo>
                      <a:pt x="66209" y="666073"/>
                    </a:lnTo>
                    <a:cubicBezTo>
                      <a:pt x="66209" y="666073"/>
                      <a:pt x="34178" y="690386"/>
                      <a:pt x="25027" y="680530"/>
                    </a:cubicBezTo>
                    <a:cubicBezTo>
                      <a:pt x="18490" y="673959"/>
                      <a:pt x="55750" y="637818"/>
                      <a:pt x="84512" y="637161"/>
                    </a:cubicBezTo>
                    <a:cubicBezTo>
                      <a:pt x="106084" y="636175"/>
                      <a:pt x="126920" y="623362"/>
                      <a:pt x="135990" y="617017"/>
                    </a:cubicBezTo>
                    <a:lnTo>
                      <a:pt x="140526" y="613656"/>
                    </a:lnTo>
                    <a:lnTo>
                      <a:pt x="139627" y="612299"/>
                    </a:lnTo>
                    <a:lnTo>
                      <a:pt x="476113" y="305823"/>
                    </a:lnTo>
                    <a:cubicBezTo>
                      <a:pt x="489834" y="292754"/>
                      <a:pt x="497675" y="275110"/>
                      <a:pt x="497675" y="256813"/>
                    </a:cubicBezTo>
                    <a:lnTo>
                      <a:pt x="497675" y="92793"/>
                    </a:ln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8" name="Freeform 377">
                <a:extLst>
                  <a:ext uri="{FF2B5EF4-FFF2-40B4-BE49-F238E27FC236}">
                    <a16:creationId xmlns:a16="http://schemas.microsoft.com/office/drawing/2014/main" id="{2E642ACC-EB37-EF43-BEF0-76DD887B2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4078" y="3830803"/>
                <a:ext cx="371560" cy="613505"/>
              </a:xfrm>
              <a:custGeom>
                <a:avLst/>
                <a:gdLst>
                  <a:gd name="T0" fmla="*/ 355 w 570"/>
                  <a:gd name="T1" fmla="*/ 0 h 941"/>
                  <a:gd name="T2" fmla="*/ 355 w 570"/>
                  <a:gd name="T3" fmla="*/ 0 h 941"/>
                  <a:gd name="T4" fmla="*/ 569 w 570"/>
                  <a:gd name="T5" fmla="*/ 853 h 941"/>
                  <a:gd name="T6" fmla="*/ 569 w 570"/>
                  <a:gd name="T7" fmla="*/ 853 h 941"/>
                  <a:gd name="T8" fmla="*/ 151 w 570"/>
                  <a:gd name="T9" fmla="*/ 890 h 941"/>
                  <a:gd name="T10" fmla="*/ 151 w 570"/>
                  <a:gd name="T11" fmla="*/ 890 h 941"/>
                  <a:gd name="T12" fmla="*/ 355 w 570"/>
                  <a:gd name="T1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941">
                    <a:moveTo>
                      <a:pt x="355" y="0"/>
                    </a:moveTo>
                    <a:lnTo>
                      <a:pt x="355" y="0"/>
                    </a:lnTo>
                    <a:cubicBezTo>
                      <a:pt x="355" y="0"/>
                      <a:pt x="511" y="235"/>
                      <a:pt x="569" y="853"/>
                    </a:cubicBezTo>
                    <a:lnTo>
                      <a:pt x="569" y="853"/>
                    </a:lnTo>
                    <a:cubicBezTo>
                      <a:pt x="569" y="853"/>
                      <a:pt x="303" y="940"/>
                      <a:pt x="151" y="890"/>
                    </a:cubicBezTo>
                    <a:lnTo>
                      <a:pt x="151" y="890"/>
                    </a:lnTo>
                    <a:cubicBezTo>
                      <a:pt x="0" y="842"/>
                      <a:pt x="355" y="0"/>
                      <a:pt x="355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09" name="Freeform 386">
                <a:extLst>
                  <a:ext uri="{FF2B5EF4-FFF2-40B4-BE49-F238E27FC236}">
                    <a16:creationId xmlns:a16="http://schemas.microsoft.com/office/drawing/2014/main" id="{2546602A-6DED-6B4B-B948-A5DB72095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37532" y="4041066"/>
                <a:ext cx="218903" cy="711434"/>
              </a:xfrm>
              <a:custGeom>
                <a:avLst/>
                <a:gdLst>
                  <a:gd name="T0" fmla="*/ 336 w 337"/>
                  <a:gd name="T1" fmla="*/ 173 h 1089"/>
                  <a:gd name="T2" fmla="*/ 247 w 337"/>
                  <a:gd name="T3" fmla="*/ 349 h 1089"/>
                  <a:gd name="T4" fmla="*/ 247 w 337"/>
                  <a:gd name="T5" fmla="*/ 349 h 1089"/>
                  <a:gd name="T6" fmla="*/ 211 w 337"/>
                  <a:gd name="T7" fmla="*/ 484 h 1089"/>
                  <a:gd name="T8" fmla="*/ 172 w 337"/>
                  <a:gd name="T9" fmla="*/ 1088 h 1089"/>
                  <a:gd name="T10" fmla="*/ 54 w 337"/>
                  <a:gd name="T11" fmla="*/ 1085 h 1089"/>
                  <a:gd name="T12" fmla="*/ 1 w 337"/>
                  <a:gd name="T13" fmla="*/ 406 h 1089"/>
                  <a:gd name="T14" fmla="*/ 1 w 337"/>
                  <a:gd name="T15" fmla="*/ 406 h 1089"/>
                  <a:gd name="T16" fmla="*/ 5 w 337"/>
                  <a:gd name="T17" fmla="*/ 343 h 1089"/>
                  <a:gd name="T18" fmla="*/ 65 w 337"/>
                  <a:gd name="T19" fmla="*/ 0 h 1089"/>
                  <a:gd name="T20" fmla="*/ 336 w 337"/>
                  <a:gd name="T21" fmla="*/ 173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7" h="1089">
                    <a:moveTo>
                      <a:pt x="336" y="173"/>
                    </a:moveTo>
                    <a:lnTo>
                      <a:pt x="247" y="349"/>
                    </a:lnTo>
                    <a:lnTo>
                      <a:pt x="247" y="349"/>
                    </a:lnTo>
                    <a:cubicBezTo>
                      <a:pt x="226" y="391"/>
                      <a:pt x="214" y="437"/>
                      <a:pt x="211" y="484"/>
                    </a:cubicBezTo>
                    <a:lnTo>
                      <a:pt x="172" y="1088"/>
                    </a:lnTo>
                    <a:lnTo>
                      <a:pt x="54" y="1085"/>
                    </a:lnTo>
                    <a:lnTo>
                      <a:pt x="1" y="406"/>
                    </a:lnTo>
                    <a:lnTo>
                      <a:pt x="1" y="406"/>
                    </a:lnTo>
                    <a:cubicBezTo>
                      <a:pt x="0" y="386"/>
                      <a:pt x="1" y="365"/>
                      <a:pt x="5" y="343"/>
                    </a:cubicBezTo>
                    <a:lnTo>
                      <a:pt x="65" y="0"/>
                    </a:lnTo>
                    <a:lnTo>
                      <a:pt x="336" y="173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2E69FF35-4824-C54B-912C-757AD2764282}"/>
                  </a:ext>
                </a:extLst>
              </p:cNvPr>
              <p:cNvGrpSpPr/>
              <p:nvPr/>
            </p:nvGrpSpPr>
            <p:grpSpPr>
              <a:xfrm>
                <a:off x="13914127" y="4516315"/>
                <a:ext cx="1059951" cy="861212"/>
                <a:chOff x="13914127" y="4516315"/>
                <a:chExt cx="1059951" cy="861212"/>
              </a:xfrm>
            </p:grpSpPr>
            <p:sp>
              <p:nvSpPr>
                <p:cNvPr id="397" name="Freeform 379">
                  <a:extLst>
                    <a:ext uri="{FF2B5EF4-FFF2-40B4-BE49-F238E27FC236}">
                      <a16:creationId xmlns:a16="http://schemas.microsoft.com/office/drawing/2014/main" id="{0246CF21-93BC-7149-8110-9E6F38DA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792825"/>
                  <a:ext cx="999464" cy="584702"/>
                </a:xfrm>
                <a:custGeom>
                  <a:avLst/>
                  <a:gdLst>
                    <a:gd name="T0" fmla="*/ 1529 w 1531"/>
                    <a:gd name="T1" fmla="*/ 452 h 896"/>
                    <a:gd name="T2" fmla="*/ 1416 w 1531"/>
                    <a:gd name="T3" fmla="*/ 438 h 896"/>
                    <a:gd name="T4" fmla="*/ 681 w 1531"/>
                    <a:gd name="T5" fmla="*/ 13 h 896"/>
                    <a:gd name="T6" fmla="*/ 681 w 1531"/>
                    <a:gd name="T7" fmla="*/ 13 h 896"/>
                    <a:gd name="T8" fmla="*/ 589 w 1531"/>
                    <a:gd name="T9" fmla="*/ 18 h 896"/>
                    <a:gd name="T10" fmla="*/ 70 w 1531"/>
                    <a:gd name="T11" fmla="*/ 318 h 896"/>
                    <a:gd name="T12" fmla="*/ 1 w 1531"/>
                    <a:gd name="T13" fmla="*/ 308 h 896"/>
                    <a:gd name="T14" fmla="*/ 1 w 1531"/>
                    <a:gd name="T15" fmla="*/ 377 h 896"/>
                    <a:gd name="T16" fmla="*/ 1 w 1531"/>
                    <a:gd name="T17" fmla="*/ 377 h 896"/>
                    <a:gd name="T18" fmla="*/ 1 w 1531"/>
                    <a:gd name="T19" fmla="*/ 377 h 896"/>
                    <a:gd name="T20" fmla="*/ 17 w 1531"/>
                    <a:gd name="T21" fmla="*/ 401 h 896"/>
                    <a:gd name="T22" fmla="*/ 848 w 1531"/>
                    <a:gd name="T23" fmla="*/ 882 h 896"/>
                    <a:gd name="T24" fmla="*/ 848 w 1531"/>
                    <a:gd name="T25" fmla="*/ 882 h 896"/>
                    <a:gd name="T26" fmla="*/ 940 w 1531"/>
                    <a:gd name="T27" fmla="*/ 878 h 896"/>
                    <a:gd name="T28" fmla="*/ 1507 w 1531"/>
                    <a:gd name="T29" fmla="*/ 551 h 896"/>
                    <a:gd name="T30" fmla="*/ 1507 w 1531"/>
                    <a:gd name="T31" fmla="*/ 551 h 896"/>
                    <a:gd name="T32" fmla="*/ 1529 w 1531"/>
                    <a:gd name="T33" fmla="*/ 520 h 896"/>
                    <a:gd name="T34" fmla="*/ 1529 w 1531"/>
                    <a:gd name="T35" fmla="*/ 452 h 8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31" h="896">
                      <a:moveTo>
                        <a:pt x="1529" y="452"/>
                      </a:moveTo>
                      <a:lnTo>
                        <a:pt x="1416" y="438"/>
                      </a:lnTo>
                      <a:lnTo>
                        <a:pt x="681" y="13"/>
                      </a:lnTo>
                      <a:lnTo>
                        <a:pt x="681" y="13"/>
                      </a:lnTo>
                      <a:cubicBezTo>
                        <a:pt x="658" y="0"/>
                        <a:pt x="617" y="2"/>
                        <a:pt x="589" y="18"/>
                      </a:cubicBezTo>
                      <a:lnTo>
                        <a:pt x="70" y="318"/>
                      </a:lnTo>
                      <a:lnTo>
                        <a:pt x="1" y="308"/>
                      </a:lnTo>
                      <a:lnTo>
                        <a:pt x="1" y="377"/>
                      </a:lnTo>
                      <a:lnTo>
                        <a:pt x="1" y="377"/>
                      </a:lnTo>
                      <a:lnTo>
                        <a:pt x="1" y="377"/>
                      </a:lnTo>
                      <a:cubicBezTo>
                        <a:pt x="0" y="386"/>
                        <a:pt x="5" y="395"/>
                        <a:pt x="17" y="401"/>
                      </a:cubicBezTo>
                      <a:lnTo>
                        <a:pt x="848" y="882"/>
                      </a:lnTo>
                      <a:lnTo>
                        <a:pt x="848" y="882"/>
                      </a:lnTo>
                      <a:cubicBezTo>
                        <a:pt x="872" y="895"/>
                        <a:pt x="913" y="893"/>
                        <a:pt x="940" y="878"/>
                      </a:cubicBezTo>
                      <a:lnTo>
                        <a:pt x="1507" y="551"/>
                      </a:lnTo>
                      <a:lnTo>
                        <a:pt x="1507" y="551"/>
                      </a:lnTo>
                      <a:cubicBezTo>
                        <a:pt x="1522" y="542"/>
                        <a:pt x="1530" y="530"/>
                        <a:pt x="1529" y="520"/>
                      </a:cubicBezTo>
                      <a:lnTo>
                        <a:pt x="1529" y="452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8" name="Freeform 380">
                  <a:extLst>
                    <a:ext uri="{FF2B5EF4-FFF2-40B4-BE49-F238E27FC236}">
                      <a16:creationId xmlns:a16="http://schemas.microsoft.com/office/drawing/2014/main" id="{C2A4BC96-4AFD-C848-B8C5-305F28A683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5" y="4893635"/>
                  <a:ext cx="639427" cy="483891"/>
                </a:xfrm>
                <a:custGeom>
                  <a:avLst/>
                  <a:gdLst>
                    <a:gd name="T0" fmla="*/ 977 w 978"/>
                    <a:gd name="T1" fmla="*/ 31 h 739"/>
                    <a:gd name="T2" fmla="*/ 925 w 978"/>
                    <a:gd name="T3" fmla="*/ 0 h 739"/>
                    <a:gd name="T4" fmla="*/ 352 w 978"/>
                    <a:gd name="T5" fmla="*/ 0 h 739"/>
                    <a:gd name="T6" fmla="*/ 70 w 978"/>
                    <a:gd name="T7" fmla="*/ 164 h 739"/>
                    <a:gd name="T8" fmla="*/ 1 w 978"/>
                    <a:gd name="T9" fmla="*/ 154 h 739"/>
                    <a:gd name="T10" fmla="*/ 1 w 978"/>
                    <a:gd name="T11" fmla="*/ 223 h 739"/>
                    <a:gd name="T12" fmla="*/ 1 w 978"/>
                    <a:gd name="T13" fmla="*/ 223 h 739"/>
                    <a:gd name="T14" fmla="*/ 1 w 978"/>
                    <a:gd name="T15" fmla="*/ 223 h 739"/>
                    <a:gd name="T16" fmla="*/ 17 w 978"/>
                    <a:gd name="T17" fmla="*/ 247 h 739"/>
                    <a:gd name="T18" fmla="*/ 848 w 978"/>
                    <a:gd name="T19" fmla="*/ 728 h 739"/>
                    <a:gd name="T20" fmla="*/ 848 w 978"/>
                    <a:gd name="T21" fmla="*/ 728 h 739"/>
                    <a:gd name="T22" fmla="*/ 896 w 978"/>
                    <a:gd name="T23" fmla="*/ 737 h 739"/>
                    <a:gd name="T24" fmla="*/ 977 w 978"/>
                    <a:gd name="T25" fmla="*/ 31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8" h="739">
                      <a:moveTo>
                        <a:pt x="977" y="31"/>
                      </a:moveTo>
                      <a:lnTo>
                        <a:pt x="925" y="0"/>
                      </a:lnTo>
                      <a:lnTo>
                        <a:pt x="352" y="0"/>
                      </a:lnTo>
                      <a:lnTo>
                        <a:pt x="70" y="164"/>
                      </a:lnTo>
                      <a:lnTo>
                        <a:pt x="1" y="154"/>
                      </a:lnTo>
                      <a:lnTo>
                        <a:pt x="1" y="223"/>
                      </a:lnTo>
                      <a:lnTo>
                        <a:pt x="1" y="223"/>
                      </a:lnTo>
                      <a:lnTo>
                        <a:pt x="1" y="223"/>
                      </a:lnTo>
                      <a:cubicBezTo>
                        <a:pt x="0" y="232"/>
                        <a:pt x="5" y="241"/>
                        <a:pt x="17" y="247"/>
                      </a:cubicBezTo>
                      <a:lnTo>
                        <a:pt x="848" y="728"/>
                      </a:lnTo>
                      <a:lnTo>
                        <a:pt x="848" y="728"/>
                      </a:lnTo>
                      <a:cubicBezTo>
                        <a:pt x="861" y="735"/>
                        <a:pt x="878" y="738"/>
                        <a:pt x="896" y="737"/>
                      </a:cubicBezTo>
                      <a:lnTo>
                        <a:pt x="977" y="31"/>
                      </a:lnTo>
                    </a:path>
                  </a:pathLst>
                </a:custGeom>
                <a:solidFill>
                  <a:srgbClr val="396CA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399" name="Freeform 381">
                  <a:extLst>
                    <a:ext uri="{FF2B5EF4-FFF2-40B4-BE49-F238E27FC236}">
                      <a16:creationId xmlns:a16="http://schemas.microsoft.com/office/drawing/2014/main" id="{2528F5D0-B9DF-E84A-912C-D9DFFD91E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8854" y="4994446"/>
                  <a:ext cx="20161" cy="66248"/>
                </a:xfrm>
                <a:custGeom>
                  <a:avLst/>
                  <a:gdLst>
                    <a:gd name="T0" fmla="*/ 31 w 32"/>
                    <a:gd name="T1" fmla="*/ 5 h 102"/>
                    <a:gd name="T2" fmla="*/ 1 w 32"/>
                    <a:gd name="T3" fmla="*/ 0 h 102"/>
                    <a:gd name="T4" fmla="*/ 1 w 32"/>
                    <a:gd name="T5" fmla="*/ 69 h 102"/>
                    <a:gd name="T6" fmla="*/ 1 w 32"/>
                    <a:gd name="T7" fmla="*/ 69 h 102"/>
                    <a:gd name="T8" fmla="*/ 1 w 32"/>
                    <a:gd name="T9" fmla="*/ 69 h 102"/>
                    <a:gd name="T10" fmla="*/ 17 w 32"/>
                    <a:gd name="T11" fmla="*/ 93 h 102"/>
                    <a:gd name="T12" fmla="*/ 31 w 32"/>
                    <a:gd name="T13" fmla="*/ 101 h 102"/>
                    <a:gd name="T14" fmla="*/ 31 w 32"/>
                    <a:gd name="T15" fmla="*/ 5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102">
                      <a:moveTo>
                        <a:pt x="31" y="5"/>
                      </a:moveTo>
                      <a:lnTo>
                        <a:pt x="1" y="0"/>
                      </a:lnTo>
                      <a:lnTo>
                        <a:pt x="1" y="69"/>
                      </a:lnTo>
                      <a:lnTo>
                        <a:pt x="1" y="69"/>
                      </a:lnTo>
                      <a:lnTo>
                        <a:pt x="1" y="69"/>
                      </a:lnTo>
                      <a:cubicBezTo>
                        <a:pt x="0" y="78"/>
                        <a:pt x="5" y="87"/>
                        <a:pt x="17" y="93"/>
                      </a:cubicBezTo>
                      <a:lnTo>
                        <a:pt x="31" y="101"/>
                      </a:lnTo>
                      <a:lnTo>
                        <a:pt x="31" y="5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0" name="Freeform 383">
                  <a:extLst>
                    <a:ext uri="{FF2B5EF4-FFF2-40B4-BE49-F238E27FC236}">
                      <a16:creationId xmlns:a16="http://schemas.microsoft.com/office/drawing/2014/main" id="{E23BF8D6-5D9E-3A4B-8998-2F24EB1BFF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3093" y="4749621"/>
                  <a:ext cx="1010985" cy="581821"/>
                </a:xfrm>
                <a:custGeom>
                  <a:avLst/>
                  <a:gdLst>
                    <a:gd name="T0" fmla="*/ 856 w 1546"/>
                    <a:gd name="T1" fmla="*/ 877 h 892"/>
                    <a:gd name="T2" fmla="*/ 25 w 1546"/>
                    <a:gd name="T3" fmla="*/ 397 h 892"/>
                    <a:gd name="T4" fmla="*/ 25 w 1546"/>
                    <a:gd name="T5" fmla="*/ 397 h 892"/>
                    <a:gd name="T6" fmla="*/ 31 w 1546"/>
                    <a:gd name="T7" fmla="*/ 344 h 892"/>
                    <a:gd name="T8" fmla="*/ 597 w 1546"/>
                    <a:gd name="T9" fmla="*/ 17 h 892"/>
                    <a:gd name="T10" fmla="*/ 597 w 1546"/>
                    <a:gd name="T11" fmla="*/ 17 h 892"/>
                    <a:gd name="T12" fmla="*/ 689 w 1546"/>
                    <a:gd name="T13" fmla="*/ 13 h 892"/>
                    <a:gd name="T14" fmla="*/ 1521 w 1546"/>
                    <a:gd name="T15" fmla="*/ 493 h 892"/>
                    <a:gd name="T16" fmla="*/ 1521 w 1546"/>
                    <a:gd name="T17" fmla="*/ 493 h 892"/>
                    <a:gd name="T18" fmla="*/ 1515 w 1546"/>
                    <a:gd name="T19" fmla="*/ 546 h 892"/>
                    <a:gd name="T20" fmla="*/ 948 w 1546"/>
                    <a:gd name="T21" fmla="*/ 873 h 892"/>
                    <a:gd name="T22" fmla="*/ 948 w 1546"/>
                    <a:gd name="T23" fmla="*/ 873 h 892"/>
                    <a:gd name="T24" fmla="*/ 856 w 1546"/>
                    <a:gd name="T25" fmla="*/ 877 h 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46" h="892">
                      <a:moveTo>
                        <a:pt x="856" y="877"/>
                      </a:moveTo>
                      <a:lnTo>
                        <a:pt x="25" y="397"/>
                      </a:lnTo>
                      <a:lnTo>
                        <a:pt x="25" y="397"/>
                      </a:lnTo>
                      <a:cubicBezTo>
                        <a:pt x="0" y="383"/>
                        <a:pt x="4" y="359"/>
                        <a:pt x="31" y="344"/>
                      </a:cubicBezTo>
                      <a:lnTo>
                        <a:pt x="597" y="17"/>
                      </a:lnTo>
                      <a:lnTo>
                        <a:pt x="597" y="17"/>
                      </a:lnTo>
                      <a:cubicBezTo>
                        <a:pt x="625" y="1"/>
                        <a:pt x="666" y="0"/>
                        <a:pt x="689" y="13"/>
                      </a:cubicBezTo>
                      <a:lnTo>
                        <a:pt x="1521" y="493"/>
                      </a:lnTo>
                      <a:lnTo>
                        <a:pt x="1521" y="493"/>
                      </a:lnTo>
                      <a:cubicBezTo>
                        <a:pt x="1545" y="507"/>
                        <a:pt x="1542" y="531"/>
                        <a:pt x="1515" y="546"/>
                      </a:cubicBezTo>
                      <a:lnTo>
                        <a:pt x="948" y="873"/>
                      </a:lnTo>
                      <a:lnTo>
                        <a:pt x="948" y="873"/>
                      </a:lnTo>
                      <a:cubicBezTo>
                        <a:pt x="921" y="889"/>
                        <a:pt x="880" y="891"/>
                        <a:pt x="856" y="877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1" name="Freeform 384">
                  <a:extLst>
                    <a:ext uri="{FF2B5EF4-FFF2-40B4-BE49-F238E27FC236}">
                      <a16:creationId xmlns:a16="http://schemas.microsoft.com/office/drawing/2014/main" id="{B67F3171-83E7-4947-AC14-DCED1D456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49503" y="4864833"/>
                  <a:ext cx="728716" cy="417643"/>
                </a:xfrm>
                <a:custGeom>
                  <a:avLst/>
                  <a:gdLst>
                    <a:gd name="T0" fmla="*/ 711 w 1117"/>
                    <a:gd name="T1" fmla="*/ 628 h 641"/>
                    <a:gd name="T2" fmla="*/ 19 w 1117"/>
                    <a:gd name="T3" fmla="*/ 229 h 641"/>
                    <a:gd name="T4" fmla="*/ 19 w 1117"/>
                    <a:gd name="T5" fmla="*/ 229 h 641"/>
                    <a:gd name="T6" fmla="*/ 25 w 1117"/>
                    <a:gd name="T7" fmla="*/ 185 h 641"/>
                    <a:gd name="T8" fmla="*/ 328 w 1117"/>
                    <a:gd name="T9" fmla="*/ 14 h 641"/>
                    <a:gd name="T10" fmla="*/ 328 w 1117"/>
                    <a:gd name="T11" fmla="*/ 14 h 641"/>
                    <a:gd name="T12" fmla="*/ 405 w 1117"/>
                    <a:gd name="T13" fmla="*/ 11 h 641"/>
                    <a:gd name="T14" fmla="*/ 1096 w 1117"/>
                    <a:gd name="T15" fmla="*/ 410 h 641"/>
                    <a:gd name="T16" fmla="*/ 1096 w 1117"/>
                    <a:gd name="T17" fmla="*/ 410 h 641"/>
                    <a:gd name="T18" fmla="*/ 1091 w 1117"/>
                    <a:gd name="T19" fmla="*/ 454 h 641"/>
                    <a:gd name="T20" fmla="*/ 788 w 1117"/>
                    <a:gd name="T21" fmla="*/ 625 h 641"/>
                    <a:gd name="T22" fmla="*/ 788 w 1117"/>
                    <a:gd name="T23" fmla="*/ 625 h 641"/>
                    <a:gd name="T24" fmla="*/ 711 w 1117"/>
                    <a:gd name="T25" fmla="*/ 628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7" h="641">
                      <a:moveTo>
                        <a:pt x="711" y="628"/>
                      </a:moveTo>
                      <a:lnTo>
                        <a:pt x="19" y="229"/>
                      </a:lnTo>
                      <a:lnTo>
                        <a:pt x="19" y="229"/>
                      </a:lnTo>
                      <a:cubicBezTo>
                        <a:pt x="0" y="218"/>
                        <a:pt x="2" y="198"/>
                        <a:pt x="25" y="185"/>
                      </a:cubicBezTo>
                      <a:lnTo>
                        <a:pt x="328" y="14"/>
                      </a:lnTo>
                      <a:lnTo>
                        <a:pt x="328" y="14"/>
                      </a:lnTo>
                      <a:cubicBezTo>
                        <a:pt x="351" y="1"/>
                        <a:pt x="385" y="0"/>
                        <a:pt x="405" y="11"/>
                      </a:cubicBezTo>
                      <a:lnTo>
                        <a:pt x="1096" y="410"/>
                      </a:lnTo>
                      <a:lnTo>
                        <a:pt x="1096" y="410"/>
                      </a:lnTo>
                      <a:cubicBezTo>
                        <a:pt x="1116" y="422"/>
                        <a:pt x="1113" y="441"/>
                        <a:pt x="1091" y="454"/>
                      </a:cubicBezTo>
                      <a:lnTo>
                        <a:pt x="788" y="625"/>
                      </a:lnTo>
                      <a:lnTo>
                        <a:pt x="788" y="625"/>
                      </a:lnTo>
                      <a:cubicBezTo>
                        <a:pt x="765" y="638"/>
                        <a:pt x="730" y="640"/>
                        <a:pt x="711" y="62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2" name="Freeform 385">
                  <a:extLst>
                    <a:ext uri="{FF2B5EF4-FFF2-40B4-BE49-F238E27FC236}">
                      <a16:creationId xmlns:a16="http://schemas.microsoft.com/office/drawing/2014/main" id="{BC6721CE-B0B3-0048-B656-76AE1F4E80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63454" y="4706416"/>
                  <a:ext cx="129615" cy="250587"/>
                </a:xfrm>
                <a:custGeom>
                  <a:avLst/>
                  <a:gdLst>
                    <a:gd name="T0" fmla="*/ 15 w 200"/>
                    <a:gd name="T1" fmla="*/ 67 h 383"/>
                    <a:gd name="T2" fmla="*/ 7 w 200"/>
                    <a:gd name="T3" fmla="*/ 125 h 383"/>
                    <a:gd name="T4" fmla="*/ 7 w 200"/>
                    <a:gd name="T5" fmla="*/ 125 h 383"/>
                    <a:gd name="T6" fmla="*/ 11 w 200"/>
                    <a:gd name="T7" fmla="*/ 272 h 383"/>
                    <a:gd name="T8" fmla="*/ 21 w 200"/>
                    <a:gd name="T9" fmla="*/ 322 h 383"/>
                    <a:gd name="T10" fmla="*/ 21 w 200"/>
                    <a:gd name="T11" fmla="*/ 322 h 383"/>
                    <a:gd name="T12" fmla="*/ 78 w 200"/>
                    <a:gd name="T13" fmla="*/ 378 h 383"/>
                    <a:gd name="T14" fmla="*/ 78 w 200"/>
                    <a:gd name="T15" fmla="*/ 378 h 383"/>
                    <a:gd name="T16" fmla="*/ 124 w 200"/>
                    <a:gd name="T17" fmla="*/ 344 h 383"/>
                    <a:gd name="T18" fmla="*/ 138 w 200"/>
                    <a:gd name="T19" fmla="*/ 221 h 383"/>
                    <a:gd name="T20" fmla="*/ 138 w 200"/>
                    <a:gd name="T21" fmla="*/ 221 h 383"/>
                    <a:gd name="T22" fmla="*/ 184 w 200"/>
                    <a:gd name="T23" fmla="*/ 262 h 383"/>
                    <a:gd name="T24" fmla="*/ 184 w 200"/>
                    <a:gd name="T25" fmla="*/ 262 h 383"/>
                    <a:gd name="T26" fmla="*/ 133 w 200"/>
                    <a:gd name="T27" fmla="*/ 70 h 383"/>
                    <a:gd name="T28" fmla="*/ 133 w 200"/>
                    <a:gd name="T29" fmla="*/ 70 h 383"/>
                    <a:gd name="T30" fmla="*/ 15 w 200"/>
                    <a:gd name="T31" fmla="*/ 6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0" h="383">
                      <a:moveTo>
                        <a:pt x="15" y="67"/>
                      </a:moveTo>
                      <a:lnTo>
                        <a:pt x="7" y="125"/>
                      </a:lnTo>
                      <a:lnTo>
                        <a:pt x="7" y="125"/>
                      </a:lnTo>
                      <a:cubicBezTo>
                        <a:pt x="0" y="173"/>
                        <a:pt x="1" y="223"/>
                        <a:pt x="11" y="272"/>
                      </a:cubicBezTo>
                      <a:lnTo>
                        <a:pt x="21" y="322"/>
                      </a:lnTo>
                      <a:lnTo>
                        <a:pt x="21" y="322"/>
                      </a:lnTo>
                      <a:cubicBezTo>
                        <a:pt x="27" y="351"/>
                        <a:pt x="50" y="373"/>
                        <a:pt x="78" y="378"/>
                      </a:cubicBezTo>
                      <a:lnTo>
                        <a:pt x="78" y="378"/>
                      </a:lnTo>
                      <a:cubicBezTo>
                        <a:pt x="100" y="382"/>
                        <a:pt x="121" y="367"/>
                        <a:pt x="124" y="344"/>
                      </a:cubicBezTo>
                      <a:lnTo>
                        <a:pt x="138" y="221"/>
                      </a:lnTo>
                      <a:lnTo>
                        <a:pt x="138" y="221"/>
                      </a:lnTo>
                      <a:cubicBezTo>
                        <a:pt x="138" y="221"/>
                        <a:pt x="169" y="262"/>
                        <a:pt x="184" y="262"/>
                      </a:cubicBezTo>
                      <a:lnTo>
                        <a:pt x="184" y="262"/>
                      </a:lnTo>
                      <a:cubicBezTo>
                        <a:pt x="199" y="262"/>
                        <a:pt x="167" y="140"/>
                        <a:pt x="133" y="70"/>
                      </a:cubicBezTo>
                      <a:lnTo>
                        <a:pt x="133" y="70"/>
                      </a:lnTo>
                      <a:cubicBezTo>
                        <a:pt x="99" y="0"/>
                        <a:pt x="15" y="67"/>
                        <a:pt x="15" y="67"/>
                      </a:cubicBezTo>
                    </a:path>
                  </a:pathLst>
                </a:custGeom>
                <a:solidFill>
                  <a:srgbClr val="FFC2B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3" name="Freeform 387">
                  <a:extLst>
                    <a:ext uri="{FF2B5EF4-FFF2-40B4-BE49-F238E27FC236}">
                      <a16:creationId xmlns:a16="http://schemas.microsoft.com/office/drawing/2014/main" id="{57F4403D-5714-9D4D-8361-D785E6CE7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6"/>
                  <a:ext cx="616385" cy="838169"/>
                </a:xfrm>
                <a:custGeom>
                  <a:avLst/>
                  <a:gdLst>
                    <a:gd name="T0" fmla="*/ 887 w 943"/>
                    <a:gd name="T1" fmla="*/ 1281 h 1282"/>
                    <a:gd name="T2" fmla="*/ 817 w 943"/>
                    <a:gd name="T3" fmla="*/ 1190 h 1282"/>
                    <a:gd name="T4" fmla="*/ 84 w 943"/>
                    <a:gd name="T5" fmla="*/ 766 h 1282"/>
                    <a:gd name="T6" fmla="*/ 84 w 943"/>
                    <a:gd name="T7" fmla="*/ 766 h 1282"/>
                    <a:gd name="T8" fmla="*/ 41 w 943"/>
                    <a:gd name="T9" fmla="*/ 684 h 1282"/>
                    <a:gd name="T10" fmla="*/ 42 w 943"/>
                    <a:gd name="T11" fmla="*/ 83 h 1282"/>
                    <a:gd name="T12" fmla="*/ 0 w 943"/>
                    <a:gd name="T13" fmla="*/ 28 h 1282"/>
                    <a:gd name="T14" fmla="*/ 39 w 943"/>
                    <a:gd name="T15" fmla="*/ 6 h 1282"/>
                    <a:gd name="T16" fmla="*/ 39 w 943"/>
                    <a:gd name="T17" fmla="*/ 6 h 1282"/>
                    <a:gd name="T18" fmla="*/ 39 w 943"/>
                    <a:gd name="T19" fmla="*/ 6 h 1282"/>
                    <a:gd name="T20" fmla="*/ 68 w 943"/>
                    <a:gd name="T21" fmla="*/ 7 h 1282"/>
                    <a:gd name="T22" fmla="*/ 899 w 943"/>
                    <a:gd name="T23" fmla="*/ 488 h 1282"/>
                    <a:gd name="T24" fmla="*/ 899 w 943"/>
                    <a:gd name="T25" fmla="*/ 488 h 1282"/>
                    <a:gd name="T26" fmla="*/ 942 w 943"/>
                    <a:gd name="T27" fmla="*/ 570 h 1282"/>
                    <a:gd name="T28" fmla="*/ 941 w 943"/>
                    <a:gd name="T29" fmla="*/ 1224 h 1282"/>
                    <a:gd name="T30" fmla="*/ 941 w 943"/>
                    <a:gd name="T31" fmla="*/ 1224 h 1282"/>
                    <a:gd name="T32" fmla="*/ 926 w 943"/>
                    <a:gd name="T33" fmla="*/ 1259 h 1282"/>
                    <a:gd name="T34" fmla="*/ 887 w 943"/>
                    <a:gd name="T35" fmla="*/ 1281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3" h="1282">
                      <a:moveTo>
                        <a:pt x="887" y="1281"/>
                      </a:moveTo>
                      <a:lnTo>
                        <a:pt x="817" y="1190"/>
                      </a:lnTo>
                      <a:lnTo>
                        <a:pt x="84" y="766"/>
                      </a:lnTo>
                      <a:lnTo>
                        <a:pt x="84" y="766"/>
                      </a:lnTo>
                      <a:cubicBezTo>
                        <a:pt x="60" y="752"/>
                        <a:pt x="41" y="715"/>
                        <a:pt x="41" y="684"/>
                      </a:cubicBez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23" y="502"/>
                        <a:pt x="942" y="538"/>
                        <a:pt x="942" y="570"/>
                      </a:cubicBezTo>
                      <a:lnTo>
                        <a:pt x="941" y="1224"/>
                      </a:lnTo>
                      <a:lnTo>
                        <a:pt x="941" y="1224"/>
                      </a:lnTo>
                      <a:cubicBezTo>
                        <a:pt x="941" y="1241"/>
                        <a:pt x="935" y="1254"/>
                        <a:pt x="926" y="1259"/>
                      </a:cubicBezTo>
                      <a:lnTo>
                        <a:pt x="887" y="128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4" name="Freeform 388">
                  <a:extLst>
                    <a:ext uri="{FF2B5EF4-FFF2-40B4-BE49-F238E27FC236}">
                      <a16:creationId xmlns:a16="http://schemas.microsoft.com/office/drawing/2014/main" id="{8CC183BD-3FA5-9F43-874D-83D61E807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607745" cy="613505"/>
                </a:xfrm>
                <a:custGeom>
                  <a:avLst/>
                  <a:gdLst>
                    <a:gd name="T0" fmla="*/ 380 w 932"/>
                    <a:gd name="T1" fmla="*/ 937 h 938"/>
                    <a:gd name="T2" fmla="*/ 328 w 932"/>
                    <a:gd name="T3" fmla="*/ 907 h 938"/>
                    <a:gd name="T4" fmla="*/ 41 w 932"/>
                    <a:gd name="T5" fmla="*/ 410 h 938"/>
                    <a:gd name="T6" fmla="*/ 42 w 932"/>
                    <a:gd name="T7" fmla="*/ 83 h 938"/>
                    <a:gd name="T8" fmla="*/ 0 w 932"/>
                    <a:gd name="T9" fmla="*/ 28 h 938"/>
                    <a:gd name="T10" fmla="*/ 39 w 932"/>
                    <a:gd name="T11" fmla="*/ 6 h 938"/>
                    <a:gd name="T12" fmla="*/ 39 w 932"/>
                    <a:gd name="T13" fmla="*/ 6 h 938"/>
                    <a:gd name="T14" fmla="*/ 39 w 932"/>
                    <a:gd name="T15" fmla="*/ 6 h 938"/>
                    <a:gd name="T16" fmla="*/ 68 w 932"/>
                    <a:gd name="T17" fmla="*/ 7 h 938"/>
                    <a:gd name="T18" fmla="*/ 899 w 932"/>
                    <a:gd name="T19" fmla="*/ 488 h 938"/>
                    <a:gd name="T20" fmla="*/ 899 w 932"/>
                    <a:gd name="T21" fmla="*/ 488 h 938"/>
                    <a:gd name="T22" fmla="*/ 931 w 932"/>
                    <a:gd name="T23" fmla="*/ 525 h 938"/>
                    <a:gd name="T24" fmla="*/ 380 w 932"/>
                    <a:gd name="T25" fmla="*/ 937 h 9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938">
                      <a:moveTo>
                        <a:pt x="380" y="937"/>
                      </a:moveTo>
                      <a:lnTo>
                        <a:pt x="328" y="907"/>
                      </a:lnTo>
                      <a:lnTo>
                        <a:pt x="41" y="410"/>
                      </a:lnTo>
                      <a:lnTo>
                        <a:pt x="42" y="83"/>
                      </a:ln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99" y="488"/>
                      </a:lnTo>
                      <a:lnTo>
                        <a:pt x="899" y="488"/>
                      </a:lnTo>
                      <a:cubicBezTo>
                        <a:pt x="912" y="495"/>
                        <a:pt x="923" y="509"/>
                        <a:pt x="931" y="525"/>
                      </a:cubicBezTo>
                      <a:lnTo>
                        <a:pt x="380" y="937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5" name="Freeform 389">
                  <a:extLst>
                    <a:ext uri="{FF2B5EF4-FFF2-40B4-BE49-F238E27FC236}">
                      <a16:creationId xmlns:a16="http://schemas.microsoft.com/office/drawing/2014/main" id="{FCE952A9-DD4D-A94B-B109-3B97CBB6B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5649" y="4516315"/>
                  <a:ext cx="54727" cy="34564"/>
                </a:xfrm>
                <a:custGeom>
                  <a:avLst/>
                  <a:gdLst>
                    <a:gd name="T0" fmla="*/ 18 w 84"/>
                    <a:gd name="T1" fmla="*/ 53 h 54"/>
                    <a:gd name="T2" fmla="*/ 0 w 84"/>
                    <a:gd name="T3" fmla="*/ 28 h 54"/>
                    <a:gd name="T4" fmla="*/ 39 w 84"/>
                    <a:gd name="T5" fmla="*/ 6 h 54"/>
                    <a:gd name="T6" fmla="*/ 39 w 84"/>
                    <a:gd name="T7" fmla="*/ 6 h 54"/>
                    <a:gd name="T8" fmla="*/ 39 w 84"/>
                    <a:gd name="T9" fmla="*/ 6 h 54"/>
                    <a:gd name="T10" fmla="*/ 68 w 84"/>
                    <a:gd name="T11" fmla="*/ 7 h 54"/>
                    <a:gd name="T12" fmla="*/ 83 w 84"/>
                    <a:gd name="T13" fmla="*/ 16 h 54"/>
                    <a:gd name="T14" fmla="*/ 18 w 84"/>
                    <a:gd name="T15" fmla="*/ 5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" h="54">
                      <a:moveTo>
                        <a:pt x="18" y="53"/>
                      </a:moveTo>
                      <a:lnTo>
                        <a:pt x="0" y="28"/>
                      </a:lnTo>
                      <a:lnTo>
                        <a:pt x="39" y="6"/>
                      </a:lnTo>
                      <a:lnTo>
                        <a:pt x="39" y="6"/>
                      </a:lnTo>
                      <a:lnTo>
                        <a:pt x="39" y="6"/>
                      </a:lnTo>
                      <a:cubicBezTo>
                        <a:pt x="47" y="0"/>
                        <a:pt x="57" y="1"/>
                        <a:pt x="68" y="7"/>
                      </a:cubicBezTo>
                      <a:lnTo>
                        <a:pt x="83" y="16"/>
                      </a:lnTo>
                      <a:lnTo>
                        <a:pt x="18" y="53"/>
                      </a:lnTo>
                    </a:path>
                  </a:pathLst>
                </a:custGeom>
                <a:solidFill>
                  <a:srgbClr val="5793CE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6" name="Freeform 390">
                  <a:extLst>
                    <a:ext uri="{FF2B5EF4-FFF2-40B4-BE49-F238E27FC236}">
                      <a16:creationId xmlns:a16="http://schemas.microsoft.com/office/drawing/2014/main" id="{9CCB32E0-5143-7C48-AC89-FD452D9DEC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61385" y="4838910"/>
                  <a:ext cx="77769" cy="77769"/>
                </a:xfrm>
                <a:custGeom>
                  <a:avLst/>
                  <a:gdLst>
                    <a:gd name="T0" fmla="*/ 85 w 121"/>
                    <a:gd name="T1" fmla="*/ 0 h 118"/>
                    <a:gd name="T2" fmla="*/ 85 w 121"/>
                    <a:gd name="T3" fmla="*/ 0 h 118"/>
                    <a:gd name="T4" fmla="*/ 120 w 121"/>
                    <a:gd name="T5" fmla="*/ 70 h 118"/>
                    <a:gd name="T6" fmla="*/ 39 w 121"/>
                    <a:gd name="T7" fmla="*/ 117 h 118"/>
                    <a:gd name="T8" fmla="*/ 0 w 121"/>
                    <a:gd name="T9" fmla="*/ 49 h 118"/>
                    <a:gd name="T10" fmla="*/ 85 w 121"/>
                    <a:gd name="T11" fmla="*/ 0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1" h="118">
                      <a:moveTo>
                        <a:pt x="85" y="0"/>
                      </a:moveTo>
                      <a:lnTo>
                        <a:pt x="85" y="0"/>
                      </a:lnTo>
                      <a:cubicBezTo>
                        <a:pt x="104" y="15"/>
                        <a:pt x="118" y="43"/>
                        <a:pt x="120" y="70"/>
                      </a:cubicBezTo>
                      <a:lnTo>
                        <a:pt x="39" y="117"/>
                      </a:lnTo>
                      <a:lnTo>
                        <a:pt x="0" y="49"/>
                      </a:lnTo>
                      <a:lnTo>
                        <a:pt x="85" y="0"/>
                      </a:ln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  <p:sp>
              <p:nvSpPr>
                <p:cNvPr id="407" name="Freeform 391">
                  <a:extLst>
                    <a:ext uri="{FF2B5EF4-FFF2-40B4-BE49-F238E27FC236}">
                      <a16:creationId xmlns:a16="http://schemas.microsoft.com/office/drawing/2014/main" id="{917F248F-5B74-7845-9DE0-6137D10C1A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4127" y="4527837"/>
                  <a:ext cx="599103" cy="835288"/>
                </a:xfrm>
                <a:custGeom>
                  <a:avLst/>
                  <a:gdLst>
                    <a:gd name="T0" fmla="*/ 875 w 918"/>
                    <a:gd name="T1" fmla="*/ 495 h 1278"/>
                    <a:gd name="T2" fmla="*/ 43 w 918"/>
                    <a:gd name="T3" fmla="*/ 14 h 1278"/>
                    <a:gd name="T4" fmla="*/ 43 w 918"/>
                    <a:gd name="T5" fmla="*/ 14 h 1278"/>
                    <a:gd name="T6" fmla="*/ 1 w 918"/>
                    <a:gd name="T7" fmla="*/ 46 h 1278"/>
                    <a:gd name="T8" fmla="*/ 0 w 918"/>
                    <a:gd name="T9" fmla="*/ 700 h 1278"/>
                    <a:gd name="T10" fmla="*/ 0 w 918"/>
                    <a:gd name="T11" fmla="*/ 700 h 1278"/>
                    <a:gd name="T12" fmla="*/ 43 w 918"/>
                    <a:gd name="T13" fmla="*/ 782 h 1278"/>
                    <a:gd name="T14" fmla="*/ 874 w 918"/>
                    <a:gd name="T15" fmla="*/ 1263 h 1278"/>
                    <a:gd name="T16" fmla="*/ 874 w 918"/>
                    <a:gd name="T17" fmla="*/ 1263 h 1278"/>
                    <a:gd name="T18" fmla="*/ 917 w 918"/>
                    <a:gd name="T19" fmla="*/ 1231 h 1278"/>
                    <a:gd name="T20" fmla="*/ 917 w 918"/>
                    <a:gd name="T21" fmla="*/ 577 h 1278"/>
                    <a:gd name="T22" fmla="*/ 917 w 918"/>
                    <a:gd name="T23" fmla="*/ 577 h 1278"/>
                    <a:gd name="T24" fmla="*/ 875 w 918"/>
                    <a:gd name="T25" fmla="*/ 495 h 1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8" h="1278">
                      <a:moveTo>
                        <a:pt x="875" y="495"/>
                      </a:moveTo>
                      <a:lnTo>
                        <a:pt x="43" y="14"/>
                      </a:lnTo>
                      <a:lnTo>
                        <a:pt x="43" y="14"/>
                      </a:lnTo>
                      <a:cubicBezTo>
                        <a:pt x="20" y="0"/>
                        <a:pt x="1" y="15"/>
                        <a:pt x="1" y="46"/>
                      </a:cubicBezTo>
                      <a:lnTo>
                        <a:pt x="0" y="700"/>
                      </a:lnTo>
                      <a:lnTo>
                        <a:pt x="0" y="700"/>
                      </a:lnTo>
                      <a:cubicBezTo>
                        <a:pt x="0" y="731"/>
                        <a:pt x="19" y="769"/>
                        <a:pt x="43" y="782"/>
                      </a:cubicBezTo>
                      <a:lnTo>
                        <a:pt x="874" y="1263"/>
                      </a:lnTo>
                      <a:lnTo>
                        <a:pt x="874" y="1263"/>
                      </a:lnTo>
                      <a:cubicBezTo>
                        <a:pt x="897" y="1277"/>
                        <a:pt x="917" y="1262"/>
                        <a:pt x="917" y="1231"/>
                      </a:cubicBezTo>
                      <a:lnTo>
                        <a:pt x="917" y="577"/>
                      </a:lnTo>
                      <a:lnTo>
                        <a:pt x="917" y="577"/>
                      </a:lnTo>
                      <a:cubicBezTo>
                        <a:pt x="917" y="545"/>
                        <a:pt x="899" y="509"/>
                        <a:pt x="875" y="495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3266" dirty="0">
                    <a:latin typeface="Lato Light" panose="020F0502020204030203" pitchFamily="34" charset="0"/>
                  </a:endParaRPr>
                </a:p>
              </p:txBody>
            </p:sp>
          </p:grpSp>
          <p:sp>
            <p:nvSpPr>
              <p:cNvPr id="311" name="Freeform 393">
                <a:extLst>
                  <a:ext uri="{FF2B5EF4-FFF2-40B4-BE49-F238E27FC236}">
                    <a16:creationId xmlns:a16="http://schemas.microsoft.com/office/drawing/2014/main" id="{969D9B7D-5D41-894A-910B-A83A8B100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0251" y="3626304"/>
                <a:ext cx="417643" cy="659588"/>
              </a:xfrm>
              <a:custGeom>
                <a:avLst/>
                <a:gdLst>
                  <a:gd name="T0" fmla="*/ 444 w 639"/>
                  <a:gd name="T1" fmla="*/ 0 h 1009"/>
                  <a:gd name="T2" fmla="*/ 444 w 639"/>
                  <a:gd name="T3" fmla="*/ 0 h 1009"/>
                  <a:gd name="T4" fmla="*/ 0 w 639"/>
                  <a:gd name="T5" fmla="*/ 660 h 1009"/>
                  <a:gd name="T6" fmla="*/ 0 w 639"/>
                  <a:gd name="T7" fmla="*/ 660 h 1009"/>
                  <a:gd name="T8" fmla="*/ 373 w 639"/>
                  <a:gd name="T9" fmla="*/ 932 h 1009"/>
                  <a:gd name="T10" fmla="*/ 373 w 639"/>
                  <a:gd name="T11" fmla="*/ 932 h 1009"/>
                  <a:gd name="T12" fmla="*/ 444 w 639"/>
                  <a:gd name="T13" fmla="*/ 0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9" h="1009">
                    <a:moveTo>
                      <a:pt x="444" y="0"/>
                    </a:moveTo>
                    <a:lnTo>
                      <a:pt x="444" y="0"/>
                    </a:lnTo>
                    <a:cubicBezTo>
                      <a:pt x="444" y="0"/>
                      <a:pt x="128" y="344"/>
                      <a:pt x="0" y="660"/>
                    </a:cubicBezTo>
                    <a:lnTo>
                      <a:pt x="0" y="660"/>
                    </a:lnTo>
                    <a:cubicBezTo>
                      <a:pt x="0" y="660"/>
                      <a:pt x="108" y="855"/>
                      <a:pt x="373" y="932"/>
                    </a:cubicBezTo>
                    <a:lnTo>
                      <a:pt x="373" y="932"/>
                    </a:lnTo>
                    <a:cubicBezTo>
                      <a:pt x="638" y="1008"/>
                      <a:pt x="444" y="0"/>
                      <a:pt x="444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59DA61DD-E412-A64E-A6FD-18D5667A6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8667" y="3897051"/>
                <a:ext cx="575405" cy="506279"/>
              </a:xfrm>
              <a:custGeom>
                <a:avLst/>
                <a:gdLst>
                  <a:gd name="connsiteX0" fmla="*/ 575405 w 575405"/>
                  <a:gd name="connsiteY0" fmla="*/ 129613 h 506279"/>
                  <a:gd name="connsiteX1" fmla="*/ 575405 w 575405"/>
                  <a:gd name="connsiteY1" fmla="*/ 506279 h 506279"/>
                  <a:gd name="connsiteX2" fmla="*/ 533511 w 575405"/>
                  <a:gd name="connsiteY2" fmla="*/ 444047 h 506279"/>
                  <a:gd name="connsiteX3" fmla="*/ 575405 w 575405"/>
                  <a:gd name="connsiteY3" fmla="*/ 129613 h 506279"/>
                  <a:gd name="connsiteX4" fmla="*/ 77126 w 575405"/>
                  <a:gd name="connsiteY4" fmla="*/ 0 h 506279"/>
                  <a:gd name="connsiteX5" fmla="*/ 44348 w 575405"/>
                  <a:gd name="connsiteY5" fmla="*/ 321944 h 506279"/>
                  <a:gd name="connsiteX6" fmla="*/ 0 w 575405"/>
                  <a:gd name="connsiteY6" fmla="*/ 301782 h 50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405" h="506279">
                    <a:moveTo>
                      <a:pt x="575405" y="129613"/>
                    </a:moveTo>
                    <a:lnTo>
                      <a:pt x="575405" y="506279"/>
                    </a:lnTo>
                    <a:cubicBezTo>
                      <a:pt x="549876" y="496453"/>
                      <a:pt x="532856" y="471560"/>
                      <a:pt x="533511" y="444047"/>
                    </a:cubicBezTo>
                    <a:cubicBezTo>
                      <a:pt x="535474" y="343166"/>
                      <a:pt x="575405" y="129613"/>
                      <a:pt x="575405" y="129613"/>
                    </a:cubicBezTo>
                    <a:close/>
                    <a:moveTo>
                      <a:pt x="77126" y="0"/>
                    </a:moveTo>
                    <a:lnTo>
                      <a:pt x="44348" y="321944"/>
                    </a:lnTo>
                    <a:cubicBezTo>
                      <a:pt x="28922" y="316090"/>
                      <a:pt x="13497" y="308936"/>
                      <a:pt x="0" y="301782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3" name="Freeform 395">
                <a:extLst>
                  <a:ext uri="{FF2B5EF4-FFF2-40B4-BE49-F238E27FC236}">
                    <a16:creationId xmlns:a16="http://schemas.microsoft.com/office/drawing/2014/main" id="{BB07B505-8EB4-DA4D-933E-3661823755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09092" y="3565816"/>
                <a:ext cx="109451" cy="63367"/>
              </a:xfrm>
              <a:custGeom>
                <a:avLst/>
                <a:gdLst>
                  <a:gd name="T0" fmla="*/ 85 w 169"/>
                  <a:gd name="T1" fmla="*/ 24 h 98"/>
                  <a:gd name="T2" fmla="*/ 0 w 169"/>
                  <a:gd name="T3" fmla="*/ 0 h 98"/>
                  <a:gd name="T4" fmla="*/ 0 w 169"/>
                  <a:gd name="T5" fmla="*/ 0 h 98"/>
                  <a:gd name="T6" fmla="*/ 100 w 169"/>
                  <a:gd name="T7" fmla="*/ 80 h 98"/>
                  <a:gd name="T8" fmla="*/ 100 w 169"/>
                  <a:gd name="T9" fmla="*/ 80 h 98"/>
                  <a:gd name="T10" fmla="*/ 168 w 169"/>
                  <a:gd name="T11" fmla="*/ 47 h 98"/>
                  <a:gd name="T12" fmla="*/ 85 w 169"/>
                  <a:gd name="T13" fmla="*/ 2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98">
                    <a:moveTo>
                      <a:pt x="85" y="24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40" y="64"/>
                      <a:pt x="100" y="80"/>
                    </a:cubicBezTo>
                    <a:lnTo>
                      <a:pt x="100" y="80"/>
                    </a:lnTo>
                    <a:cubicBezTo>
                      <a:pt x="159" y="97"/>
                      <a:pt x="168" y="47"/>
                      <a:pt x="168" y="47"/>
                    </a:cubicBezTo>
                    <a:lnTo>
                      <a:pt x="85" y="24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4" name="Freeform 396">
                <a:extLst>
                  <a:ext uri="{FF2B5EF4-FFF2-40B4-BE49-F238E27FC236}">
                    <a16:creationId xmlns:a16="http://schemas.microsoft.com/office/drawing/2014/main" id="{01285459-1D39-874C-9E2E-30350B245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6140" y="8102293"/>
                <a:ext cx="1454554" cy="841048"/>
              </a:xfrm>
              <a:custGeom>
                <a:avLst/>
                <a:gdLst>
                  <a:gd name="T0" fmla="*/ 1007 w 2227"/>
                  <a:gd name="T1" fmla="*/ 1252 h 1287"/>
                  <a:gd name="T2" fmla="*/ 58 w 2227"/>
                  <a:gd name="T3" fmla="*/ 704 h 1287"/>
                  <a:gd name="T4" fmla="*/ 58 w 2227"/>
                  <a:gd name="T5" fmla="*/ 704 h 1287"/>
                  <a:gd name="T6" fmla="*/ 74 w 2227"/>
                  <a:gd name="T7" fmla="*/ 573 h 1287"/>
                  <a:gd name="T8" fmla="*/ 991 w 2227"/>
                  <a:gd name="T9" fmla="*/ 43 h 1287"/>
                  <a:gd name="T10" fmla="*/ 991 w 2227"/>
                  <a:gd name="T11" fmla="*/ 43 h 1287"/>
                  <a:gd name="T12" fmla="*/ 1218 w 2227"/>
                  <a:gd name="T13" fmla="*/ 34 h 1287"/>
                  <a:gd name="T14" fmla="*/ 2167 w 2227"/>
                  <a:gd name="T15" fmla="*/ 582 h 1287"/>
                  <a:gd name="T16" fmla="*/ 2167 w 2227"/>
                  <a:gd name="T17" fmla="*/ 582 h 1287"/>
                  <a:gd name="T18" fmla="*/ 2151 w 2227"/>
                  <a:gd name="T19" fmla="*/ 713 h 1287"/>
                  <a:gd name="T20" fmla="*/ 1234 w 2227"/>
                  <a:gd name="T21" fmla="*/ 1242 h 1287"/>
                  <a:gd name="T22" fmla="*/ 1234 w 2227"/>
                  <a:gd name="T23" fmla="*/ 1242 h 1287"/>
                  <a:gd name="T24" fmla="*/ 1007 w 2227"/>
                  <a:gd name="T25" fmla="*/ 1252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27" h="1287">
                    <a:moveTo>
                      <a:pt x="1007" y="1252"/>
                    </a:moveTo>
                    <a:lnTo>
                      <a:pt x="58" y="704"/>
                    </a:lnTo>
                    <a:lnTo>
                      <a:pt x="58" y="704"/>
                    </a:lnTo>
                    <a:cubicBezTo>
                      <a:pt x="0" y="670"/>
                      <a:pt x="7" y="611"/>
                      <a:pt x="74" y="573"/>
                    </a:cubicBezTo>
                    <a:lnTo>
                      <a:pt x="991" y="43"/>
                    </a:lnTo>
                    <a:lnTo>
                      <a:pt x="991" y="43"/>
                    </a:lnTo>
                    <a:cubicBezTo>
                      <a:pt x="1058" y="5"/>
                      <a:pt x="1160" y="0"/>
                      <a:pt x="1218" y="34"/>
                    </a:cubicBezTo>
                    <a:lnTo>
                      <a:pt x="2167" y="582"/>
                    </a:lnTo>
                    <a:lnTo>
                      <a:pt x="2167" y="582"/>
                    </a:lnTo>
                    <a:cubicBezTo>
                      <a:pt x="2226" y="616"/>
                      <a:pt x="2218" y="674"/>
                      <a:pt x="2151" y="713"/>
                    </a:cubicBezTo>
                    <a:lnTo>
                      <a:pt x="1234" y="1242"/>
                    </a:lnTo>
                    <a:lnTo>
                      <a:pt x="1234" y="1242"/>
                    </a:lnTo>
                    <a:cubicBezTo>
                      <a:pt x="1167" y="1282"/>
                      <a:pt x="1065" y="1286"/>
                      <a:pt x="1007" y="125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5" name="Freeform 397">
                <a:extLst>
                  <a:ext uri="{FF2B5EF4-FFF2-40B4-BE49-F238E27FC236}">
                    <a16:creationId xmlns:a16="http://schemas.microsoft.com/office/drawing/2014/main" id="{87750EE9-80A5-A548-8A04-1DDFBAD41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794099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3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8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8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6" name="Freeform 398">
                <a:extLst>
                  <a:ext uri="{FF2B5EF4-FFF2-40B4-BE49-F238E27FC236}">
                    <a16:creationId xmlns:a16="http://schemas.microsoft.com/office/drawing/2014/main" id="{CF8935E3-4822-8E48-951C-25EB60BFE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80274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0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7" name="Freeform 399">
                <a:extLst>
                  <a:ext uri="{FF2B5EF4-FFF2-40B4-BE49-F238E27FC236}">
                    <a16:creationId xmlns:a16="http://schemas.microsoft.com/office/drawing/2014/main" id="{B5BAB2FE-3645-2147-8F31-55104DF5B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94099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8" name="Freeform 400">
                <a:extLst>
                  <a:ext uri="{FF2B5EF4-FFF2-40B4-BE49-F238E27FC236}">
                    <a16:creationId xmlns:a16="http://schemas.microsoft.com/office/drawing/2014/main" id="{C465BB91-B35E-0045-97E4-85CFC4762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84047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19" name="Freeform 401">
                <a:extLst>
                  <a:ext uri="{FF2B5EF4-FFF2-40B4-BE49-F238E27FC236}">
                    <a16:creationId xmlns:a16="http://schemas.microsoft.com/office/drawing/2014/main" id="{ABD3D191-25E2-0243-A876-19BCD750B6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741678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0" name="Freeform 402">
                <a:extLst>
                  <a:ext uri="{FF2B5EF4-FFF2-40B4-BE49-F238E27FC236}">
                    <a16:creationId xmlns:a16="http://schemas.microsoft.com/office/drawing/2014/main" id="{496B8913-6659-EE42-B33A-02C05D80D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500309"/>
                <a:ext cx="1526560" cy="881373"/>
              </a:xfrm>
              <a:custGeom>
                <a:avLst/>
                <a:gdLst>
                  <a:gd name="T0" fmla="*/ 1057 w 2336"/>
                  <a:gd name="T1" fmla="*/ 1313 h 1350"/>
                  <a:gd name="T2" fmla="*/ 61 w 2336"/>
                  <a:gd name="T3" fmla="*/ 738 h 1350"/>
                  <a:gd name="T4" fmla="*/ 61 w 2336"/>
                  <a:gd name="T5" fmla="*/ 738 h 1350"/>
                  <a:gd name="T6" fmla="*/ 78 w 2336"/>
                  <a:gd name="T7" fmla="*/ 601 h 1350"/>
                  <a:gd name="T8" fmla="*/ 1040 w 2336"/>
                  <a:gd name="T9" fmla="*/ 46 h 1350"/>
                  <a:gd name="T10" fmla="*/ 1040 w 2336"/>
                  <a:gd name="T11" fmla="*/ 46 h 1350"/>
                  <a:gd name="T12" fmla="*/ 1278 w 2336"/>
                  <a:gd name="T13" fmla="*/ 36 h 1350"/>
                  <a:gd name="T14" fmla="*/ 2274 w 2336"/>
                  <a:gd name="T15" fmla="*/ 611 h 1350"/>
                  <a:gd name="T16" fmla="*/ 2274 w 2336"/>
                  <a:gd name="T17" fmla="*/ 611 h 1350"/>
                  <a:gd name="T18" fmla="*/ 2257 w 2336"/>
                  <a:gd name="T19" fmla="*/ 748 h 1350"/>
                  <a:gd name="T20" fmla="*/ 1295 w 2336"/>
                  <a:gd name="T21" fmla="*/ 1303 h 1350"/>
                  <a:gd name="T22" fmla="*/ 1295 w 2336"/>
                  <a:gd name="T23" fmla="*/ 1303 h 1350"/>
                  <a:gd name="T24" fmla="*/ 1057 w 2336"/>
                  <a:gd name="T25" fmla="*/ 1313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8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9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1" name="Freeform 406">
                <a:extLst>
                  <a:ext uri="{FF2B5EF4-FFF2-40B4-BE49-F238E27FC236}">
                    <a16:creationId xmlns:a16="http://schemas.microsoft.com/office/drawing/2014/main" id="{269CDEB5-BAFD-E349-9789-B8F5D17E9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64936"/>
                <a:ext cx="1791548" cy="947619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5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7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2" name="Freeform 407">
                <a:extLst>
                  <a:ext uri="{FF2B5EF4-FFF2-40B4-BE49-F238E27FC236}">
                    <a16:creationId xmlns:a16="http://schemas.microsoft.com/office/drawing/2014/main" id="{49FB20F2-61A8-924A-9686-6A4E34317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373576"/>
                <a:ext cx="895773" cy="930339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2 h 1426"/>
                  <a:gd name="T8" fmla="*/ 2 w 1373"/>
                  <a:gd name="T9" fmla="*/ 211 h 1426"/>
                  <a:gd name="T10" fmla="*/ 2 w 1373"/>
                  <a:gd name="T11" fmla="*/ 633 h 1426"/>
                  <a:gd name="T12" fmla="*/ 2 w 1373"/>
                  <a:gd name="T13" fmla="*/ 633 h 1426"/>
                  <a:gd name="T14" fmla="*/ 51 w 1373"/>
                  <a:gd name="T15" fmla="*/ 709 h 1426"/>
                  <a:gd name="T16" fmla="*/ 1240 w 1373"/>
                  <a:gd name="T17" fmla="*/ 1396 h 1426"/>
                  <a:gd name="T18" fmla="*/ 1240 w 1373"/>
                  <a:gd name="T19" fmla="*/ 1396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6"/>
                      <a:pt x="1219" y="41"/>
                    </a:cubicBezTo>
                    <a:lnTo>
                      <a:pt x="922" y="212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2"/>
                      <a:pt x="16" y="689"/>
                      <a:pt x="51" y="709"/>
                    </a:cubicBezTo>
                    <a:lnTo>
                      <a:pt x="1240" y="1396"/>
                    </a:lnTo>
                    <a:lnTo>
                      <a:pt x="1240" y="1396"/>
                    </a:lnTo>
                    <a:cubicBezTo>
                      <a:pt x="1275" y="1416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3" name="Freeform 408">
                <a:extLst>
                  <a:ext uri="{FF2B5EF4-FFF2-40B4-BE49-F238E27FC236}">
                    <a16:creationId xmlns:a16="http://schemas.microsoft.com/office/drawing/2014/main" id="{057F86E5-109A-584A-A0C3-A082EAC32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511830"/>
                <a:ext cx="69127" cy="348517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4" name="Freeform 409">
                <a:extLst>
                  <a:ext uri="{FF2B5EF4-FFF2-40B4-BE49-F238E27FC236}">
                    <a16:creationId xmlns:a16="http://schemas.microsoft.com/office/drawing/2014/main" id="{B7D84FF9-B799-9344-8EE6-90F8AA1AC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975559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5" name="Freeform 410">
                <a:extLst>
                  <a:ext uri="{FF2B5EF4-FFF2-40B4-BE49-F238E27FC236}">
                    <a16:creationId xmlns:a16="http://schemas.microsoft.com/office/drawing/2014/main" id="{C098FC87-7722-1A49-B575-D9F8F1DAA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987615"/>
                <a:ext cx="1820351" cy="1051311"/>
              </a:xfrm>
              <a:custGeom>
                <a:avLst/>
                <a:gdLst>
                  <a:gd name="T0" fmla="*/ 1262 w 2789"/>
                  <a:gd name="T1" fmla="*/ 1567 h 1611"/>
                  <a:gd name="T2" fmla="*/ 73 w 2789"/>
                  <a:gd name="T3" fmla="*/ 881 h 1611"/>
                  <a:gd name="T4" fmla="*/ 73 w 2789"/>
                  <a:gd name="T5" fmla="*/ 881 h 1611"/>
                  <a:gd name="T6" fmla="*/ 93 w 2789"/>
                  <a:gd name="T7" fmla="*/ 717 h 1611"/>
                  <a:gd name="T8" fmla="*/ 1241 w 2789"/>
                  <a:gd name="T9" fmla="*/ 54 h 1611"/>
                  <a:gd name="T10" fmla="*/ 1241 w 2789"/>
                  <a:gd name="T11" fmla="*/ 54 h 1611"/>
                  <a:gd name="T12" fmla="*/ 1526 w 2789"/>
                  <a:gd name="T13" fmla="*/ 42 h 1611"/>
                  <a:gd name="T14" fmla="*/ 2715 w 2789"/>
                  <a:gd name="T15" fmla="*/ 729 h 1611"/>
                  <a:gd name="T16" fmla="*/ 2715 w 2789"/>
                  <a:gd name="T17" fmla="*/ 729 h 1611"/>
                  <a:gd name="T18" fmla="*/ 2694 w 2789"/>
                  <a:gd name="T19" fmla="*/ 893 h 1611"/>
                  <a:gd name="T20" fmla="*/ 1546 w 2789"/>
                  <a:gd name="T21" fmla="*/ 1556 h 1611"/>
                  <a:gd name="T22" fmla="*/ 1546 w 2789"/>
                  <a:gd name="T23" fmla="*/ 1556 h 1611"/>
                  <a:gd name="T24" fmla="*/ 1262 w 2789"/>
                  <a:gd name="T25" fmla="*/ 1567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1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6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9"/>
                    </a:lnTo>
                    <a:lnTo>
                      <a:pt x="2715" y="729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6"/>
                    </a:lnTo>
                    <a:lnTo>
                      <a:pt x="1546" y="1556"/>
                    </a:lnTo>
                    <a:cubicBezTo>
                      <a:pt x="1462" y="1604"/>
                      <a:pt x="1334" y="1610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6" name="Freeform 411">
                <a:extLst>
                  <a:ext uri="{FF2B5EF4-FFF2-40B4-BE49-F238E27FC236}">
                    <a16:creationId xmlns:a16="http://schemas.microsoft.com/office/drawing/2014/main" id="{52E6309E-3EE3-094D-B1DC-C4099ED2ED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7071145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8 h 1349"/>
                  <a:gd name="T4" fmla="*/ 61 w 2336"/>
                  <a:gd name="T5" fmla="*/ 738 h 1349"/>
                  <a:gd name="T6" fmla="*/ 78 w 2336"/>
                  <a:gd name="T7" fmla="*/ 600 h 1349"/>
                  <a:gd name="T8" fmla="*/ 1040 w 2336"/>
                  <a:gd name="T9" fmla="*/ 45 h 1349"/>
                  <a:gd name="T10" fmla="*/ 1040 w 2336"/>
                  <a:gd name="T11" fmla="*/ 45 h 1349"/>
                  <a:gd name="T12" fmla="*/ 1278 w 2336"/>
                  <a:gd name="T13" fmla="*/ 35 h 1349"/>
                  <a:gd name="T14" fmla="*/ 2274 w 2336"/>
                  <a:gd name="T15" fmla="*/ 610 h 1349"/>
                  <a:gd name="T16" fmla="*/ 2274 w 2336"/>
                  <a:gd name="T17" fmla="*/ 610 h 1349"/>
                  <a:gd name="T18" fmla="*/ 2257 w 2336"/>
                  <a:gd name="T19" fmla="*/ 747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8"/>
                    </a:lnTo>
                    <a:lnTo>
                      <a:pt x="61" y="738"/>
                    </a:lnTo>
                    <a:cubicBezTo>
                      <a:pt x="0" y="703"/>
                      <a:pt x="7" y="641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5"/>
                      <a:pt x="2328" y="707"/>
                      <a:pt x="2257" y="747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4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7" name="Freeform 415">
                <a:extLst>
                  <a:ext uri="{FF2B5EF4-FFF2-40B4-BE49-F238E27FC236}">
                    <a16:creationId xmlns:a16="http://schemas.microsoft.com/office/drawing/2014/main" id="{5343C481-7782-1245-9F06-D88A4EAFBD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35769"/>
                <a:ext cx="1791548" cy="947620"/>
              </a:xfrm>
              <a:custGeom>
                <a:avLst/>
                <a:gdLst>
                  <a:gd name="T0" fmla="*/ 2741 w 2745"/>
                  <a:gd name="T1" fmla="*/ 636 h 1453"/>
                  <a:gd name="T2" fmla="*/ 2741 w 2745"/>
                  <a:gd name="T3" fmla="*/ 636 h 1453"/>
                  <a:gd name="T4" fmla="*/ 2741 w 2745"/>
                  <a:gd name="T5" fmla="*/ 227 h 1453"/>
                  <a:gd name="T6" fmla="*/ 1822 w 2745"/>
                  <a:gd name="T7" fmla="*/ 226 h 1453"/>
                  <a:gd name="T8" fmla="*/ 1504 w 2745"/>
                  <a:gd name="T9" fmla="*/ 42 h 1453"/>
                  <a:gd name="T10" fmla="*/ 1504 w 2745"/>
                  <a:gd name="T11" fmla="*/ 42 h 1453"/>
                  <a:gd name="T12" fmla="*/ 1219 w 2745"/>
                  <a:gd name="T13" fmla="*/ 55 h 1453"/>
                  <a:gd name="T14" fmla="*/ 922 w 2745"/>
                  <a:gd name="T15" fmla="*/ 225 h 1453"/>
                  <a:gd name="T16" fmla="*/ 2 w 2745"/>
                  <a:gd name="T17" fmla="*/ 225 h 1453"/>
                  <a:gd name="T18" fmla="*/ 2 w 2745"/>
                  <a:gd name="T19" fmla="*/ 646 h 1453"/>
                  <a:gd name="T20" fmla="*/ 2 w 2745"/>
                  <a:gd name="T21" fmla="*/ 646 h 1453"/>
                  <a:gd name="T22" fmla="*/ 51 w 2745"/>
                  <a:gd name="T23" fmla="*/ 723 h 1453"/>
                  <a:gd name="T24" fmla="*/ 1240 w 2745"/>
                  <a:gd name="T25" fmla="*/ 1409 h 1453"/>
                  <a:gd name="T26" fmla="*/ 1240 w 2745"/>
                  <a:gd name="T27" fmla="*/ 1409 h 1453"/>
                  <a:gd name="T28" fmla="*/ 1524 w 2745"/>
                  <a:gd name="T29" fmla="*/ 1398 h 1453"/>
                  <a:gd name="T30" fmla="*/ 2672 w 2745"/>
                  <a:gd name="T31" fmla="*/ 735 h 1453"/>
                  <a:gd name="T32" fmla="*/ 2672 w 2745"/>
                  <a:gd name="T33" fmla="*/ 735 h 1453"/>
                  <a:gd name="T34" fmla="*/ 2741 w 2745"/>
                  <a:gd name="T35" fmla="*/ 636 h 1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3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7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6"/>
                      <a:pt x="1219" y="55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2"/>
                      <a:pt x="1440" y="1446"/>
                      <a:pt x="1524" y="1398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8" name="Freeform 416">
                <a:extLst>
                  <a:ext uri="{FF2B5EF4-FFF2-40B4-BE49-F238E27FC236}">
                    <a16:creationId xmlns:a16="http://schemas.microsoft.com/office/drawing/2014/main" id="{8F017440-D462-0543-B1F9-BAF4C408A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944411"/>
                <a:ext cx="895773" cy="930337"/>
              </a:xfrm>
              <a:custGeom>
                <a:avLst/>
                <a:gdLst>
                  <a:gd name="T0" fmla="*/ 1372 w 1373"/>
                  <a:gd name="T1" fmla="*/ 0 h 1426"/>
                  <a:gd name="T2" fmla="*/ 1372 w 1373"/>
                  <a:gd name="T3" fmla="*/ 0 h 1426"/>
                  <a:gd name="T4" fmla="*/ 1219 w 1373"/>
                  <a:gd name="T5" fmla="*/ 41 h 1426"/>
                  <a:gd name="T6" fmla="*/ 922 w 1373"/>
                  <a:gd name="T7" fmla="*/ 211 h 1426"/>
                  <a:gd name="T8" fmla="*/ 2 w 1373"/>
                  <a:gd name="T9" fmla="*/ 211 h 1426"/>
                  <a:gd name="T10" fmla="*/ 2 w 1373"/>
                  <a:gd name="T11" fmla="*/ 632 h 1426"/>
                  <a:gd name="T12" fmla="*/ 2 w 1373"/>
                  <a:gd name="T13" fmla="*/ 632 h 1426"/>
                  <a:gd name="T14" fmla="*/ 51 w 1373"/>
                  <a:gd name="T15" fmla="*/ 709 h 1426"/>
                  <a:gd name="T16" fmla="*/ 1240 w 1373"/>
                  <a:gd name="T17" fmla="*/ 1395 h 1426"/>
                  <a:gd name="T18" fmla="*/ 1240 w 1373"/>
                  <a:gd name="T19" fmla="*/ 1395 h 1426"/>
                  <a:gd name="T20" fmla="*/ 1372 w 1373"/>
                  <a:gd name="T21" fmla="*/ 1424 h 1426"/>
                  <a:gd name="T22" fmla="*/ 1372 w 1373"/>
                  <a:gd name="T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6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1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5"/>
                      <a:pt x="1372" y="1424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29" name="Freeform 417">
                <a:extLst>
                  <a:ext uri="{FF2B5EF4-FFF2-40B4-BE49-F238E27FC236}">
                    <a16:creationId xmlns:a16="http://schemas.microsoft.com/office/drawing/2014/main" id="{92AE1BA2-57D6-CF4A-9F50-C4A7675B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7082666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1 h 531"/>
                  <a:gd name="T6" fmla="*/ 2 w 107"/>
                  <a:gd name="T7" fmla="*/ 421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0" name="Freeform 418">
                <a:extLst>
                  <a:ext uri="{FF2B5EF4-FFF2-40B4-BE49-F238E27FC236}">
                    <a16:creationId xmlns:a16="http://schemas.microsoft.com/office/drawing/2014/main" id="{F93E0E23-C5FB-B144-B90C-F85EF3790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549274"/>
                <a:ext cx="149776" cy="331234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1" name="Freeform 419">
                <a:extLst>
                  <a:ext uri="{FF2B5EF4-FFF2-40B4-BE49-F238E27FC236}">
                    <a16:creationId xmlns:a16="http://schemas.microsoft.com/office/drawing/2014/main" id="{89033692-4AC1-854D-83A7-127A41101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558452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7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1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7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1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2" name="Freeform 420">
                <a:extLst>
                  <a:ext uri="{FF2B5EF4-FFF2-40B4-BE49-F238E27FC236}">
                    <a16:creationId xmlns:a16="http://schemas.microsoft.com/office/drawing/2014/main" id="{D554CC2C-DD88-DA4E-8842-35DA9B4D2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644860"/>
                <a:ext cx="1526560" cy="881373"/>
              </a:xfrm>
              <a:custGeom>
                <a:avLst/>
                <a:gdLst>
                  <a:gd name="T0" fmla="*/ 1057 w 2336"/>
                  <a:gd name="T1" fmla="*/ 1314 h 1350"/>
                  <a:gd name="T2" fmla="*/ 61 w 2336"/>
                  <a:gd name="T3" fmla="*/ 739 h 1350"/>
                  <a:gd name="T4" fmla="*/ 61 w 2336"/>
                  <a:gd name="T5" fmla="*/ 739 h 1350"/>
                  <a:gd name="T6" fmla="*/ 78 w 2336"/>
                  <a:gd name="T7" fmla="*/ 600 h 1350"/>
                  <a:gd name="T8" fmla="*/ 1040 w 2336"/>
                  <a:gd name="T9" fmla="*/ 45 h 1350"/>
                  <a:gd name="T10" fmla="*/ 1040 w 2336"/>
                  <a:gd name="T11" fmla="*/ 45 h 1350"/>
                  <a:gd name="T12" fmla="*/ 1278 w 2336"/>
                  <a:gd name="T13" fmla="*/ 36 h 1350"/>
                  <a:gd name="T14" fmla="*/ 2274 w 2336"/>
                  <a:gd name="T15" fmla="*/ 610 h 1350"/>
                  <a:gd name="T16" fmla="*/ 2274 w 2336"/>
                  <a:gd name="T17" fmla="*/ 610 h 1350"/>
                  <a:gd name="T18" fmla="*/ 2257 w 2336"/>
                  <a:gd name="T19" fmla="*/ 749 h 1350"/>
                  <a:gd name="T20" fmla="*/ 1295 w 2336"/>
                  <a:gd name="T21" fmla="*/ 1304 h 1350"/>
                  <a:gd name="T22" fmla="*/ 1295 w 2336"/>
                  <a:gd name="T23" fmla="*/ 1304 h 1350"/>
                  <a:gd name="T24" fmla="*/ 1057 w 2336"/>
                  <a:gd name="T25" fmla="*/ 1314 h 1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50">
                    <a:moveTo>
                      <a:pt x="1057" y="1314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0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0"/>
                    </a:lnTo>
                    <a:lnTo>
                      <a:pt x="2274" y="610"/>
                    </a:lnTo>
                    <a:cubicBezTo>
                      <a:pt x="2335" y="646"/>
                      <a:pt x="2328" y="708"/>
                      <a:pt x="2257" y="749"/>
                    </a:cubicBezTo>
                    <a:lnTo>
                      <a:pt x="1295" y="1304"/>
                    </a:lnTo>
                    <a:lnTo>
                      <a:pt x="1295" y="1304"/>
                    </a:lnTo>
                    <a:cubicBezTo>
                      <a:pt x="1225" y="1344"/>
                      <a:pt x="1118" y="1349"/>
                      <a:pt x="1057" y="1314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3" name="Freeform 424">
                <a:extLst>
                  <a:ext uri="{FF2B5EF4-FFF2-40B4-BE49-F238E27FC236}">
                    <a16:creationId xmlns:a16="http://schemas.microsoft.com/office/drawing/2014/main" id="{B6056CB2-5896-614E-BC71-0234F094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09485"/>
                <a:ext cx="1791548" cy="947620"/>
              </a:xfrm>
              <a:custGeom>
                <a:avLst/>
                <a:gdLst>
                  <a:gd name="T0" fmla="*/ 2741 w 2745"/>
                  <a:gd name="T1" fmla="*/ 636 h 1452"/>
                  <a:gd name="T2" fmla="*/ 2741 w 2745"/>
                  <a:gd name="T3" fmla="*/ 636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2 h 1452"/>
                  <a:gd name="T10" fmla="*/ 1504 w 2745"/>
                  <a:gd name="T11" fmla="*/ 42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4 h 1452"/>
                  <a:gd name="T18" fmla="*/ 2 w 2745"/>
                  <a:gd name="T19" fmla="*/ 646 h 1452"/>
                  <a:gd name="T20" fmla="*/ 2 w 2745"/>
                  <a:gd name="T21" fmla="*/ 646 h 1452"/>
                  <a:gd name="T22" fmla="*/ 51 w 2745"/>
                  <a:gd name="T23" fmla="*/ 722 h 1452"/>
                  <a:gd name="T24" fmla="*/ 1240 w 2745"/>
                  <a:gd name="T25" fmla="*/ 1409 h 1452"/>
                  <a:gd name="T26" fmla="*/ 1240 w 2745"/>
                  <a:gd name="T27" fmla="*/ 1409 h 1452"/>
                  <a:gd name="T28" fmla="*/ 1524 w 2745"/>
                  <a:gd name="T29" fmla="*/ 1397 h 1452"/>
                  <a:gd name="T30" fmla="*/ 2672 w 2745"/>
                  <a:gd name="T31" fmla="*/ 734 h 1452"/>
                  <a:gd name="T32" fmla="*/ 2672 w 2745"/>
                  <a:gd name="T33" fmla="*/ 734 h 1452"/>
                  <a:gd name="T34" fmla="*/ 2741 w 2745"/>
                  <a:gd name="T35" fmla="*/ 636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2"/>
                    </a:lnTo>
                    <a:lnTo>
                      <a:pt x="1504" y="42"/>
                    </a:lnTo>
                    <a:cubicBezTo>
                      <a:pt x="1431" y="0"/>
                      <a:pt x="1303" y="5"/>
                      <a:pt x="1219" y="54"/>
                    </a:cubicBezTo>
                    <a:lnTo>
                      <a:pt x="922" y="225"/>
                    </a:lnTo>
                    <a:lnTo>
                      <a:pt x="2" y="224"/>
                    </a:lnTo>
                    <a:lnTo>
                      <a:pt x="2" y="646"/>
                    </a:lnTo>
                    <a:lnTo>
                      <a:pt x="2" y="646"/>
                    </a:lnTo>
                    <a:cubicBezTo>
                      <a:pt x="0" y="675"/>
                      <a:pt x="16" y="702"/>
                      <a:pt x="51" y="722"/>
                    </a:cubicBezTo>
                    <a:lnTo>
                      <a:pt x="1240" y="1409"/>
                    </a:lnTo>
                    <a:lnTo>
                      <a:pt x="1240" y="1409"/>
                    </a:lnTo>
                    <a:cubicBezTo>
                      <a:pt x="1312" y="1451"/>
                      <a:pt x="1440" y="1446"/>
                      <a:pt x="1524" y="1397"/>
                    </a:cubicBezTo>
                    <a:lnTo>
                      <a:pt x="2672" y="734"/>
                    </a:lnTo>
                    <a:lnTo>
                      <a:pt x="2672" y="734"/>
                    </a:lnTo>
                    <a:cubicBezTo>
                      <a:pt x="2720" y="706"/>
                      <a:pt x="2744" y="670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4" name="Freeform 425">
                <a:extLst>
                  <a:ext uri="{FF2B5EF4-FFF2-40B4-BE49-F238E27FC236}">
                    <a16:creationId xmlns:a16="http://schemas.microsoft.com/office/drawing/2014/main" id="{6469E2C2-E4AE-3A4C-B155-F84361A70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51812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0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1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0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1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5" name="Freeform 426">
                <a:extLst>
                  <a:ext uri="{FF2B5EF4-FFF2-40B4-BE49-F238E27FC236}">
                    <a16:creationId xmlns:a16="http://schemas.microsoft.com/office/drawing/2014/main" id="{3A67C61F-4758-1A40-988E-70E1C7E8C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656381"/>
                <a:ext cx="69127" cy="348516"/>
              </a:xfrm>
              <a:custGeom>
                <a:avLst/>
                <a:gdLst>
                  <a:gd name="T0" fmla="*/ 106 w 107"/>
                  <a:gd name="T1" fmla="*/ 0 h 532"/>
                  <a:gd name="T2" fmla="*/ 2 w 107"/>
                  <a:gd name="T3" fmla="*/ 0 h 532"/>
                  <a:gd name="T4" fmla="*/ 2 w 107"/>
                  <a:gd name="T5" fmla="*/ 422 h 532"/>
                  <a:gd name="T6" fmla="*/ 2 w 107"/>
                  <a:gd name="T7" fmla="*/ 422 h 532"/>
                  <a:gd name="T8" fmla="*/ 51 w 107"/>
                  <a:gd name="T9" fmla="*/ 498 h 532"/>
                  <a:gd name="T10" fmla="*/ 106 w 107"/>
                  <a:gd name="T11" fmla="*/ 531 h 532"/>
                  <a:gd name="T12" fmla="*/ 106 w 107"/>
                  <a:gd name="T13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2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1"/>
                      <a:pt x="16" y="478"/>
                      <a:pt x="51" y="498"/>
                    </a:cubicBezTo>
                    <a:lnTo>
                      <a:pt x="106" y="531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6" name="Freeform 427">
                <a:extLst>
                  <a:ext uri="{FF2B5EF4-FFF2-40B4-BE49-F238E27FC236}">
                    <a16:creationId xmlns:a16="http://schemas.microsoft.com/office/drawing/2014/main" id="{96C8EFA2-7718-1148-BAE5-6EF436417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7120108"/>
                <a:ext cx="149776" cy="334115"/>
              </a:xfrm>
              <a:custGeom>
                <a:avLst/>
                <a:gdLst>
                  <a:gd name="T0" fmla="*/ 0 w 228"/>
                  <a:gd name="T1" fmla="*/ 482 h 510"/>
                  <a:gd name="T2" fmla="*/ 0 w 228"/>
                  <a:gd name="T3" fmla="*/ 482 h 510"/>
                  <a:gd name="T4" fmla="*/ 227 w 228"/>
                  <a:gd name="T5" fmla="*/ 479 h 510"/>
                  <a:gd name="T6" fmla="*/ 227 w 228"/>
                  <a:gd name="T7" fmla="*/ 0 h 510"/>
                  <a:gd name="T8" fmla="*/ 0 w 228"/>
                  <a:gd name="T9" fmla="*/ 0 h 510"/>
                  <a:gd name="T10" fmla="*/ 0 w 228"/>
                  <a:gd name="T11" fmla="*/ 482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10">
                    <a:moveTo>
                      <a:pt x="0" y="482"/>
                    </a:moveTo>
                    <a:lnTo>
                      <a:pt x="0" y="482"/>
                    </a:lnTo>
                    <a:cubicBezTo>
                      <a:pt x="63" y="509"/>
                      <a:pt x="154" y="507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2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7" name="Freeform 428">
                <a:extLst>
                  <a:ext uri="{FF2B5EF4-FFF2-40B4-BE49-F238E27FC236}">
                    <a16:creationId xmlns:a16="http://schemas.microsoft.com/office/drawing/2014/main" id="{ED9F160C-90F6-B748-8E71-B8B965B7D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6132167"/>
                <a:ext cx="1820351" cy="1051309"/>
              </a:xfrm>
              <a:custGeom>
                <a:avLst/>
                <a:gdLst>
                  <a:gd name="T0" fmla="*/ 1262 w 2789"/>
                  <a:gd name="T1" fmla="*/ 1566 h 1610"/>
                  <a:gd name="T2" fmla="*/ 73 w 2789"/>
                  <a:gd name="T3" fmla="*/ 880 h 1610"/>
                  <a:gd name="T4" fmla="*/ 73 w 2789"/>
                  <a:gd name="T5" fmla="*/ 880 h 1610"/>
                  <a:gd name="T6" fmla="*/ 93 w 2789"/>
                  <a:gd name="T7" fmla="*/ 716 h 1610"/>
                  <a:gd name="T8" fmla="*/ 1241 w 2789"/>
                  <a:gd name="T9" fmla="*/ 55 h 1610"/>
                  <a:gd name="T10" fmla="*/ 1241 w 2789"/>
                  <a:gd name="T11" fmla="*/ 55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2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6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6"/>
                    </a:moveTo>
                    <a:lnTo>
                      <a:pt x="73" y="880"/>
                    </a:lnTo>
                    <a:lnTo>
                      <a:pt x="73" y="880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5"/>
                    </a:lnTo>
                    <a:lnTo>
                      <a:pt x="1241" y="55"/>
                    </a:lnTo>
                    <a:cubicBezTo>
                      <a:pt x="1325" y="6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2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8" name="Freeform 429">
                <a:extLst>
                  <a:ext uri="{FF2B5EF4-FFF2-40B4-BE49-F238E27FC236}">
                    <a16:creationId xmlns:a16="http://schemas.microsoft.com/office/drawing/2014/main" id="{B9276BEF-88CE-9740-A00A-D4BE9ABD6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6215694"/>
                <a:ext cx="1526560" cy="881373"/>
              </a:xfrm>
              <a:custGeom>
                <a:avLst/>
                <a:gdLst>
                  <a:gd name="T0" fmla="*/ 1057 w 2336"/>
                  <a:gd name="T1" fmla="*/ 1312 h 1348"/>
                  <a:gd name="T2" fmla="*/ 61 w 2336"/>
                  <a:gd name="T3" fmla="*/ 737 h 1348"/>
                  <a:gd name="T4" fmla="*/ 61 w 2336"/>
                  <a:gd name="T5" fmla="*/ 737 h 1348"/>
                  <a:gd name="T6" fmla="*/ 78 w 2336"/>
                  <a:gd name="T7" fmla="*/ 599 h 1348"/>
                  <a:gd name="T8" fmla="*/ 1040 w 2336"/>
                  <a:gd name="T9" fmla="*/ 45 h 1348"/>
                  <a:gd name="T10" fmla="*/ 1040 w 2336"/>
                  <a:gd name="T11" fmla="*/ 45 h 1348"/>
                  <a:gd name="T12" fmla="*/ 1278 w 2336"/>
                  <a:gd name="T13" fmla="*/ 35 h 1348"/>
                  <a:gd name="T14" fmla="*/ 2274 w 2336"/>
                  <a:gd name="T15" fmla="*/ 609 h 1348"/>
                  <a:gd name="T16" fmla="*/ 2274 w 2336"/>
                  <a:gd name="T17" fmla="*/ 609 h 1348"/>
                  <a:gd name="T18" fmla="*/ 2257 w 2336"/>
                  <a:gd name="T19" fmla="*/ 747 h 1348"/>
                  <a:gd name="T20" fmla="*/ 1295 w 2336"/>
                  <a:gd name="T21" fmla="*/ 1302 h 1348"/>
                  <a:gd name="T22" fmla="*/ 1295 w 2336"/>
                  <a:gd name="T23" fmla="*/ 1302 h 1348"/>
                  <a:gd name="T24" fmla="*/ 1057 w 2336"/>
                  <a:gd name="T25" fmla="*/ 1312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8">
                    <a:moveTo>
                      <a:pt x="1057" y="1312"/>
                    </a:moveTo>
                    <a:lnTo>
                      <a:pt x="61" y="737"/>
                    </a:lnTo>
                    <a:lnTo>
                      <a:pt x="61" y="737"/>
                    </a:lnTo>
                    <a:cubicBezTo>
                      <a:pt x="0" y="702"/>
                      <a:pt x="7" y="640"/>
                      <a:pt x="78" y="599"/>
                    </a:cubicBezTo>
                    <a:lnTo>
                      <a:pt x="1040" y="45"/>
                    </a:lnTo>
                    <a:lnTo>
                      <a:pt x="1040" y="45"/>
                    </a:lnTo>
                    <a:cubicBezTo>
                      <a:pt x="1110" y="4"/>
                      <a:pt x="1217" y="0"/>
                      <a:pt x="1278" y="35"/>
                    </a:cubicBezTo>
                    <a:lnTo>
                      <a:pt x="2274" y="609"/>
                    </a:lnTo>
                    <a:lnTo>
                      <a:pt x="2274" y="609"/>
                    </a:lnTo>
                    <a:cubicBezTo>
                      <a:pt x="2335" y="644"/>
                      <a:pt x="2328" y="706"/>
                      <a:pt x="2257" y="747"/>
                    </a:cubicBezTo>
                    <a:lnTo>
                      <a:pt x="1295" y="1302"/>
                    </a:lnTo>
                    <a:lnTo>
                      <a:pt x="1295" y="1302"/>
                    </a:lnTo>
                    <a:cubicBezTo>
                      <a:pt x="1225" y="1343"/>
                      <a:pt x="1118" y="1347"/>
                      <a:pt x="1057" y="131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39" name="Freeform 433">
                <a:extLst>
                  <a:ext uri="{FF2B5EF4-FFF2-40B4-BE49-F238E27FC236}">
                    <a16:creationId xmlns:a16="http://schemas.microsoft.com/office/drawing/2014/main" id="{DA874264-4791-CF4A-9CAC-8FD50B34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0321"/>
                <a:ext cx="1791548" cy="947619"/>
              </a:xfrm>
              <a:custGeom>
                <a:avLst/>
                <a:gdLst>
                  <a:gd name="T0" fmla="*/ 2741 w 2745"/>
                  <a:gd name="T1" fmla="*/ 636 h 1451"/>
                  <a:gd name="T2" fmla="*/ 2741 w 2745"/>
                  <a:gd name="T3" fmla="*/ 636 h 1451"/>
                  <a:gd name="T4" fmla="*/ 2741 w 2745"/>
                  <a:gd name="T5" fmla="*/ 226 h 1451"/>
                  <a:gd name="T6" fmla="*/ 1822 w 2745"/>
                  <a:gd name="T7" fmla="*/ 225 h 1451"/>
                  <a:gd name="T8" fmla="*/ 1504 w 2745"/>
                  <a:gd name="T9" fmla="*/ 41 h 1451"/>
                  <a:gd name="T10" fmla="*/ 1504 w 2745"/>
                  <a:gd name="T11" fmla="*/ 41 h 1451"/>
                  <a:gd name="T12" fmla="*/ 1219 w 2745"/>
                  <a:gd name="T13" fmla="*/ 53 h 1451"/>
                  <a:gd name="T14" fmla="*/ 922 w 2745"/>
                  <a:gd name="T15" fmla="*/ 224 h 1451"/>
                  <a:gd name="T16" fmla="*/ 2 w 2745"/>
                  <a:gd name="T17" fmla="*/ 224 h 1451"/>
                  <a:gd name="T18" fmla="*/ 2 w 2745"/>
                  <a:gd name="T19" fmla="*/ 645 h 1451"/>
                  <a:gd name="T20" fmla="*/ 2 w 2745"/>
                  <a:gd name="T21" fmla="*/ 645 h 1451"/>
                  <a:gd name="T22" fmla="*/ 51 w 2745"/>
                  <a:gd name="T23" fmla="*/ 721 h 1451"/>
                  <a:gd name="T24" fmla="*/ 1240 w 2745"/>
                  <a:gd name="T25" fmla="*/ 1408 h 1451"/>
                  <a:gd name="T26" fmla="*/ 1240 w 2745"/>
                  <a:gd name="T27" fmla="*/ 1408 h 1451"/>
                  <a:gd name="T28" fmla="*/ 1524 w 2745"/>
                  <a:gd name="T29" fmla="*/ 1396 h 1451"/>
                  <a:gd name="T30" fmla="*/ 2672 w 2745"/>
                  <a:gd name="T31" fmla="*/ 733 h 1451"/>
                  <a:gd name="T32" fmla="*/ 2672 w 2745"/>
                  <a:gd name="T33" fmla="*/ 733 h 1451"/>
                  <a:gd name="T34" fmla="*/ 2741 w 2745"/>
                  <a:gd name="T35" fmla="*/ 636 h 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1">
                    <a:moveTo>
                      <a:pt x="2741" y="636"/>
                    </a:moveTo>
                    <a:lnTo>
                      <a:pt x="2741" y="636"/>
                    </a:lnTo>
                    <a:lnTo>
                      <a:pt x="2741" y="226"/>
                    </a:lnTo>
                    <a:lnTo>
                      <a:pt x="1822" y="225"/>
                    </a:lnTo>
                    <a:lnTo>
                      <a:pt x="1504" y="41"/>
                    </a:lnTo>
                    <a:lnTo>
                      <a:pt x="1504" y="41"/>
                    </a:lnTo>
                    <a:cubicBezTo>
                      <a:pt x="1431" y="0"/>
                      <a:pt x="1303" y="5"/>
                      <a:pt x="1219" y="53"/>
                    </a:cubicBezTo>
                    <a:lnTo>
                      <a:pt x="922" y="224"/>
                    </a:lnTo>
                    <a:lnTo>
                      <a:pt x="2" y="224"/>
                    </a:lnTo>
                    <a:lnTo>
                      <a:pt x="2" y="645"/>
                    </a:lnTo>
                    <a:lnTo>
                      <a:pt x="2" y="645"/>
                    </a:lnTo>
                    <a:cubicBezTo>
                      <a:pt x="0" y="673"/>
                      <a:pt x="16" y="701"/>
                      <a:pt x="51" y="721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0"/>
                      <a:pt x="1440" y="1445"/>
                      <a:pt x="1524" y="1396"/>
                    </a:cubicBezTo>
                    <a:lnTo>
                      <a:pt x="2672" y="733"/>
                    </a:lnTo>
                    <a:lnTo>
                      <a:pt x="2672" y="733"/>
                    </a:lnTo>
                    <a:cubicBezTo>
                      <a:pt x="2720" y="705"/>
                      <a:pt x="2744" y="669"/>
                      <a:pt x="2741" y="636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0" name="Freeform 434">
                <a:extLst>
                  <a:ext uri="{FF2B5EF4-FFF2-40B4-BE49-F238E27FC236}">
                    <a16:creationId xmlns:a16="http://schemas.microsoft.com/office/drawing/2014/main" id="{2317D876-F817-CA44-9F12-C84F327DF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088961"/>
                <a:ext cx="895773" cy="930339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2 h 1425"/>
                  <a:gd name="T12" fmla="*/ 2 w 1373"/>
                  <a:gd name="T13" fmla="*/ 632 h 1425"/>
                  <a:gd name="T14" fmla="*/ 51 w 1373"/>
                  <a:gd name="T15" fmla="*/ 708 h 1425"/>
                  <a:gd name="T16" fmla="*/ 1240 w 1373"/>
                  <a:gd name="T17" fmla="*/ 1395 h 1425"/>
                  <a:gd name="T18" fmla="*/ 1240 w 1373"/>
                  <a:gd name="T19" fmla="*/ 1395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2"/>
                    </a:lnTo>
                    <a:lnTo>
                      <a:pt x="2" y="632"/>
                    </a:lnTo>
                    <a:cubicBezTo>
                      <a:pt x="0" y="660"/>
                      <a:pt x="16" y="688"/>
                      <a:pt x="51" y="708"/>
                    </a:cubicBezTo>
                    <a:lnTo>
                      <a:pt x="1240" y="1395"/>
                    </a:lnTo>
                    <a:lnTo>
                      <a:pt x="1240" y="1395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1" name="Freeform 435">
                <a:extLst>
                  <a:ext uri="{FF2B5EF4-FFF2-40B4-BE49-F238E27FC236}">
                    <a16:creationId xmlns:a16="http://schemas.microsoft.com/office/drawing/2014/main" id="{E8F324F6-EF1F-634D-B9E7-844D2E5EB1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6227215"/>
                <a:ext cx="69127" cy="345636"/>
              </a:xfrm>
              <a:custGeom>
                <a:avLst/>
                <a:gdLst>
                  <a:gd name="T0" fmla="*/ 106 w 107"/>
                  <a:gd name="T1" fmla="*/ 0 h 530"/>
                  <a:gd name="T2" fmla="*/ 2 w 107"/>
                  <a:gd name="T3" fmla="*/ 0 h 530"/>
                  <a:gd name="T4" fmla="*/ 2 w 107"/>
                  <a:gd name="T5" fmla="*/ 421 h 530"/>
                  <a:gd name="T6" fmla="*/ 2 w 107"/>
                  <a:gd name="T7" fmla="*/ 421 h 530"/>
                  <a:gd name="T8" fmla="*/ 51 w 107"/>
                  <a:gd name="T9" fmla="*/ 497 h 530"/>
                  <a:gd name="T10" fmla="*/ 106 w 107"/>
                  <a:gd name="T11" fmla="*/ 529 h 530"/>
                  <a:gd name="T12" fmla="*/ 106 w 107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0">
                    <a:moveTo>
                      <a:pt x="106" y="0"/>
                    </a:moveTo>
                    <a:lnTo>
                      <a:pt x="2" y="0"/>
                    </a:lnTo>
                    <a:lnTo>
                      <a:pt x="2" y="421"/>
                    </a:lnTo>
                    <a:lnTo>
                      <a:pt x="2" y="421"/>
                    </a:lnTo>
                    <a:cubicBezTo>
                      <a:pt x="0" y="449"/>
                      <a:pt x="16" y="477"/>
                      <a:pt x="51" y="497"/>
                    </a:cubicBezTo>
                    <a:lnTo>
                      <a:pt x="106" y="529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2" name="Freeform 436">
                <a:extLst>
                  <a:ext uri="{FF2B5EF4-FFF2-40B4-BE49-F238E27FC236}">
                    <a16:creationId xmlns:a16="http://schemas.microsoft.com/office/drawing/2014/main" id="{0298C64C-6005-5541-A6A1-0470CEBED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693824"/>
                <a:ext cx="149776" cy="331236"/>
              </a:xfrm>
              <a:custGeom>
                <a:avLst/>
                <a:gdLst>
                  <a:gd name="T0" fmla="*/ 0 w 228"/>
                  <a:gd name="T1" fmla="*/ 481 h 509"/>
                  <a:gd name="T2" fmla="*/ 0 w 228"/>
                  <a:gd name="T3" fmla="*/ 481 h 509"/>
                  <a:gd name="T4" fmla="*/ 227 w 228"/>
                  <a:gd name="T5" fmla="*/ 479 h 509"/>
                  <a:gd name="T6" fmla="*/ 227 w 228"/>
                  <a:gd name="T7" fmla="*/ 0 h 509"/>
                  <a:gd name="T8" fmla="*/ 0 w 228"/>
                  <a:gd name="T9" fmla="*/ 0 h 509"/>
                  <a:gd name="T10" fmla="*/ 0 w 228"/>
                  <a:gd name="T11" fmla="*/ 4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9">
                    <a:moveTo>
                      <a:pt x="0" y="481"/>
                    </a:moveTo>
                    <a:lnTo>
                      <a:pt x="0" y="481"/>
                    </a:lnTo>
                    <a:cubicBezTo>
                      <a:pt x="63" y="508"/>
                      <a:pt x="154" y="506"/>
                      <a:pt x="227" y="479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1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3" name="Freeform 437">
                <a:extLst>
                  <a:ext uri="{FF2B5EF4-FFF2-40B4-BE49-F238E27FC236}">
                    <a16:creationId xmlns:a16="http://schemas.microsoft.com/office/drawing/2014/main" id="{86507EC7-8D9F-8249-9637-61418F9769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703000"/>
                <a:ext cx="1820351" cy="1051311"/>
              </a:xfrm>
              <a:custGeom>
                <a:avLst/>
                <a:gdLst>
                  <a:gd name="T0" fmla="*/ 1262 w 2789"/>
                  <a:gd name="T1" fmla="*/ 1566 h 1609"/>
                  <a:gd name="T2" fmla="*/ 73 w 2789"/>
                  <a:gd name="T3" fmla="*/ 881 h 1609"/>
                  <a:gd name="T4" fmla="*/ 73 w 2789"/>
                  <a:gd name="T5" fmla="*/ 881 h 1609"/>
                  <a:gd name="T6" fmla="*/ 93 w 2789"/>
                  <a:gd name="T7" fmla="*/ 716 h 1609"/>
                  <a:gd name="T8" fmla="*/ 1241 w 2789"/>
                  <a:gd name="T9" fmla="*/ 54 h 1609"/>
                  <a:gd name="T10" fmla="*/ 1241 w 2789"/>
                  <a:gd name="T11" fmla="*/ 54 h 1609"/>
                  <a:gd name="T12" fmla="*/ 1526 w 2789"/>
                  <a:gd name="T13" fmla="*/ 42 h 1609"/>
                  <a:gd name="T14" fmla="*/ 2715 w 2789"/>
                  <a:gd name="T15" fmla="*/ 728 h 1609"/>
                  <a:gd name="T16" fmla="*/ 2715 w 2789"/>
                  <a:gd name="T17" fmla="*/ 728 h 1609"/>
                  <a:gd name="T18" fmla="*/ 2694 w 2789"/>
                  <a:gd name="T19" fmla="*/ 893 h 1609"/>
                  <a:gd name="T20" fmla="*/ 1546 w 2789"/>
                  <a:gd name="T21" fmla="*/ 1554 h 1609"/>
                  <a:gd name="T22" fmla="*/ 1546 w 2789"/>
                  <a:gd name="T23" fmla="*/ 1554 h 1609"/>
                  <a:gd name="T24" fmla="*/ 1262 w 2789"/>
                  <a:gd name="T25" fmla="*/ 1566 h 1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09">
                    <a:moveTo>
                      <a:pt x="1262" y="1566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9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1"/>
                      <a:pt x="2778" y="844"/>
                      <a:pt x="2694" y="893"/>
                    </a:cubicBezTo>
                    <a:lnTo>
                      <a:pt x="1546" y="1554"/>
                    </a:lnTo>
                    <a:lnTo>
                      <a:pt x="1546" y="1554"/>
                    </a:lnTo>
                    <a:cubicBezTo>
                      <a:pt x="1462" y="1603"/>
                      <a:pt x="1334" y="1608"/>
                      <a:pt x="1262" y="1566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4" name="Freeform 438">
                <a:extLst>
                  <a:ext uri="{FF2B5EF4-FFF2-40B4-BE49-F238E27FC236}">
                    <a16:creationId xmlns:a16="http://schemas.microsoft.com/office/drawing/2014/main" id="{529AF27F-87BB-1443-9029-88093F64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8698" y="5789409"/>
                <a:ext cx="1526560" cy="881373"/>
              </a:xfrm>
              <a:custGeom>
                <a:avLst/>
                <a:gdLst>
                  <a:gd name="T0" fmla="*/ 1057 w 2336"/>
                  <a:gd name="T1" fmla="*/ 1313 h 1349"/>
                  <a:gd name="T2" fmla="*/ 61 w 2336"/>
                  <a:gd name="T3" fmla="*/ 739 h 1349"/>
                  <a:gd name="T4" fmla="*/ 61 w 2336"/>
                  <a:gd name="T5" fmla="*/ 739 h 1349"/>
                  <a:gd name="T6" fmla="*/ 78 w 2336"/>
                  <a:gd name="T7" fmla="*/ 601 h 1349"/>
                  <a:gd name="T8" fmla="*/ 1040 w 2336"/>
                  <a:gd name="T9" fmla="*/ 46 h 1349"/>
                  <a:gd name="T10" fmla="*/ 1040 w 2336"/>
                  <a:gd name="T11" fmla="*/ 46 h 1349"/>
                  <a:gd name="T12" fmla="*/ 1278 w 2336"/>
                  <a:gd name="T13" fmla="*/ 36 h 1349"/>
                  <a:gd name="T14" fmla="*/ 2274 w 2336"/>
                  <a:gd name="T15" fmla="*/ 611 h 1349"/>
                  <a:gd name="T16" fmla="*/ 2274 w 2336"/>
                  <a:gd name="T17" fmla="*/ 611 h 1349"/>
                  <a:gd name="T18" fmla="*/ 2257 w 2336"/>
                  <a:gd name="T19" fmla="*/ 749 h 1349"/>
                  <a:gd name="T20" fmla="*/ 1295 w 2336"/>
                  <a:gd name="T21" fmla="*/ 1303 h 1349"/>
                  <a:gd name="T22" fmla="*/ 1295 w 2336"/>
                  <a:gd name="T23" fmla="*/ 1303 h 1349"/>
                  <a:gd name="T24" fmla="*/ 1057 w 2336"/>
                  <a:gd name="T25" fmla="*/ 1313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36" h="1349">
                    <a:moveTo>
                      <a:pt x="1057" y="1313"/>
                    </a:moveTo>
                    <a:lnTo>
                      <a:pt x="61" y="739"/>
                    </a:lnTo>
                    <a:lnTo>
                      <a:pt x="61" y="739"/>
                    </a:lnTo>
                    <a:cubicBezTo>
                      <a:pt x="0" y="703"/>
                      <a:pt x="7" y="642"/>
                      <a:pt x="78" y="601"/>
                    </a:cubicBezTo>
                    <a:lnTo>
                      <a:pt x="1040" y="46"/>
                    </a:lnTo>
                    <a:lnTo>
                      <a:pt x="1040" y="46"/>
                    </a:lnTo>
                    <a:cubicBezTo>
                      <a:pt x="1110" y="4"/>
                      <a:pt x="1217" y="0"/>
                      <a:pt x="1278" y="36"/>
                    </a:cubicBezTo>
                    <a:lnTo>
                      <a:pt x="2274" y="611"/>
                    </a:lnTo>
                    <a:lnTo>
                      <a:pt x="2274" y="611"/>
                    </a:lnTo>
                    <a:cubicBezTo>
                      <a:pt x="2335" y="646"/>
                      <a:pt x="2328" y="707"/>
                      <a:pt x="2257" y="749"/>
                    </a:cubicBezTo>
                    <a:lnTo>
                      <a:pt x="1295" y="1303"/>
                    </a:lnTo>
                    <a:lnTo>
                      <a:pt x="1295" y="1303"/>
                    </a:lnTo>
                    <a:cubicBezTo>
                      <a:pt x="1225" y="1343"/>
                      <a:pt x="1118" y="1348"/>
                      <a:pt x="1057" y="131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5" name="Freeform 443">
                <a:extLst>
                  <a:ext uri="{FF2B5EF4-FFF2-40B4-BE49-F238E27FC236}">
                    <a16:creationId xmlns:a16="http://schemas.microsoft.com/office/drawing/2014/main" id="{BD348727-96FE-A442-BB29-882A214E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1154"/>
                <a:ext cx="1791548" cy="947620"/>
              </a:xfrm>
              <a:custGeom>
                <a:avLst/>
                <a:gdLst>
                  <a:gd name="T0" fmla="*/ 2741 w 2745"/>
                  <a:gd name="T1" fmla="*/ 637 h 1452"/>
                  <a:gd name="T2" fmla="*/ 2741 w 2745"/>
                  <a:gd name="T3" fmla="*/ 637 h 1452"/>
                  <a:gd name="T4" fmla="*/ 2741 w 2745"/>
                  <a:gd name="T5" fmla="*/ 226 h 1452"/>
                  <a:gd name="T6" fmla="*/ 1822 w 2745"/>
                  <a:gd name="T7" fmla="*/ 226 h 1452"/>
                  <a:gd name="T8" fmla="*/ 1504 w 2745"/>
                  <a:gd name="T9" fmla="*/ 43 h 1452"/>
                  <a:gd name="T10" fmla="*/ 1504 w 2745"/>
                  <a:gd name="T11" fmla="*/ 43 h 1452"/>
                  <a:gd name="T12" fmla="*/ 1219 w 2745"/>
                  <a:gd name="T13" fmla="*/ 54 h 1452"/>
                  <a:gd name="T14" fmla="*/ 922 w 2745"/>
                  <a:gd name="T15" fmla="*/ 225 h 1452"/>
                  <a:gd name="T16" fmla="*/ 2 w 2745"/>
                  <a:gd name="T17" fmla="*/ 225 h 1452"/>
                  <a:gd name="T18" fmla="*/ 2 w 2745"/>
                  <a:gd name="T19" fmla="*/ 647 h 1452"/>
                  <a:gd name="T20" fmla="*/ 2 w 2745"/>
                  <a:gd name="T21" fmla="*/ 647 h 1452"/>
                  <a:gd name="T22" fmla="*/ 51 w 2745"/>
                  <a:gd name="T23" fmla="*/ 723 h 1452"/>
                  <a:gd name="T24" fmla="*/ 1240 w 2745"/>
                  <a:gd name="T25" fmla="*/ 1408 h 1452"/>
                  <a:gd name="T26" fmla="*/ 1240 w 2745"/>
                  <a:gd name="T27" fmla="*/ 1408 h 1452"/>
                  <a:gd name="T28" fmla="*/ 1524 w 2745"/>
                  <a:gd name="T29" fmla="*/ 1397 h 1452"/>
                  <a:gd name="T30" fmla="*/ 2672 w 2745"/>
                  <a:gd name="T31" fmla="*/ 735 h 1452"/>
                  <a:gd name="T32" fmla="*/ 2672 w 2745"/>
                  <a:gd name="T33" fmla="*/ 735 h 1452"/>
                  <a:gd name="T34" fmla="*/ 2741 w 2745"/>
                  <a:gd name="T35" fmla="*/ 637 h 1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45" h="1452">
                    <a:moveTo>
                      <a:pt x="2741" y="637"/>
                    </a:moveTo>
                    <a:lnTo>
                      <a:pt x="2741" y="637"/>
                    </a:lnTo>
                    <a:lnTo>
                      <a:pt x="2741" y="226"/>
                    </a:lnTo>
                    <a:lnTo>
                      <a:pt x="1822" y="226"/>
                    </a:lnTo>
                    <a:lnTo>
                      <a:pt x="1504" y="43"/>
                    </a:lnTo>
                    <a:lnTo>
                      <a:pt x="1504" y="43"/>
                    </a:lnTo>
                    <a:cubicBezTo>
                      <a:pt x="1431" y="0"/>
                      <a:pt x="1303" y="6"/>
                      <a:pt x="1219" y="54"/>
                    </a:cubicBezTo>
                    <a:lnTo>
                      <a:pt x="922" y="225"/>
                    </a:lnTo>
                    <a:lnTo>
                      <a:pt x="2" y="225"/>
                    </a:lnTo>
                    <a:lnTo>
                      <a:pt x="2" y="647"/>
                    </a:lnTo>
                    <a:lnTo>
                      <a:pt x="2" y="647"/>
                    </a:lnTo>
                    <a:cubicBezTo>
                      <a:pt x="0" y="675"/>
                      <a:pt x="16" y="703"/>
                      <a:pt x="51" y="723"/>
                    </a:cubicBezTo>
                    <a:lnTo>
                      <a:pt x="1240" y="1408"/>
                    </a:lnTo>
                    <a:lnTo>
                      <a:pt x="1240" y="1408"/>
                    </a:lnTo>
                    <a:cubicBezTo>
                      <a:pt x="1312" y="1451"/>
                      <a:pt x="1440" y="1445"/>
                      <a:pt x="1524" y="1397"/>
                    </a:cubicBezTo>
                    <a:lnTo>
                      <a:pt x="2672" y="735"/>
                    </a:lnTo>
                    <a:lnTo>
                      <a:pt x="2672" y="735"/>
                    </a:lnTo>
                    <a:cubicBezTo>
                      <a:pt x="2720" y="707"/>
                      <a:pt x="2744" y="671"/>
                      <a:pt x="2741" y="637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6" name="Freeform 444">
                <a:extLst>
                  <a:ext uri="{FF2B5EF4-FFF2-40B4-BE49-F238E27FC236}">
                    <a16:creationId xmlns:a16="http://schemas.microsoft.com/office/drawing/2014/main" id="{5AF0AE1C-CE32-374A-84CC-1BFBEF0F2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659796"/>
                <a:ext cx="895773" cy="930337"/>
              </a:xfrm>
              <a:custGeom>
                <a:avLst/>
                <a:gdLst>
                  <a:gd name="T0" fmla="*/ 1372 w 1373"/>
                  <a:gd name="T1" fmla="*/ 0 h 1425"/>
                  <a:gd name="T2" fmla="*/ 1372 w 1373"/>
                  <a:gd name="T3" fmla="*/ 0 h 1425"/>
                  <a:gd name="T4" fmla="*/ 1219 w 1373"/>
                  <a:gd name="T5" fmla="*/ 40 h 1425"/>
                  <a:gd name="T6" fmla="*/ 922 w 1373"/>
                  <a:gd name="T7" fmla="*/ 211 h 1425"/>
                  <a:gd name="T8" fmla="*/ 2 w 1373"/>
                  <a:gd name="T9" fmla="*/ 211 h 1425"/>
                  <a:gd name="T10" fmla="*/ 2 w 1373"/>
                  <a:gd name="T11" fmla="*/ 633 h 1425"/>
                  <a:gd name="T12" fmla="*/ 2 w 1373"/>
                  <a:gd name="T13" fmla="*/ 633 h 1425"/>
                  <a:gd name="T14" fmla="*/ 51 w 1373"/>
                  <a:gd name="T15" fmla="*/ 709 h 1425"/>
                  <a:gd name="T16" fmla="*/ 1240 w 1373"/>
                  <a:gd name="T17" fmla="*/ 1394 h 1425"/>
                  <a:gd name="T18" fmla="*/ 1240 w 1373"/>
                  <a:gd name="T19" fmla="*/ 1394 h 1425"/>
                  <a:gd name="T20" fmla="*/ 1372 w 1373"/>
                  <a:gd name="T21" fmla="*/ 1423 h 1425"/>
                  <a:gd name="T22" fmla="*/ 1372 w 1373"/>
                  <a:gd name="T23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3" h="1425">
                    <a:moveTo>
                      <a:pt x="1372" y="0"/>
                    </a:moveTo>
                    <a:lnTo>
                      <a:pt x="1372" y="0"/>
                    </a:lnTo>
                    <a:cubicBezTo>
                      <a:pt x="1318" y="2"/>
                      <a:pt x="1262" y="15"/>
                      <a:pt x="1219" y="40"/>
                    </a:cubicBezTo>
                    <a:lnTo>
                      <a:pt x="922" y="211"/>
                    </a:lnTo>
                    <a:lnTo>
                      <a:pt x="2" y="211"/>
                    </a:lnTo>
                    <a:lnTo>
                      <a:pt x="2" y="633"/>
                    </a:lnTo>
                    <a:lnTo>
                      <a:pt x="2" y="633"/>
                    </a:lnTo>
                    <a:cubicBezTo>
                      <a:pt x="0" y="661"/>
                      <a:pt x="16" y="689"/>
                      <a:pt x="51" y="709"/>
                    </a:cubicBezTo>
                    <a:lnTo>
                      <a:pt x="1240" y="1394"/>
                    </a:lnTo>
                    <a:lnTo>
                      <a:pt x="1240" y="1394"/>
                    </a:lnTo>
                    <a:cubicBezTo>
                      <a:pt x="1275" y="1415"/>
                      <a:pt x="1322" y="1424"/>
                      <a:pt x="1372" y="1423"/>
                    </a:cubicBezTo>
                    <a:lnTo>
                      <a:pt x="1372" y="0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7" name="Freeform 445">
                <a:extLst>
                  <a:ext uri="{FF2B5EF4-FFF2-40B4-BE49-F238E27FC236}">
                    <a16:creationId xmlns:a16="http://schemas.microsoft.com/office/drawing/2014/main" id="{EB24561D-022F-1648-9341-ED8257299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6204" y="5798051"/>
                <a:ext cx="69127" cy="345636"/>
              </a:xfrm>
              <a:custGeom>
                <a:avLst/>
                <a:gdLst>
                  <a:gd name="T0" fmla="*/ 106 w 107"/>
                  <a:gd name="T1" fmla="*/ 0 h 531"/>
                  <a:gd name="T2" fmla="*/ 2 w 107"/>
                  <a:gd name="T3" fmla="*/ 0 h 531"/>
                  <a:gd name="T4" fmla="*/ 2 w 107"/>
                  <a:gd name="T5" fmla="*/ 422 h 531"/>
                  <a:gd name="T6" fmla="*/ 2 w 107"/>
                  <a:gd name="T7" fmla="*/ 422 h 531"/>
                  <a:gd name="T8" fmla="*/ 51 w 107"/>
                  <a:gd name="T9" fmla="*/ 498 h 531"/>
                  <a:gd name="T10" fmla="*/ 106 w 107"/>
                  <a:gd name="T11" fmla="*/ 530 h 531"/>
                  <a:gd name="T12" fmla="*/ 106 w 107"/>
                  <a:gd name="T13" fmla="*/ 0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531">
                    <a:moveTo>
                      <a:pt x="106" y="0"/>
                    </a:moveTo>
                    <a:lnTo>
                      <a:pt x="2" y="0"/>
                    </a:lnTo>
                    <a:lnTo>
                      <a:pt x="2" y="422"/>
                    </a:lnTo>
                    <a:lnTo>
                      <a:pt x="2" y="422"/>
                    </a:lnTo>
                    <a:cubicBezTo>
                      <a:pt x="0" y="450"/>
                      <a:pt x="16" y="478"/>
                      <a:pt x="51" y="498"/>
                    </a:cubicBezTo>
                    <a:lnTo>
                      <a:pt x="106" y="530"/>
                    </a:lnTo>
                    <a:lnTo>
                      <a:pt x="106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8" name="Freeform 446">
                <a:extLst>
                  <a:ext uri="{FF2B5EF4-FFF2-40B4-BE49-F238E27FC236}">
                    <a16:creationId xmlns:a16="http://schemas.microsoft.com/office/drawing/2014/main" id="{A199A5F7-5384-994C-84E3-7C4626F9A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7089" y="6261779"/>
                <a:ext cx="149776" cy="331236"/>
              </a:xfrm>
              <a:custGeom>
                <a:avLst/>
                <a:gdLst>
                  <a:gd name="T0" fmla="*/ 0 w 228"/>
                  <a:gd name="T1" fmla="*/ 480 h 508"/>
                  <a:gd name="T2" fmla="*/ 0 w 228"/>
                  <a:gd name="T3" fmla="*/ 480 h 508"/>
                  <a:gd name="T4" fmla="*/ 227 w 228"/>
                  <a:gd name="T5" fmla="*/ 478 h 508"/>
                  <a:gd name="T6" fmla="*/ 227 w 228"/>
                  <a:gd name="T7" fmla="*/ 0 h 508"/>
                  <a:gd name="T8" fmla="*/ 0 w 228"/>
                  <a:gd name="T9" fmla="*/ 0 h 508"/>
                  <a:gd name="T10" fmla="*/ 0 w 228"/>
                  <a:gd name="T11" fmla="*/ 480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508">
                    <a:moveTo>
                      <a:pt x="0" y="480"/>
                    </a:moveTo>
                    <a:lnTo>
                      <a:pt x="0" y="480"/>
                    </a:lnTo>
                    <a:cubicBezTo>
                      <a:pt x="63" y="507"/>
                      <a:pt x="154" y="506"/>
                      <a:pt x="227" y="478"/>
                    </a:cubicBezTo>
                    <a:lnTo>
                      <a:pt x="227" y="0"/>
                    </a:lnTo>
                    <a:lnTo>
                      <a:pt x="0" y="0"/>
                    </a:lnTo>
                    <a:lnTo>
                      <a:pt x="0" y="48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49" name="Freeform 447">
                <a:extLst>
                  <a:ext uri="{FF2B5EF4-FFF2-40B4-BE49-F238E27FC236}">
                    <a16:creationId xmlns:a16="http://schemas.microsoft.com/office/drawing/2014/main" id="{69DABD58-A91B-A145-931E-C072D22C2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61801" y="5273837"/>
                <a:ext cx="1820351" cy="1051309"/>
              </a:xfrm>
              <a:custGeom>
                <a:avLst/>
                <a:gdLst>
                  <a:gd name="T0" fmla="*/ 1262 w 2789"/>
                  <a:gd name="T1" fmla="*/ 1567 h 1610"/>
                  <a:gd name="T2" fmla="*/ 73 w 2789"/>
                  <a:gd name="T3" fmla="*/ 881 h 1610"/>
                  <a:gd name="T4" fmla="*/ 73 w 2789"/>
                  <a:gd name="T5" fmla="*/ 881 h 1610"/>
                  <a:gd name="T6" fmla="*/ 93 w 2789"/>
                  <a:gd name="T7" fmla="*/ 716 h 1610"/>
                  <a:gd name="T8" fmla="*/ 1241 w 2789"/>
                  <a:gd name="T9" fmla="*/ 54 h 1610"/>
                  <a:gd name="T10" fmla="*/ 1241 w 2789"/>
                  <a:gd name="T11" fmla="*/ 54 h 1610"/>
                  <a:gd name="T12" fmla="*/ 1526 w 2789"/>
                  <a:gd name="T13" fmla="*/ 42 h 1610"/>
                  <a:gd name="T14" fmla="*/ 2715 w 2789"/>
                  <a:gd name="T15" fmla="*/ 728 h 1610"/>
                  <a:gd name="T16" fmla="*/ 2715 w 2789"/>
                  <a:gd name="T17" fmla="*/ 728 h 1610"/>
                  <a:gd name="T18" fmla="*/ 2694 w 2789"/>
                  <a:gd name="T19" fmla="*/ 893 h 1610"/>
                  <a:gd name="T20" fmla="*/ 1546 w 2789"/>
                  <a:gd name="T21" fmla="*/ 1555 h 1610"/>
                  <a:gd name="T22" fmla="*/ 1546 w 2789"/>
                  <a:gd name="T23" fmla="*/ 1555 h 1610"/>
                  <a:gd name="T24" fmla="*/ 1262 w 2789"/>
                  <a:gd name="T25" fmla="*/ 1567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89" h="1610">
                    <a:moveTo>
                      <a:pt x="1262" y="1567"/>
                    </a:moveTo>
                    <a:lnTo>
                      <a:pt x="73" y="881"/>
                    </a:lnTo>
                    <a:lnTo>
                      <a:pt x="73" y="881"/>
                    </a:lnTo>
                    <a:cubicBezTo>
                      <a:pt x="0" y="838"/>
                      <a:pt x="9" y="765"/>
                      <a:pt x="93" y="716"/>
                    </a:cubicBezTo>
                    <a:lnTo>
                      <a:pt x="1241" y="54"/>
                    </a:lnTo>
                    <a:lnTo>
                      <a:pt x="1241" y="54"/>
                    </a:lnTo>
                    <a:cubicBezTo>
                      <a:pt x="1325" y="5"/>
                      <a:pt x="1453" y="0"/>
                      <a:pt x="1526" y="42"/>
                    </a:cubicBezTo>
                    <a:lnTo>
                      <a:pt x="2715" y="728"/>
                    </a:lnTo>
                    <a:lnTo>
                      <a:pt x="2715" y="728"/>
                    </a:lnTo>
                    <a:cubicBezTo>
                      <a:pt x="2788" y="770"/>
                      <a:pt x="2778" y="844"/>
                      <a:pt x="2694" y="893"/>
                    </a:cubicBezTo>
                    <a:lnTo>
                      <a:pt x="1546" y="1555"/>
                    </a:lnTo>
                    <a:lnTo>
                      <a:pt x="1546" y="1555"/>
                    </a:lnTo>
                    <a:cubicBezTo>
                      <a:pt x="1462" y="1604"/>
                      <a:pt x="1334" y="1609"/>
                      <a:pt x="1262" y="1567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0" name="Freeform 448">
                <a:extLst>
                  <a:ext uri="{FF2B5EF4-FFF2-40B4-BE49-F238E27FC236}">
                    <a16:creationId xmlns:a16="http://schemas.microsoft.com/office/drawing/2014/main" id="{BBDD4292-1C81-1F40-B8CA-209963297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0443" y="5769249"/>
                <a:ext cx="1808830" cy="555897"/>
              </a:xfrm>
              <a:custGeom>
                <a:avLst/>
                <a:gdLst>
                  <a:gd name="T0" fmla="*/ 2683 w 2769"/>
                  <a:gd name="T1" fmla="*/ 52 h 850"/>
                  <a:gd name="T2" fmla="*/ 1535 w 2769"/>
                  <a:gd name="T3" fmla="*/ 715 h 850"/>
                  <a:gd name="T4" fmla="*/ 1535 w 2769"/>
                  <a:gd name="T5" fmla="*/ 715 h 850"/>
                  <a:gd name="T6" fmla="*/ 1251 w 2769"/>
                  <a:gd name="T7" fmla="*/ 726 h 850"/>
                  <a:gd name="T8" fmla="*/ 62 w 2769"/>
                  <a:gd name="T9" fmla="*/ 40 h 850"/>
                  <a:gd name="T10" fmla="*/ 62 w 2769"/>
                  <a:gd name="T11" fmla="*/ 40 h 850"/>
                  <a:gd name="T12" fmla="*/ 26 w 2769"/>
                  <a:gd name="T13" fmla="*/ 8 h 850"/>
                  <a:gd name="T14" fmla="*/ 26 w 2769"/>
                  <a:gd name="T15" fmla="*/ 8 h 850"/>
                  <a:gd name="T16" fmla="*/ 62 w 2769"/>
                  <a:gd name="T17" fmla="*/ 121 h 850"/>
                  <a:gd name="T18" fmla="*/ 1251 w 2769"/>
                  <a:gd name="T19" fmla="*/ 807 h 850"/>
                  <a:gd name="T20" fmla="*/ 1251 w 2769"/>
                  <a:gd name="T21" fmla="*/ 807 h 850"/>
                  <a:gd name="T22" fmla="*/ 1535 w 2769"/>
                  <a:gd name="T23" fmla="*/ 795 h 850"/>
                  <a:gd name="T24" fmla="*/ 2683 w 2769"/>
                  <a:gd name="T25" fmla="*/ 133 h 850"/>
                  <a:gd name="T26" fmla="*/ 2683 w 2769"/>
                  <a:gd name="T27" fmla="*/ 133 h 850"/>
                  <a:gd name="T28" fmla="*/ 2739 w 2769"/>
                  <a:gd name="T29" fmla="*/ 0 h 850"/>
                  <a:gd name="T30" fmla="*/ 2739 w 2769"/>
                  <a:gd name="T31" fmla="*/ 0 h 850"/>
                  <a:gd name="T32" fmla="*/ 2683 w 2769"/>
                  <a:gd name="T33" fmla="*/ 52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69" h="850">
                    <a:moveTo>
                      <a:pt x="2683" y="52"/>
                    </a:moveTo>
                    <a:lnTo>
                      <a:pt x="1535" y="715"/>
                    </a:lnTo>
                    <a:lnTo>
                      <a:pt x="1535" y="715"/>
                    </a:lnTo>
                    <a:cubicBezTo>
                      <a:pt x="1451" y="763"/>
                      <a:pt x="1323" y="769"/>
                      <a:pt x="1251" y="726"/>
                    </a:cubicBezTo>
                    <a:lnTo>
                      <a:pt x="62" y="40"/>
                    </a:lnTo>
                    <a:lnTo>
                      <a:pt x="62" y="40"/>
                    </a:lnTo>
                    <a:cubicBezTo>
                      <a:pt x="46" y="31"/>
                      <a:pt x="34" y="20"/>
                      <a:pt x="26" y="8"/>
                    </a:cubicBezTo>
                    <a:lnTo>
                      <a:pt x="26" y="8"/>
                    </a:lnTo>
                    <a:cubicBezTo>
                      <a:pt x="0" y="48"/>
                      <a:pt x="12" y="92"/>
                      <a:pt x="62" y="121"/>
                    </a:cubicBezTo>
                    <a:lnTo>
                      <a:pt x="1251" y="807"/>
                    </a:lnTo>
                    <a:lnTo>
                      <a:pt x="1251" y="807"/>
                    </a:lnTo>
                    <a:cubicBezTo>
                      <a:pt x="1323" y="849"/>
                      <a:pt x="1451" y="844"/>
                      <a:pt x="1535" y="795"/>
                    </a:cubicBezTo>
                    <a:lnTo>
                      <a:pt x="2683" y="133"/>
                    </a:lnTo>
                    <a:lnTo>
                      <a:pt x="2683" y="133"/>
                    </a:lnTo>
                    <a:cubicBezTo>
                      <a:pt x="2748" y="95"/>
                      <a:pt x="2768" y="42"/>
                      <a:pt x="2739" y="0"/>
                    </a:cubicBezTo>
                    <a:lnTo>
                      <a:pt x="2739" y="0"/>
                    </a:lnTo>
                    <a:cubicBezTo>
                      <a:pt x="2728" y="19"/>
                      <a:pt x="2709" y="37"/>
                      <a:pt x="2683" y="52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1" name="Freeform 350">
                <a:extLst>
                  <a:ext uri="{FF2B5EF4-FFF2-40B4-BE49-F238E27FC236}">
                    <a16:creationId xmlns:a16="http://schemas.microsoft.com/office/drawing/2014/main" id="{E3B20D7B-7878-E04C-9C48-255326A2B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6827" y="5996592"/>
                <a:ext cx="1096742" cy="2646449"/>
              </a:xfrm>
              <a:custGeom>
                <a:avLst/>
                <a:gdLst>
                  <a:gd name="connsiteX0" fmla="*/ 113433 w 1096742"/>
                  <a:gd name="connsiteY0" fmla="*/ 2563271 h 2646449"/>
                  <a:gd name="connsiteX1" fmla="*/ 136814 w 1096742"/>
                  <a:gd name="connsiteY1" fmla="*/ 2565475 h 2646449"/>
                  <a:gd name="connsiteX2" fmla="*/ 169288 w 1096742"/>
                  <a:gd name="connsiteY2" fmla="*/ 2622927 h 2646449"/>
                  <a:gd name="connsiteX3" fmla="*/ 136814 w 1096742"/>
                  <a:gd name="connsiteY3" fmla="*/ 2641860 h 2646449"/>
                  <a:gd name="connsiteX4" fmla="*/ 103691 w 1096742"/>
                  <a:gd name="connsiteY4" fmla="*/ 2585061 h 2646449"/>
                  <a:gd name="connsiteX5" fmla="*/ 113433 w 1096742"/>
                  <a:gd name="connsiteY5" fmla="*/ 2563271 h 2646449"/>
                  <a:gd name="connsiteX6" fmla="*/ 9742 w 1096742"/>
                  <a:gd name="connsiteY6" fmla="*/ 2505665 h 2646449"/>
                  <a:gd name="connsiteX7" fmla="*/ 33123 w 1096742"/>
                  <a:gd name="connsiteY7" fmla="*/ 2507869 h 2646449"/>
                  <a:gd name="connsiteX8" fmla="*/ 65597 w 1096742"/>
                  <a:gd name="connsiteY8" fmla="*/ 2565321 h 2646449"/>
                  <a:gd name="connsiteX9" fmla="*/ 33123 w 1096742"/>
                  <a:gd name="connsiteY9" fmla="*/ 2584254 h 2646449"/>
                  <a:gd name="connsiteX10" fmla="*/ 0 w 1096742"/>
                  <a:gd name="connsiteY10" fmla="*/ 2527455 h 2646449"/>
                  <a:gd name="connsiteX11" fmla="*/ 9742 w 1096742"/>
                  <a:gd name="connsiteY11" fmla="*/ 2505665 h 2646449"/>
                  <a:gd name="connsiteX12" fmla="*/ 113433 w 1096742"/>
                  <a:gd name="connsiteY12" fmla="*/ 2439336 h 2646449"/>
                  <a:gd name="connsiteX13" fmla="*/ 136814 w 1096742"/>
                  <a:gd name="connsiteY13" fmla="*/ 2441621 h 2646449"/>
                  <a:gd name="connsiteX14" fmla="*/ 169288 w 1096742"/>
                  <a:gd name="connsiteY14" fmla="*/ 2499073 h 2646449"/>
                  <a:gd name="connsiteX15" fmla="*/ 136814 w 1096742"/>
                  <a:gd name="connsiteY15" fmla="*/ 2518006 h 2646449"/>
                  <a:gd name="connsiteX16" fmla="*/ 103691 w 1096742"/>
                  <a:gd name="connsiteY16" fmla="*/ 2460554 h 2646449"/>
                  <a:gd name="connsiteX17" fmla="*/ 113433 w 1096742"/>
                  <a:gd name="connsiteY17" fmla="*/ 2439336 h 2646449"/>
                  <a:gd name="connsiteX18" fmla="*/ 9742 w 1096742"/>
                  <a:gd name="connsiteY18" fmla="*/ 2381730 h 2646449"/>
                  <a:gd name="connsiteX19" fmla="*/ 33123 w 1096742"/>
                  <a:gd name="connsiteY19" fmla="*/ 2384015 h 2646449"/>
                  <a:gd name="connsiteX20" fmla="*/ 65597 w 1096742"/>
                  <a:gd name="connsiteY20" fmla="*/ 2441467 h 2646449"/>
                  <a:gd name="connsiteX21" fmla="*/ 33123 w 1096742"/>
                  <a:gd name="connsiteY21" fmla="*/ 2460400 h 2646449"/>
                  <a:gd name="connsiteX22" fmla="*/ 0 w 1096742"/>
                  <a:gd name="connsiteY22" fmla="*/ 2402948 h 2646449"/>
                  <a:gd name="connsiteX23" fmla="*/ 9742 w 1096742"/>
                  <a:gd name="connsiteY23" fmla="*/ 2381730 h 2646449"/>
                  <a:gd name="connsiteX24" fmla="*/ 886057 w 1096742"/>
                  <a:gd name="connsiteY24" fmla="*/ 2263022 h 2646449"/>
                  <a:gd name="connsiteX25" fmla="*/ 895121 w 1096742"/>
                  <a:gd name="connsiteY25" fmla="*/ 2282738 h 2646449"/>
                  <a:gd name="connsiteX26" fmla="*/ 863764 w 1096742"/>
                  <a:gd name="connsiteY26" fmla="*/ 2337261 h 2646449"/>
                  <a:gd name="connsiteX27" fmla="*/ 832407 w 1096742"/>
                  <a:gd name="connsiteY27" fmla="*/ 2319087 h 2646449"/>
                  <a:gd name="connsiteX28" fmla="*/ 863764 w 1096742"/>
                  <a:gd name="connsiteY28" fmla="*/ 2265213 h 2646449"/>
                  <a:gd name="connsiteX29" fmla="*/ 886057 w 1096742"/>
                  <a:gd name="connsiteY29" fmla="*/ 2263022 h 2646449"/>
                  <a:gd name="connsiteX30" fmla="*/ 986849 w 1096742"/>
                  <a:gd name="connsiteY30" fmla="*/ 2202965 h 2646449"/>
                  <a:gd name="connsiteX31" fmla="*/ 995925 w 1096742"/>
                  <a:gd name="connsiteY31" fmla="*/ 2223349 h 2646449"/>
                  <a:gd name="connsiteX32" fmla="*/ 964902 w 1096742"/>
                  <a:gd name="connsiteY32" fmla="*/ 2276847 h 2646449"/>
                  <a:gd name="connsiteX33" fmla="*/ 933218 w 1096742"/>
                  <a:gd name="connsiteY33" fmla="*/ 2258799 h 2646449"/>
                  <a:gd name="connsiteX34" fmla="*/ 964902 w 1096742"/>
                  <a:gd name="connsiteY34" fmla="*/ 2205302 h 2646449"/>
                  <a:gd name="connsiteX35" fmla="*/ 986849 w 1096742"/>
                  <a:gd name="connsiteY35" fmla="*/ 2202965 h 2646449"/>
                  <a:gd name="connsiteX36" fmla="*/ 1087678 w 1096742"/>
                  <a:gd name="connsiteY36" fmla="*/ 2145359 h 2646449"/>
                  <a:gd name="connsiteX37" fmla="*/ 1096742 w 1096742"/>
                  <a:gd name="connsiteY37" fmla="*/ 2165743 h 2646449"/>
                  <a:gd name="connsiteX38" fmla="*/ 1065385 w 1096742"/>
                  <a:gd name="connsiteY38" fmla="*/ 2218596 h 2646449"/>
                  <a:gd name="connsiteX39" fmla="*/ 1034028 w 1096742"/>
                  <a:gd name="connsiteY39" fmla="*/ 2201193 h 2646449"/>
                  <a:gd name="connsiteX40" fmla="*/ 1065385 w 1096742"/>
                  <a:gd name="connsiteY40" fmla="*/ 2147696 h 2646449"/>
                  <a:gd name="connsiteX41" fmla="*/ 1087678 w 1096742"/>
                  <a:gd name="connsiteY41" fmla="*/ 2145359 h 2646449"/>
                  <a:gd name="connsiteX42" fmla="*/ 113433 w 1096742"/>
                  <a:gd name="connsiteY42" fmla="*/ 2134105 h 2646449"/>
                  <a:gd name="connsiteX43" fmla="*/ 136814 w 1096742"/>
                  <a:gd name="connsiteY43" fmla="*/ 2136961 h 2646449"/>
                  <a:gd name="connsiteX44" fmla="*/ 169288 w 1096742"/>
                  <a:gd name="connsiteY44" fmla="*/ 2193761 h 2646449"/>
                  <a:gd name="connsiteX45" fmla="*/ 136814 w 1096742"/>
                  <a:gd name="connsiteY45" fmla="*/ 2212694 h 2646449"/>
                  <a:gd name="connsiteX46" fmla="*/ 103691 w 1096742"/>
                  <a:gd name="connsiteY46" fmla="*/ 2155242 h 2646449"/>
                  <a:gd name="connsiteX47" fmla="*/ 113433 w 1096742"/>
                  <a:gd name="connsiteY47" fmla="*/ 2134105 h 2646449"/>
                  <a:gd name="connsiteX48" fmla="*/ 9742 w 1096742"/>
                  <a:gd name="connsiteY48" fmla="*/ 2073619 h 2646449"/>
                  <a:gd name="connsiteX49" fmla="*/ 33123 w 1096742"/>
                  <a:gd name="connsiteY49" fmla="*/ 2075823 h 2646449"/>
                  <a:gd name="connsiteX50" fmla="*/ 65597 w 1096742"/>
                  <a:gd name="connsiteY50" fmla="*/ 2133275 h 2646449"/>
                  <a:gd name="connsiteX51" fmla="*/ 33123 w 1096742"/>
                  <a:gd name="connsiteY51" fmla="*/ 2152208 h 2646449"/>
                  <a:gd name="connsiteX52" fmla="*/ 0 w 1096742"/>
                  <a:gd name="connsiteY52" fmla="*/ 2095409 h 2646449"/>
                  <a:gd name="connsiteX53" fmla="*/ 9742 w 1096742"/>
                  <a:gd name="connsiteY53" fmla="*/ 2073619 h 2646449"/>
                  <a:gd name="connsiteX54" fmla="*/ 113433 w 1096742"/>
                  <a:gd name="connsiteY54" fmla="*/ 2010172 h 2646449"/>
                  <a:gd name="connsiteX55" fmla="*/ 136814 w 1096742"/>
                  <a:gd name="connsiteY55" fmla="*/ 2012457 h 2646449"/>
                  <a:gd name="connsiteX56" fmla="*/ 169288 w 1096742"/>
                  <a:gd name="connsiteY56" fmla="*/ 2069256 h 2646449"/>
                  <a:gd name="connsiteX57" fmla="*/ 136814 w 1096742"/>
                  <a:gd name="connsiteY57" fmla="*/ 2088842 h 2646449"/>
                  <a:gd name="connsiteX58" fmla="*/ 103691 w 1096742"/>
                  <a:gd name="connsiteY58" fmla="*/ 2031390 h 2646449"/>
                  <a:gd name="connsiteX59" fmla="*/ 113433 w 1096742"/>
                  <a:gd name="connsiteY59" fmla="*/ 2010172 h 2646449"/>
                  <a:gd name="connsiteX60" fmla="*/ 9742 w 1096742"/>
                  <a:gd name="connsiteY60" fmla="*/ 1949684 h 2646449"/>
                  <a:gd name="connsiteX61" fmla="*/ 33123 w 1096742"/>
                  <a:gd name="connsiteY61" fmla="*/ 1951969 h 2646449"/>
                  <a:gd name="connsiteX62" fmla="*/ 65597 w 1096742"/>
                  <a:gd name="connsiteY62" fmla="*/ 2009421 h 2646449"/>
                  <a:gd name="connsiteX63" fmla="*/ 33123 w 1096742"/>
                  <a:gd name="connsiteY63" fmla="*/ 2028354 h 2646449"/>
                  <a:gd name="connsiteX64" fmla="*/ 0 w 1096742"/>
                  <a:gd name="connsiteY64" fmla="*/ 1970902 h 2646449"/>
                  <a:gd name="connsiteX65" fmla="*/ 9742 w 1096742"/>
                  <a:gd name="connsiteY65" fmla="*/ 1949684 h 2646449"/>
                  <a:gd name="connsiteX66" fmla="*/ 886057 w 1096742"/>
                  <a:gd name="connsiteY66" fmla="*/ 1833964 h 2646449"/>
                  <a:gd name="connsiteX67" fmla="*/ 895121 w 1096742"/>
                  <a:gd name="connsiteY67" fmla="*/ 1854026 h 2646449"/>
                  <a:gd name="connsiteX68" fmla="*/ 863764 w 1096742"/>
                  <a:gd name="connsiteY68" fmla="*/ 1908168 h 2646449"/>
                  <a:gd name="connsiteX69" fmla="*/ 832407 w 1096742"/>
                  <a:gd name="connsiteY69" fmla="*/ 1890120 h 2646449"/>
                  <a:gd name="connsiteX70" fmla="*/ 863764 w 1096742"/>
                  <a:gd name="connsiteY70" fmla="*/ 1836623 h 2646449"/>
                  <a:gd name="connsiteX71" fmla="*/ 886057 w 1096742"/>
                  <a:gd name="connsiteY71" fmla="*/ 1833964 h 2646449"/>
                  <a:gd name="connsiteX72" fmla="*/ 986849 w 1096742"/>
                  <a:gd name="connsiteY72" fmla="*/ 1776331 h 2646449"/>
                  <a:gd name="connsiteX73" fmla="*/ 995925 w 1096742"/>
                  <a:gd name="connsiteY73" fmla="*/ 1796615 h 2646449"/>
                  <a:gd name="connsiteX74" fmla="*/ 964902 w 1096742"/>
                  <a:gd name="connsiteY74" fmla="*/ 1850489 h 2646449"/>
                  <a:gd name="connsiteX75" fmla="*/ 933218 w 1096742"/>
                  <a:gd name="connsiteY75" fmla="*/ 1832964 h 2646449"/>
                  <a:gd name="connsiteX76" fmla="*/ 964902 w 1096742"/>
                  <a:gd name="connsiteY76" fmla="*/ 1778441 h 2646449"/>
                  <a:gd name="connsiteX77" fmla="*/ 986849 w 1096742"/>
                  <a:gd name="connsiteY77" fmla="*/ 1776331 h 2646449"/>
                  <a:gd name="connsiteX78" fmla="*/ 1087678 w 1096742"/>
                  <a:gd name="connsiteY78" fmla="*/ 1718968 h 2646449"/>
                  <a:gd name="connsiteX79" fmla="*/ 1096742 w 1096742"/>
                  <a:gd name="connsiteY79" fmla="*/ 1739009 h 2646449"/>
                  <a:gd name="connsiteX80" fmla="*/ 1065385 w 1096742"/>
                  <a:gd name="connsiteY80" fmla="*/ 1792883 h 2646449"/>
                  <a:gd name="connsiteX81" fmla="*/ 1034028 w 1096742"/>
                  <a:gd name="connsiteY81" fmla="*/ 1774709 h 2646449"/>
                  <a:gd name="connsiteX82" fmla="*/ 1065385 w 1096742"/>
                  <a:gd name="connsiteY82" fmla="*/ 1720835 h 2646449"/>
                  <a:gd name="connsiteX83" fmla="*/ 1087678 w 1096742"/>
                  <a:gd name="connsiteY83" fmla="*/ 1718968 h 2646449"/>
                  <a:gd name="connsiteX84" fmla="*/ 113433 w 1096742"/>
                  <a:gd name="connsiteY84" fmla="*/ 1708065 h 2646449"/>
                  <a:gd name="connsiteX85" fmla="*/ 136814 w 1096742"/>
                  <a:gd name="connsiteY85" fmla="*/ 1710676 h 2646449"/>
                  <a:gd name="connsiteX86" fmla="*/ 169288 w 1096742"/>
                  <a:gd name="connsiteY86" fmla="*/ 1767476 h 2646449"/>
                  <a:gd name="connsiteX87" fmla="*/ 136814 w 1096742"/>
                  <a:gd name="connsiteY87" fmla="*/ 1786409 h 2646449"/>
                  <a:gd name="connsiteX88" fmla="*/ 103691 w 1096742"/>
                  <a:gd name="connsiteY88" fmla="*/ 1728957 h 2646449"/>
                  <a:gd name="connsiteX89" fmla="*/ 113433 w 1096742"/>
                  <a:gd name="connsiteY89" fmla="*/ 1708065 h 2646449"/>
                  <a:gd name="connsiteX90" fmla="*/ 9742 w 1096742"/>
                  <a:gd name="connsiteY90" fmla="*/ 1647281 h 2646449"/>
                  <a:gd name="connsiteX91" fmla="*/ 33123 w 1096742"/>
                  <a:gd name="connsiteY91" fmla="*/ 1649469 h 2646449"/>
                  <a:gd name="connsiteX92" fmla="*/ 65597 w 1096742"/>
                  <a:gd name="connsiteY92" fmla="*/ 1706541 h 2646449"/>
                  <a:gd name="connsiteX93" fmla="*/ 33123 w 1096742"/>
                  <a:gd name="connsiteY93" fmla="*/ 1725349 h 2646449"/>
                  <a:gd name="connsiteX94" fmla="*/ 0 w 1096742"/>
                  <a:gd name="connsiteY94" fmla="*/ 1668926 h 2646449"/>
                  <a:gd name="connsiteX95" fmla="*/ 9742 w 1096742"/>
                  <a:gd name="connsiteY95" fmla="*/ 1647281 h 2646449"/>
                  <a:gd name="connsiteX96" fmla="*/ 113433 w 1096742"/>
                  <a:gd name="connsiteY96" fmla="*/ 1583887 h 2646449"/>
                  <a:gd name="connsiteX97" fmla="*/ 136814 w 1096742"/>
                  <a:gd name="connsiteY97" fmla="*/ 1586172 h 2646449"/>
                  <a:gd name="connsiteX98" fmla="*/ 169288 w 1096742"/>
                  <a:gd name="connsiteY98" fmla="*/ 1642971 h 2646449"/>
                  <a:gd name="connsiteX99" fmla="*/ 136814 w 1096742"/>
                  <a:gd name="connsiteY99" fmla="*/ 1662557 h 2646449"/>
                  <a:gd name="connsiteX100" fmla="*/ 103691 w 1096742"/>
                  <a:gd name="connsiteY100" fmla="*/ 1605105 h 2646449"/>
                  <a:gd name="connsiteX101" fmla="*/ 113433 w 1096742"/>
                  <a:gd name="connsiteY101" fmla="*/ 1583887 h 2646449"/>
                  <a:gd name="connsiteX102" fmla="*/ 9742 w 1096742"/>
                  <a:gd name="connsiteY102" fmla="*/ 1523751 h 2646449"/>
                  <a:gd name="connsiteX103" fmla="*/ 33123 w 1096742"/>
                  <a:gd name="connsiteY103" fmla="*/ 1526264 h 2646449"/>
                  <a:gd name="connsiteX104" fmla="*/ 65597 w 1096742"/>
                  <a:gd name="connsiteY104" fmla="*/ 1583336 h 2646449"/>
                  <a:gd name="connsiteX105" fmla="*/ 33123 w 1096742"/>
                  <a:gd name="connsiteY105" fmla="*/ 1602144 h 2646449"/>
                  <a:gd name="connsiteX106" fmla="*/ 0 w 1096742"/>
                  <a:gd name="connsiteY106" fmla="*/ 1545072 h 2646449"/>
                  <a:gd name="connsiteX107" fmla="*/ 9742 w 1096742"/>
                  <a:gd name="connsiteY107" fmla="*/ 1523751 h 2646449"/>
                  <a:gd name="connsiteX108" fmla="*/ 886057 w 1096742"/>
                  <a:gd name="connsiteY108" fmla="*/ 1407652 h 2646449"/>
                  <a:gd name="connsiteX109" fmla="*/ 895121 w 1096742"/>
                  <a:gd name="connsiteY109" fmla="*/ 1427936 h 2646449"/>
                  <a:gd name="connsiteX110" fmla="*/ 863764 w 1096742"/>
                  <a:gd name="connsiteY110" fmla="*/ 1481810 h 2646449"/>
                  <a:gd name="connsiteX111" fmla="*/ 832407 w 1096742"/>
                  <a:gd name="connsiteY111" fmla="*/ 1463636 h 2646449"/>
                  <a:gd name="connsiteX112" fmla="*/ 863764 w 1096742"/>
                  <a:gd name="connsiteY112" fmla="*/ 1409762 h 2646449"/>
                  <a:gd name="connsiteX113" fmla="*/ 886057 w 1096742"/>
                  <a:gd name="connsiteY113" fmla="*/ 1407652 h 2646449"/>
                  <a:gd name="connsiteX114" fmla="*/ 986849 w 1096742"/>
                  <a:gd name="connsiteY114" fmla="*/ 1347167 h 2646449"/>
                  <a:gd name="connsiteX115" fmla="*/ 995925 w 1096742"/>
                  <a:gd name="connsiteY115" fmla="*/ 1367451 h 2646449"/>
                  <a:gd name="connsiteX116" fmla="*/ 964902 w 1096742"/>
                  <a:gd name="connsiteY116" fmla="*/ 1421325 h 2646449"/>
                  <a:gd name="connsiteX117" fmla="*/ 933218 w 1096742"/>
                  <a:gd name="connsiteY117" fmla="*/ 1403151 h 2646449"/>
                  <a:gd name="connsiteX118" fmla="*/ 964902 w 1096742"/>
                  <a:gd name="connsiteY118" fmla="*/ 1349277 h 2646449"/>
                  <a:gd name="connsiteX119" fmla="*/ 986849 w 1096742"/>
                  <a:gd name="connsiteY119" fmla="*/ 1347167 h 2646449"/>
                  <a:gd name="connsiteX120" fmla="*/ 1087678 w 1096742"/>
                  <a:gd name="connsiteY120" fmla="*/ 1289910 h 2646449"/>
                  <a:gd name="connsiteX121" fmla="*/ 1096742 w 1096742"/>
                  <a:gd name="connsiteY121" fmla="*/ 1310294 h 2646449"/>
                  <a:gd name="connsiteX122" fmla="*/ 1065385 w 1096742"/>
                  <a:gd name="connsiteY122" fmla="*/ 1363147 h 2646449"/>
                  <a:gd name="connsiteX123" fmla="*/ 1034028 w 1096742"/>
                  <a:gd name="connsiteY123" fmla="*/ 1345744 h 2646449"/>
                  <a:gd name="connsiteX124" fmla="*/ 1065385 w 1096742"/>
                  <a:gd name="connsiteY124" fmla="*/ 1292247 h 2646449"/>
                  <a:gd name="connsiteX125" fmla="*/ 1087678 w 1096742"/>
                  <a:gd name="connsiteY125" fmla="*/ 1289910 h 2646449"/>
                  <a:gd name="connsiteX126" fmla="*/ 113433 w 1096742"/>
                  <a:gd name="connsiteY126" fmla="*/ 1278656 h 2646449"/>
                  <a:gd name="connsiteX127" fmla="*/ 136814 w 1096742"/>
                  <a:gd name="connsiteY127" fmla="*/ 1280860 h 2646449"/>
                  <a:gd name="connsiteX128" fmla="*/ 169288 w 1096742"/>
                  <a:gd name="connsiteY128" fmla="*/ 1338312 h 2646449"/>
                  <a:gd name="connsiteX129" fmla="*/ 136814 w 1096742"/>
                  <a:gd name="connsiteY129" fmla="*/ 1357245 h 2646449"/>
                  <a:gd name="connsiteX130" fmla="*/ 103691 w 1096742"/>
                  <a:gd name="connsiteY130" fmla="*/ 1300446 h 2646449"/>
                  <a:gd name="connsiteX131" fmla="*/ 113433 w 1096742"/>
                  <a:gd name="connsiteY131" fmla="*/ 1278656 h 2646449"/>
                  <a:gd name="connsiteX132" fmla="*/ 9742 w 1096742"/>
                  <a:gd name="connsiteY132" fmla="*/ 1218088 h 2646449"/>
                  <a:gd name="connsiteX133" fmla="*/ 33123 w 1096742"/>
                  <a:gd name="connsiteY133" fmla="*/ 1220373 h 2646449"/>
                  <a:gd name="connsiteX134" fmla="*/ 65597 w 1096742"/>
                  <a:gd name="connsiteY134" fmla="*/ 1277825 h 2646449"/>
                  <a:gd name="connsiteX135" fmla="*/ 33123 w 1096742"/>
                  <a:gd name="connsiteY135" fmla="*/ 1296758 h 2646449"/>
                  <a:gd name="connsiteX136" fmla="*/ 0 w 1096742"/>
                  <a:gd name="connsiteY136" fmla="*/ 1239306 h 2646449"/>
                  <a:gd name="connsiteX137" fmla="*/ 9742 w 1096742"/>
                  <a:gd name="connsiteY137" fmla="*/ 1218088 h 2646449"/>
                  <a:gd name="connsiteX138" fmla="*/ 113433 w 1096742"/>
                  <a:gd name="connsiteY138" fmla="*/ 1154721 h 2646449"/>
                  <a:gd name="connsiteX139" fmla="*/ 136814 w 1096742"/>
                  <a:gd name="connsiteY139" fmla="*/ 1157006 h 2646449"/>
                  <a:gd name="connsiteX140" fmla="*/ 169288 w 1096742"/>
                  <a:gd name="connsiteY140" fmla="*/ 1214458 h 2646449"/>
                  <a:gd name="connsiteX141" fmla="*/ 136814 w 1096742"/>
                  <a:gd name="connsiteY141" fmla="*/ 1232738 h 2646449"/>
                  <a:gd name="connsiteX142" fmla="*/ 103691 w 1096742"/>
                  <a:gd name="connsiteY142" fmla="*/ 1175939 h 2646449"/>
                  <a:gd name="connsiteX143" fmla="*/ 113433 w 1096742"/>
                  <a:gd name="connsiteY143" fmla="*/ 1154721 h 2646449"/>
                  <a:gd name="connsiteX144" fmla="*/ 9742 w 1096742"/>
                  <a:gd name="connsiteY144" fmla="*/ 1094235 h 2646449"/>
                  <a:gd name="connsiteX145" fmla="*/ 33123 w 1096742"/>
                  <a:gd name="connsiteY145" fmla="*/ 1096520 h 2646449"/>
                  <a:gd name="connsiteX146" fmla="*/ 65597 w 1096742"/>
                  <a:gd name="connsiteY146" fmla="*/ 1153319 h 2646449"/>
                  <a:gd name="connsiteX147" fmla="*/ 33123 w 1096742"/>
                  <a:gd name="connsiteY147" fmla="*/ 1172905 h 2646449"/>
                  <a:gd name="connsiteX148" fmla="*/ 0 w 1096742"/>
                  <a:gd name="connsiteY148" fmla="*/ 1115453 h 2646449"/>
                  <a:gd name="connsiteX149" fmla="*/ 9742 w 1096742"/>
                  <a:gd name="connsiteY149" fmla="*/ 1094235 h 2646449"/>
                  <a:gd name="connsiteX150" fmla="*/ 886057 w 1096742"/>
                  <a:gd name="connsiteY150" fmla="*/ 978676 h 2646449"/>
                  <a:gd name="connsiteX151" fmla="*/ 895121 w 1096742"/>
                  <a:gd name="connsiteY151" fmla="*/ 998577 h 2646449"/>
                  <a:gd name="connsiteX152" fmla="*/ 863764 w 1096742"/>
                  <a:gd name="connsiteY152" fmla="*/ 1052074 h 2646449"/>
                  <a:gd name="connsiteX153" fmla="*/ 832407 w 1096742"/>
                  <a:gd name="connsiteY153" fmla="*/ 1034671 h 2646449"/>
                  <a:gd name="connsiteX154" fmla="*/ 863764 w 1096742"/>
                  <a:gd name="connsiteY154" fmla="*/ 980529 h 2646449"/>
                  <a:gd name="connsiteX155" fmla="*/ 886057 w 1096742"/>
                  <a:gd name="connsiteY155" fmla="*/ 978676 h 2646449"/>
                  <a:gd name="connsiteX156" fmla="*/ 986849 w 1096742"/>
                  <a:gd name="connsiteY156" fmla="*/ 921070 h 2646449"/>
                  <a:gd name="connsiteX157" fmla="*/ 995925 w 1096742"/>
                  <a:gd name="connsiteY157" fmla="*/ 940971 h 2646449"/>
                  <a:gd name="connsiteX158" fmla="*/ 964902 w 1096742"/>
                  <a:gd name="connsiteY158" fmla="*/ 994468 h 2646449"/>
                  <a:gd name="connsiteX159" fmla="*/ 933218 w 1096742"/>
                  <a:gd name="connsiteY159" fmla="*/ 977065 h 2646449"/>
                  <a:gd name="connsiteX160" fmla="*/ 964902 w 1096742"/>
                  <a:gd name="connsiteY160" fmla="*/ 922923 h 2646449"/>
                  <a:gd name="connsiteX161" fmla="*/ 986849 w 1096742"/>
                  <a:gd name="connsiteY161" fmla="*/ 921070 h 2646449"/>
                  <a:gd name="connsiteX162" fmla="*/ 1087678 w 1096742"/>
                  <a:gd name="connsiteY162" fmla="*/ 860720 h 2646449"/>
                  <a:gd name="connsiteX163" fmla="*/ 1096742 w 1096742"/>
                  <a:gd name="connsiteY163" fmla="*/ 880679 h 2646449"/>
                  <a:gd name="connsiteX164" fmla="*/ 1065385 w 1096742"/>
                  <a:gd name="connsiteY164" fmla="*/ 934553 h 2646449"/>
                  <a:gd name="connsiteX165" fmla="*/ 1034028 w 1096742"/>
                  <a:gd name="connsiteY165" fmla="*/ 916379 h 2646449"/>
                  <a:gd name="connsiteX166" fmla="*/ 1065385 w 1096742"/>
                  <a:gd name="connsiteY166" fmla="*/ 863154 h 2646449"/>
                  <a:gd name="connsiteX167" fmla="*/ 1087678 w 1096742"/>
                  <a:gd name="connsiteY167" fmla="*/ 860720 h 2646449"/>
                  <a:gd name="connsiteX168" fmla="*/ 113433 w 1096742"/>
                  <a:gd name="connsiteY168" fmla="*/ 852371 h 2646449"/>
                  <a:gd name="connsiteX169" fmla="*/ 136814 w 1096742"/>
                  <a:gd name="connsiteY169" fmla="*/ 854575 h 2646449"/>
                  <a:gd name="connsiteX170" fmla="*/ 169288 w 1096742"/>
                  <a:gd name="connsiteY170" fmla="*/ 912027 h 2646449"/>
                  <a:gd name="connsiteX171" fmla="*/ 136814 w 1096742"/>
                  <a:gd name="connsiteY171" fmla="*/ 930960 h 2646449"/>
                  <a:gd name="connsiteX172" fmla="*/ 103691 w 1096742"/>
                  <a:gd name="connsiteY172" fmla="*/ 874161 h 2646449"/>
                  <a:gd name="connsiteX173" fmla="*/ 113433 w 1096742"/>
                  <a:gd name="connsiteY173" fmla="*/ 852371 h 2646449"/>
                  <a:gd name="connsiteX174" fmla="*/ 9742 w 1096742"/>
                  <a:gd name="connsiteY174" fmla="*/ 791884 h 2646449"/>
                  <a:gd name="connsiteX175" fmla="*/ 33123 w 1096742"/>
                  <a:gd name="connsiteY175" fmla="*/ 794088 h 2646449"/>
                  <a:gd name="connsiteX176" fmla="*/ 65597 w 1096742"/>
                  <a:gd name="connsiteY176" fmla="*/ 851540 h 2646449"/>
                  <a:gd name="connsiteX177" fmla="*/ 33123 w 1096742"/>
                  <a:gd name="connsiteY177" fmla="*/ 870473 h 2646449"/>
                  <a:gd name="connsiteX178" fmla="*/ 0 w 1096742"/>
                  <a:gd name="connsiteY178" fmla="*/ 813674 h 2646449"/>
                  <a:gd name="connsiteX179" fmla="*/ 9742 w 1096742"/>
                  <a:gd name="connsiteY179" fmla="*/ 791884 h 2646449"/>
                  <a:gd name="connsiteX180" fmla="*/ 113433 w 1096742"/>
                  <a:gd name="connsiteY180" fmla="*/ 728436 h 2646449"/>
                  <a:gd name="connsiteX181" fmla="*/ 136814 w 1096742"/>
                  <a:gd name="connsiteY181" fmla="*/ 730721 h 2646449"/>
                  <a:gd name="connsiteX182" fmla="*/ 169288 w 1096742"/>
                  <a:gd name="connsiteY182" fmla="*/ 788173 h 2646449"/>
                  <a:gd name="connsiteX183" fmla="*/ 136814 w 1096742"/>
                  <a:gd name="connsiteY183" fmla="*/ 807106 h 2646449"/>
                  <a:gd name="connsiteX184" fmla="*/ 103691 w 1096742"/>
                  <a:gd name="connsiteY184" fmla="*/ 749654 h 2646449"/>
                  <a:gd name="connsiteX185" fmla="*/ 113433 w 1096742"/>
                  <a:gd name="connsiteY185" fmla="*/ 728436 h 2646449"/>
                  <a:gd name="connsiteX186" fmla="*/ 9742 w 1096742"/>
                  <a:gd name="connsiteY186" fmla="*/ 667951 h 2646449"/>
                  <a:gd name="connsiteX187" fmla="*/ 33123 w 1096742"/>
                  <a:gd name="connsiteY187" fmla="*/ 670236 h 2646449"/>
                  <a:gd name="connsiteX188" fmla="*/ 65597 w 1096742"/>
                  <a:gd name="connsiteY188" fmla="*/ 727688 h 2646449"/>
                  <a:gd name="connsiteX189" fmla="*/ 33123 w 1096742"/>
                  <a:gd name="connsiteY189" fmla="*/ 746621 h 2646449"/>
                  <a:gd name="connsiteX190" fmla="*/ 0 w 1096742"/>
                  <a:gd name="connsiteY190" fmla="*/ 689169 h 2646449"/>
                  <a:gd name="connsiteX191" fmla="*/ 9742 w 1096742"/>
                  <a:gd name="connsiteY191" fmla="*/ 667951 h 2646449"/>
                  <a:gd name="connsiteX192" fmla="*/ 886057 w 1096742"/>
                  <a:gd name="connsiteY192" fmla="*/ 549322 h 2646449"/>
                  <a:gd name="connsiteX193" fmla="*/ 895121 w 1096742"/>
                  <a:gd name="connsiteY193" fmla="*/ 569606 h 2646449"/>
                  <a:gd name="connsiteX194" fmla="*/ 863764 w 1096742"/>
                  <a:gd name="connsiteY194" fmla="*/ 623480 h 2646449"/>
                  <a:gd name="connsiteX195" fmla="*/ 841471 w 1096742"/>
                  <a:gd name="connsiteY195" fmla="*/ 625671 h 2646449"/>
                  <a:gd name="connsiteX196" fmla="*/ 835866 w 1096742"/>
                  <a:gd name="connsiteY196" fmla="*/ 613478 h 2646449"/>
                  <a:gd name="connsiteX197" fmla="*/ 585767 w 1096742"/>
                  <a:gd name="connsiteY197" fmla="*/ 757574 h 2646449"/>
                  <a:gd name="connsiteX198" fmla="*/ 577620 w 1096742"/>
                  <a:gd name="connsiteY198" fmla="*/ 784367 h 2646449"/>
                  <a:gd name="connsiteX199" fmla="*/ 555572 w 1096742"/>
                  <a:gd name="connsiteY199" fmla="*/ 807248 h 2646449"/>
                  <a:gd name="connsiteX200" fmla="*/ 524215 w 1096742"/>
                  <a:gd name="connsiteY200" fmla="*/ 789845 h 2646449"/>
                  <a:gd name="connsiteX201" fmla="*/ 555572 w 1096742"/>
                  <a:gd name="connsiteY201" fmla="*/ 735703 h 2646449"/>
                  <a:gd name="connsiteX202" fmla="*/ 577620 w 1096742"/>
                  <a:gd name="connsiteY202" fmla="*/ 733850 h 2646449"/>
                  <a:gd name="connsiteX203" fmla="*/ 582874 w 1096742"/>
                  <a:gd name="connsiteY203" fmla="*/ 745083 h 2646449"/>
                  <a:gd name="connsiteX204" fmla="*/ 834107 w 1096742"/>
                  <a:gd name="connsiteY204" fmla="*/ 600112 h 2646449"/>
                  <a:gd name="connsiteX205" fmla="*/ 841471 w 1096742"/>
                  <a:gd name="connsiteY205" fmla="*/ 574799 h 2646449"/>
                  <a:gd name="connsiteX206" fmla="*/ 863764 w 1096742"/>
                  <a:gd name="connsiteY206" fmla="*/ 551432 h 2646449"/>
                  <a:gd name="connsiteX207" fmla="*/ 886057 w 1096742"/>
                  <a:gd name="connsiteY207" fmla="*/ 549322 h 2646449"/>
                  <a:gd name="connsiteX208" fmla="*/ 986849 w 1096742"/>
                  <a:gd name="connsiteY208" fmla="*/ 492041 h 2646449"/>
                  <a:gd name="connsiteX209" fmla="*/ 995925 w 1096742"/>
                  <a:gd name="connsiteY209" fmla="*/ 512000 h 2646449"/>
                  <a:gd name="connsiteX210" fmla="*/ 964902 w 1096742"/>
                  <a:gd name="connsiteY210" fmla="*/ 565874 h 2646449"/>
                  <a:gd name="connsiteX211" fmla="*/ 933218 w 1096742"/>
                  <a:gd name="connsiteY211" fmla="*/ 547700 h 2646449"/>
                  <a:gd name="connsiteX212" fmla="*/ 964902 w 1096742"/>
                  <a:gd name="connsiteY212" fmla="*/ 494475 h 2646449"/>
                  <a:gd name="connsiteX213" fmla="*/ 986849 w 1096742"/>
                  <a:gd name="connsiteY213" fmla="*/ 492041 h 2646449"/>
                  <a:gd name="connsiteX214" fmla="*/ 1087678 w 1096742"/>
                  <a:gd name="connsiteY214" fmla="*/ 434164 h 2646449"/>
                  <a:gd name="connsiteX215" fmla="*/ 1096742 w 1096742"/>
                  <a:gd name="connsiteY215" fmla="*/ 454592 h 2646449"/>
                  <a:gd name="connsiteX216" fmla="*/ 1065385 w 1096742"/>
                  <a:gd name="connsiteY216" fmla="*/ 508194 h 2646449"/>
                  <a:gd name="connsiteX217" fmla="*/ 1034028 w 1096742"/>
                  <a:gd name="connsiteY217" fmla="*/ 490545 h 2646449"/>
                  <a:gd name="connsiteX218" fmla="*/ 1065385 w 1096742"/>
                  <a:gd name="connsiteY218" fmla="*/ 436289 h 2646449"/>
                  <a:gd name="connsiteX219" fmla="*/ 1087678 w 1096742"/>
                  <a:gd name="connsiteY219" fmla="*/ 434164 h 2646449"/>
                  <a:gd name="connsiteX220" fmla="*/ 113433 w 1096742"/>
                  <a:gd name="connsiteY220" fmla="*/ 426141 h 2646449"/>
                  <a:gd name="connsiteX221" fmla="*/ 136814 w 1096742"/>
                  <a:gd name="connsiteY221" fmla="*/ 429017 h 2646449"/>
                  <a:gd name="connsiteX222" fmla="*/ 169288 w 1096742"/>
                  <a:gd name="connsiteY222" fmla="*/ 486198 h 2646449"/>
                  <a:gd name="connsiteX223" fmla="*/ 136814 w 1096742"/>
                  <a:gd name="connsiteY223" fmla="*/ 505258 h 2646449"/>
                  <a:gd name="connsiteX224" fmla="*/ 103691 w 1096742"/>
                  <a:gd name="connsiteY224" fmla="*/ 447420 h 2646449"/>
                  <a:gd name="connsiteX225" fmla="*/ 113433 w 1096742"/>
                  <a:gd name="connsiteY225" fmla="*/ 426141 h 2646449"/>
                  <a:gd name="connsiteX226" fmla="*/ 9742 w 1096742"/>
                  <a:gd name="connsiteY226" fmla="*/ 368399 h 2646449"/>
                  <a:gd name="connsiteX227" fmla="*/ 33123 w 1096742"/>
                  <a:gd name="connsiteY227" fmla="*/ 370684 h 2646449"/>
                  <a:gd name="connsiteX228" fmla="*/ 65597 w 1096742"/>
                  <a:gd name="connsiteY228" fmla="*/ 428136 h 2646449"/>
                  <a:gd name="connsiteX229" fmla="*/ 33123 w 1096742"/>
                  <a:gd name="connsiteY229" fmla="*/ 447069 h 2646449"/>
                  <a:gd name="connsiteX230" fmla="*/ 0 w 1096742"/>
                  <a:gd name="connsiteY230" fmla="*/ 389617 h 2646449"/>
                  <a:gd name="connsiteX231" fmla="*/ 9742 w 1096742"/>
                  <a:gd name="connsiteY231" fmla="*/ 368399 h 2646449"/>
                  <a:gd name="connsiteX232" fmla="*/ 113433 w 1096742"/>
                  <a:gd name="connsiteY232" fmla="*/ 302205 h 2646449"/>
                  <a:gd name="connsiteX233" fmla="*/ 136814 w 1096742"/>
                  <a:gd name="connsiteY233" fmla="*/ 304506 h 2646449"/>
                  <a:gd name="connsiteX234" fmla="*/ 169288 w 1096742"/>
                  <a:gd name="connsiteY234" fmla="*/ 361686 h 2646449"/>
                  <a:gd name="connsiteX235" fmla="*/ 136814 w 1096742"/>
                  <a:gd name="connsiteY235" fmla="*/ 381404 h 2646449"/>
                  <a:gd name="connsiteX236" fmla="*/ 103691 w 1096742"/>
                  <a:gd name="connsiteY236" fmla="*/ 323566 h 2646449"/>
                  <a:gd name="connsiteX237" fmla="*/ 113433 w 1096742"/>
                  <a:gd name="connsiteY237" fmla="*/ 302205 h 2646449"/>
                  <a:gd name="connsiteX238" fmla="*/ 577620 w 1096742"/>
                  <a:gd name="connsiteY238" fmla="*/ 290095 h 2646449"/>
                  <a:gd name="connsiteX239" fmla="*/ 586929 w 1096742"/>
                  <a:gd name="connsiteY239" fmla="*/ 310379 h 2646449"/>
                  <a:gd name="connsiteX240" fmla="*/ 555572 w 1096742"/>
                  <a:gd name="connsiteY240" fmla="*/ 364253 h 2646449"/>
                  <a:gd name="connsiteX241" fmla="*/ 524215 w 1096742"/>
                  <a:gd name="connsiteY241" fmla="*/ 346079 h 2646449"/>
                  <a:gd name="connsiteX242" fmla="*/ 555572 w 1096742"/>
                  <a:gd name="connsiteY242" fmla="*/ 292205 h 2646449"/>
                  <a:gd name="connsiteX243" fmla="*/ 577620 w 1096742"/>
                  <a:gd name="connsiteY243" fmla="*/ 290095 h 2646449"/>
                  <a:gd name="connsiteX244" fmla="*/ 9742 w 1096742"/>
                  <a:gd name="connsiteY244" fmla="*/ 244545 h 2646449"/>
                  <a:gd name="connsiteX245" fmla="*/ 33123 w 1096742"/>
                  <a:gd name="connsiteY245" fmla="*/ 246830 h 2646449"/>
                  <a:gd name="connsiteX246" fmla="*/ 65597 w 1096742"/>
                  <a:gd name="connsiteY246" fmla="*/ 303629 h 2646449"/>
                  <a:gd name="connsiteX247" fmla="*/ 33123 w 1096742"/>
                  <a:gd name="connsiteY247" fmla="*/ 323215 h 2646449"/>
                  <a:gd name="connsiteX248" fmla="*/ 0 w 1096742"/>
                  <a:gd name="connsiteY248" fmla="*/ 265763 h 2646449"/>
                  <a:gd name="connsiteX249" fmla="*/ 9742 w 1096742"/>
                  <a:gd name="connsiteY249" fmla="*/ 244545 h 2646449"/>
                  <a:gd name="connsiteX250" fmla="*/ 886057 w 1096742"/>
                  <a:gd name="connsiteY250" fmla="*/ 120105 h 2646449"/>
                  <a:gd name="connsiteX251" fmla="*/ 895121 w 1096742"/>
                  <a:gd name="connsiteY251" fmla="*/ 140247 h 2646449"/>
                  <a:gd name="connsiteX252" fmla="*/ 863764 w 1096742"/>
                  <a:gd name="connsiteY252" fmla="*/ 193744 h 2646449"/>
                  <a:gd name="connsiteX253" fmla="*/ 832407 w 1096742"/>
                  <a:gd name="connsiteY253" fmla="*/ 175697 h 2646449"/>
                  <a:gd name="connsiteX254" fmla="*/ 863764 w 1096742"/>
                  <a:gd name="connsiteY254" fmla="*/ 122199 h 2646449"/>
                  <a:gd name="connsiteX255" fmla="*/ 886057 w 1096742"/>
                  <a:gd name="connsiteY255" fmla="*/ 120105 h 2646449"/>
                  <a:gd name="connsiteX256" fmla="*/ 986849 w 1096742"/>
                  <a:gd name="connsiteY256" fmla="*/ 62552 h 2646449"/>
                  <a:gd name="connsiteX257" fmla="*/ 995925 w 1096742"/>
                  <a:gd name="connsiteY257" fmla="*/ 82836 h 2646449"/>
                  <a:gd name="connsiteX258" fmla="*/ 964902 w 1096742"/>
                  <a:gd name="connsiteY258" fmla="*/ 136710 h 2646449"/>
                  <a:gd name="connsiteX259" fmla="*/ 933218 w 1096742"/>
                  <a:gd name="connsiteY259" fmla="*/ 118536 h 2646449"/>
                  <a:gd name="connsiteX260" fmla="*/ 964902 w 1096742"/>
                  <a:gd name="connsiteY260" fmla="*/ 64662 h 2646449"/>
                  <a:gd name="connsiteX261" fmla="*/ 986849 w 1096742"/>
                  <a:gd name="connsiteY261" fmla="*/ 62552 h 2646449"/>
                  <a:gd name="connsiteX262" fmla="*/ 1087678 w 1096742"/>
                  <a:gd name="connsiteY262" fmla="*/ 2065 h 2646449"/>
                  <a:gd name="connsiteX263" fmla="*/ 1096742 w 1096742"/>
                  <a:gd name="connsiteY263" fmla="*/ 22349 h 2646449"/>
                  <a:gd name="connsiteX264" fmla="*/ 1065385 w 1096742"/>
                  <a:gd name="connsiteY264" fmla="*/ 76223 h 2646449"/>
                  <a:gd name="connsiteX265" fmla="*/ 1034028 w 1096742"/>
                  <a:gd name="connsiteY265" fmla="*/ 58049 h 2646449"/>
                  <a:gd name="connsiteX266" fmla="*/ 1065385 w 1096742"/>
                  <a:gd name="connsiteY266" fmla="*/ 4175 h 2646449"/>
                  <a:gd name="connsiteX267" fmla="*/ 1087678 w 1096742"/>
                  <a:gd name="connsiteY267" fmla="*/ 2065 h 2646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6742" h="2646449">
                    <a:moveTo>
                      <a:pt x="113433" y="2563271"/>
                    </a:moveTo>
                    <a:cubicBezTo>
                      <a:pt x="119441" y="2559762"/>
                      <a:pt x="127722" y="2560252"/>
                      <a:pt x="136814" y="2565475"/>
                    </a:cubicBezTo>
                    <a:cubicBezTo>
                      <a:pt x="154999" y="2576574"/>
                      <a:pt x="169288" y="2602035"/>
                      <a:pt x="169288" y="2622927"/>
                    </a:cubicBezTo>
                    <a:cubicBezTo>
                      <a:pt x="169288" y="2644472"/>
                      <a:pt x="154999" y="2652306"/>
                      <a:pt x="136814" y="2641860"/>
                    </a:cubicBezTo>
                    <a:cubicBezTo>
                      <a:pt x="118629" y="2631414"/>
                      <a:pt x="103691" y="2605953"/>
                      <a:pt x="103691" y="2585061"/>
                    </a:cubicBezTo>
                    <a:cubicBezTo>
                      <a:pt x="103691" y="2574289"/>
                      <a:pt x="107426" y="2566781"/>
                      <a:pt x="113433" y="2563271"/>
                    </a:cubicBezTo>
                    <a:close/>
                    <a:moveTo>
                      <a:pt x="9742" y="2505665"/>
                    </a:moveTo>
                    <a:cubicBezTo>
                      <a:pt x="15750" y="2502156"/>
                      <a:pt x="24031" y="2502646"/>
                      <a:pt x="33123" y="2507869"/>
                    </a:cubicBezTo>
                    <a:cubicBezTo>
                      <a:pt x="51308" y="2518968"/>
                      <a:pt x="65597" y="2544429"/>
                      <a:pt x="65597" y="2565321"/>
                    </a:cubicBezTo>
                    <a:cubicBezTo>
                      <a:pt x="65597" y="2586213"/>
                      <a:pt x="51308" y="2594700"/>
                      <a:pt x="33123" y="2584254"/>
                    </a:cubicBezTo>
                    <a:cubicBezTo>
                      <a:pt x="14938" y="2573808"/>
                      <a:pt x="0" y="2548347"/>
                      <a:pt x="0" y="2527455"/>
                    </a:cubicBezTo>
                    <a:cubicBezTo>
                      <a:pt x="0" y="2516682"/>
                      <a:pt x="3735" y="2509174"/>
                      <a:pt x="9742" y="2505665"/>
                    </a:cubicBezTo>
                    <a:close/>
                    <a:moveTo>
                      <a:pt x="113433" y="2439336"/>
                    </a:moveTo>
                    <a:cubicBezTo>
                      <a:pt x="119441" y="2435908"/>
                      <a:pt x="127722" y="2436398"/>
                      <a:pt x="136814" y="2441621"/>
                    </a:cubicBezTo>
                    <a:cubicBezTo>
                      <a:pt x="154999" y="2452067"/>
                      <a:pt x="169288" y="2477529"/>
                      <a:pt x="169288" y="2499073"/>
                    </a:cubicBezTo>
                    <a:cubicBezTo>
                      <a:pt x="169288" y="2519965"/>
                      <a:pt x="154999" y="2528452"/>
                      <a:pt x="136814" y="2518006"/>
                    </a:cubicBezTo>
                    <a:cubicBezTo>
                      <a:pt x="118629" y="2506908"/>
                      <a:pt x="103691" y="2482099"/>
                      <a:pt x="103691" y="2460554"/>
                    </a:cubicBezTo>
                    <a:cubicBezTo>
                      <a:pt x="103691" y="2450108"/>
                      <a:pt x="107426" y="2442763"/>
                      <a:pt x="113433" y="2439336"/>
                    </a:cubicBezTo>
                    <a:close/>
                    <a:moveTo>
                      <a:pt x="9742" y="2381730"/>
                    </a:moveTo>
                    <a:cubicBezTo>
                      <a:pt x="15750" y="2378302"/>
                      <a:pt x="24031" y="2378792"/>
                      <a:pt x="33123" y="2384015"/>
                    </a:cubicBezTo>
                    <a:cubicBezTo>
                      <a:pt x="51308" y="2394461"/>
                      <a:pt x="65597" y="2419923"/>
                      <a:pt x="65597" y="2441467"/>
                    </a:cubicBezTo>
                    <a:cubicBezTo>
                      <a:pt x="65597" y="2462359"/>
                      <a:pt x="51308" y="2470846"/>
                      <a:pt x="33123" y="2460400"/>
                    </a:cubicBezTo>
                    <a:cubicBezTo>
                      <a:pt x="14938" y="2449954"/>
                      <a:pt x="0" y="2423840"/>
                      <a:pt x="0" y="2402948"/>
                    </a:cubicBezTo>
                    <a:cubicBezTo>
                      <a:pt x="0" y="2392502"/>
                      <a:pt x="3735" y="2385157"/>
                      <a:pt x="9742" y="2381730"/>
                    </a:cubicBezTo>
                    <a:close/>
                    <a:moveTo>
                      <a:pt x="886057" y="2263022"/>
                    </a:moveTo>
                    <a:cubicBezTo>
                      <a:pt x="891691" y="2266186"/>
                      <a:pt x="895121" y="2273001"/>
                      <a:pt x="895121" y="2282738"/>
                    </a:cubicBezTo>
                    <a:cubicBezTo>
                      <a:pt x="895121" y="2303509"/>
                      <a:pt x="881402" y="2327525"/>
                      <a:pt x="863764" y="2337261"/>
                    </a:cubicBezTo>
                    <a:cubicBezTo>
                      <a:pt x="846126" y="2346997"/>
                      <a:pt x="832407" y="2339208"/>
                      <a:pt x="832407" y="2319087"/>
                    </a:cubicBezTo>
                    <a:cubicBezTo>
                      <a:pt x="832407" y="2299614"/>
                      <a:pt x="846126" y="2274949"/>
                      <a:pt x="863764" y="2265213"/>
                    </a:cubicBezTo>
                    <a:cubicBezTo>
                      <a:pt x="872583" y="2260344"/>
                      <a:pt x="880422" y="2259858"/>
                      <a:pt x="886057" y="2263022"/>
                    </a:cubicBezTo>
                    <a:close/>
                    <a:moveTo>
                      <a:pt x="986849" y="2202965"/>
                    </a:moveTo>
                    <a:cubicBezTo>
                      <a:pt x="992460" y="2206269"/>
                      <a:pt x="995925" y="2213359"/>
                      <a:pt x="995925" y="2223349"/>
                    </a:cubicBezTo>
                    <a:cubicBezTo>
                      <a:pt x="995925" y="2242686"/>
                      <a:pt x="982063" y="2266534"/>
                      <a:pt x="964902" y="2276847"/>
                    </a:cubicBezTo>
                    <a:cubicBezTo>
                      <a:pt x="947080" y="2286515"/>
                      <a:pt x="933218" y="2278780"/>
                      <a:pt x="933218" y="2258799"/>
                    </a:cubicBezTo>
                    <a:cubicBezTo>
                      <a:pt x="933218" y="2239463"/>
                      <a:pt x="947080" y="2214970"/>
                      <a:pt x="964902" y="2205302"/>
                    </a:cubicBezTo>
                    <a:cubicBezTo>
                      <a:pt x="973483" y="2200146"/>
                      <a:pt x="981238" y="2199662"/>
                      <a:pt x="986849" y="2202965"/>
                    </a:cubicBezTo>
                    <a:close/>
                    <a:moveTo>
                      <a:pt x="1087678" y="2145359"/>
                    </a:moveTo>
                    <a:cubicBezTo>
                      <a:pt x="1093312" y="2148663"/>
                      <a:pt x="1096742" y="2155753"/>
                      <a:pt x="1096742" y="2165743"/>
                    </a:cubicBezTo>
                    <a:cubicBezTo>
                      <a:pt x="1096742" y="2185080"/>
                      <a:pt x="1083023" y="2208928"/>
                      <a:pt x="1065385" y="2218596"/>
                    </a:cubicBezTo>
                    <a:cubicBezTo>
                      <a:pt x="1047747" y="2228909"/>
                      <a:pt x="1034028" y="2220530"/>
                      <a:pt x="1034028" y="2201193"/>
                    </a:cubicBezTo>
                    <a:cubicBezTo>
                      <a:pt x="1034028" y="2181212"/>
                      <a:pt x="1047747" y="2157364"/>
                      <a:pt x="1065385" y="2147696"/>
                    </a:cubicBezTo>
                    <a:cubicBezTo>
                      <a:pt x="1074204" y="2142540"/>
                      <a:pt x="1082043" y="2142056"/>
                      <a:pt x="1087678" y="2145359"/>
                    </a:cubicBezTo>
                    <a:close/>
                    <a:moveTo>
                      <a:pt x="113433" y="2134105"/>
                    </a:moveTo>
                    <a:cubicBezTo>
                      <a:pt x="119441" y="2130759"/>
                      <a:pt x="127722" y="2131412"/>
                      <a:pt x="136814" y="2136961"/>
                    </a:cubicBezTo>
                    <a:cubicBezTo>
                      <a:pt x="154999" y="2146754"/>
                      <a:pt x="169288" y="2172869"/>
                      <a:pt x="169288" y="2193761"/>
                    </a:cubicBezTo>
                    <a:cubicBezTo>
                      <a:pt x="169288" y="2215305"/>
                      <a:pt x="154999" y="2223140"/>
                      <a:pt x="136814" y="2212694"/>
                    </a:cubicBezTo>
                    <a:cubicBezTo>
                      <a:pt x="118629" y="2202248"/>
                      <a:pt x="103691" y="2176786"/>
                      <a:pt x="103691" y="2155242"/>
                    </a:cubicBezTo>
                    <a:cubicBezTo>
                      <a:pt x="103691" y="2144796"/>
                      <a:pt x="107426" y="2137451"/>
                      <a:pt x="113433" y="2134105"/>
                    </a:cubicBezTo>
                    <a:close/>
                    <a:moveTo>
                      <a:pt x="9742" y="2073619"/>
                    </a:moveTo>
                    <a:cubicBezTo>
                      <a:pt x="15750" y="2070110"/>
                      <a:pt x="24031" y="2070600"/>
                      <a:pt x="33123" y="2075823"/>
                    </a:cubicBezTo>
                    <a:cubicBezTo>
                      <a:pt x="51308" y="2086921"/>
                      <a:pt x="65597" y="2112383"/>
                      <a:pt x="65597" y="2133275"/>
                    </a:cubicBezTo>
                    <a:cubicBezTo>
                      <a:pt x="65597" y="2154167"/>
                      <a:pt x="51308" y="2162654"/>
                      <a:pt x="33123" y="2152208"/>
                    </a:cubicBezTo>
                    <a:cubicBezTo>
                      <a:pt x="14938" y="2141762"/>
                      <a:pt x="0" y="2116300"/>
                      <a:pt x="0" y="2095409"/>
                    </a:cubicBezTo>
                    <a:cubicBezTo>
                      <a:pt x="0" y="2084637"/>
                      <a:pt x="3735" y="2077129"/>
                      <a:pt x="9742" y="2073619"/>
                    </a:cubicBezTo>
                    <a:close/>
                    <a:moveTo>
                      <a:pt x="113433" y="2010172"/>
                    </a:moveTo>
                    <a:cubicBezTo>
                      <a:pt x="119441" y="2006744"/>
                      <a:pt x="127722" y="2007234"/>
                      <a:pt x="136814" y="2012457"/>
                    </a:cubicBezTo>
                    <a:cubicBezTo>
                      <a:pt x="154999" y="2022902"/>
                      <a:pt x="169288" y="2048364"/>
                      <a:pt x="169288" y="2069256"/>
                    </a:cubicBezTo>
                    <a:cubicBezTo>
                      <a:pt x="169288" y="2090801"/>
                      <a:pt x="154999" y="2099288"/>
                      <a:pt x="136814" y="2088842"/>
                    </a:cubicBezTo>
                    <a:cubicBezTo>
                      <a:pt x="118629" y="2078396"/>
                      <a:pt x="103691" y="2052281"/>
                      <a:pt x="103691" y="2031390"/>
                    </a:cubicBezTo>
                    <a:cubicBezTo>
                      <a:pt x="103691" y="2020944"/>
                      <a:pt x="107426" y="2013599"/>
                      <a:pt x="113433" y="2010172"/>
                    </a:cubicBezTo>
                    <a:close/>
                    <a:moveTo>
                      <a:pt x="9742" y="1949684"/>
                    </a:moveTo>
                    <a:cubicBezTo>
                      <a:pt x="15750" y="1946256"/>
                      <a:pt x="24031" y="1946746"/>
                      <a:pt x="33123" y="1951969"/>
                    </a:cubicBezTo>
                    <a:cubicBezTo>
                      <a:pt x="51308" y="1962414"/>
                      <a:pt x="65597" y="1987876"/>
                      <a:pt x="65597" y="2009421"/>
                    </a:cubicBezTo>
                    <a:cubicBezTo>
                      <a:pt x="65597" y="2030313"/>
                      <a:pt x="51308" y="2038800"/>
                      <a:pt x="33123" y="2028354"/>
                    </a:cubicBezTo>
                    <a:cubicBezTo>
                      <a:pt x="14938" y="2017255"/>
                      <a:pt x="0" y="1992446"/>
                      <a:pt x="0" y="1970902"/>
                    </a:cubicBezTo>
                    <a:cubicBezTo>
                      <a:pt x="0" y="1960456"/>
                      <a:pt x="3735" y="1953111"/>
                      <a:pt x="9742" y="1949684"/>
                    </a:cubicBezTo>
                    <a:close/>
                    <a:moveTo>
                      <a:pt x="886057" y="1833964"/>
                    </a:moveTo>
                    <a:cubicBezTo>
                      <a:pt x="891691" y="1837106"/>
                      <a:pt x="895121" y="1844035"/>
                      <a:pt x="895121" y="1854026"/>
                    </a:cubicBezTo>
                    <a:cubicBezTo>
                      <a:pt x="895121" y="1874007"/>
                      <a:pt x="881402" y="1897855"/>
                      <a:pt x="863764" y="1908168"/>
                    </a:cubicBezTo>
                    <a:cubicBezTo>
                      <a:pt x="846126" y="1917836"/>
                      <a:pt x="832407" y="1909457"/>
                      <a:pt x="832407" y="1890120"/>
                    </a:cubicBezTo>
                    <a:cubicBezTo>
                      <a:pt x="832407" y="1870139"/>
                      <a:pt x="846126" y="1846291"/>
                      <a:pt x="863764" y="1836623"/>
                    </a:cubicBezTo>
                    <a:cubicBezTo>
                      <a:pt x="872583" y="1831466"/>
                      <a:pt x="880422" y="1830822"/>
                      <a:pt x="886057" y="1833964"/>
                    </a:cubicBezTo>
                    <a:close/>
                    <a:moveTo>
                      <a:pt x="986849" y="1776331"/>
                    </a:moveTo>
                    <a:cubicBezTo>
                      <a:pt x="992460" y="1779576"/>
                      <a:pt x="995925" y="1786554"/>
                      <a:pt x="995925" y="1796615"/>
                    </a:cubicBezTo>
                    <a:cubicBezTo>
                      <a:pt x="995925" y="1816737"/>
                      <a:pt x="982063" y="1840753"/>
                      <a:pt x="964902" y="1850489"/>
                    </a:cubicBezTo>
                    <a:cubicBezTo>
                      <a:pt x="947080" y="1860225"/>
                      <a:pt x="933218" y="1852436"/>
                      <a:pt x="933218" y="1832964"/>
                    </a:cubicBezTo>
                    <a:cubicBezTo>
                      <a:pt x="933218" y="1812842"/>
                      <a:pt x="947080" y="1788177"/>
                      <a:pt x="964902" y="1778441"/>
                    </a:cubicBezTo>
                    <a:cubicBezTo>
                      <a:pt x="973483" y="1773573"/>
                      <a:pt x="981238" y="1773086"/>
                      <a:pt x="986849" y="1776331"/>
                    </a:cubicBezTo>
                    <a:close/>
                    <a:moveTo>
                      <a:pt x="1087678" y="1718968"/>
                    </a:moveTo>
                    <a:cubicBezTo>
                      <a:pt x="1093312" y="1722295"/>
                      <a:pt x="1096742" y="1729272"/>
                      <a:pt x="1096742" y="1739009"/>
                    </a:cubicBezTo>
                    <a:cubicBezTo>
                      <a:pt x="1096742" y="1759131"/>
                      <a:pt x="1083023" y="1783147"/>
                      <a:pt x="1065385" y="1792883"/>
                    </a:cubicBezTo>
                    <a:cubicBezTo>
                      <a:pt x="1047747" y="1802619"/>
                      <a:pt x="1034028" y="1794830"/>
                      <a:pt x="1034028" y="1774709"/>
                    </a:cubicBezTo>
                    <a:cubicBezTo>
                      <a:pt x="1034028" y="1755236"/>
                      <a:pt x="1047747" y="1731220"/>
                      <a:pt x="1065385" y="1720835"/>
                    </a:cubicBezTo>
                    <a:cubicBezTo>
                      <a:pt x="1074204" y="1715966"/>
                      <a:pt x="1082043" y="1715642"/>
                      <a:pt x="1087678" y="1718968"/>
                    </a:cubicBezTo>
                    <a:close/>
                    <a:moveTo>
                      <a:pt x="113433" y="1708065"/>
                    </a:moveTo>
                    <a:cubicBezTo>
                      <a:pt x="119441" y="1704637"/>
                      <a:pt x="127722" y="1705127"/>
                      <a:pt x="136814" y="1710676"/>
                    </a:cubicBezTo>
                    <a:cubicBezTo>
                      <a:pt x="154999" y="1720469"/>
                      <a:pt x="169288" y="1746584"/>
                      <a:pt x="169288" y="1767476"/>
                    </a:cubicBezTo>
                    <a:cubicBezTo>
                      <a:pt x="169288" y="1788368"/>
                      <a:pt x="154999" y="1796855"/>
                      <a:pt x="136814" y="1786409"/>
                    </a:cubicBezTo>
                    <a:cubicBezTo>
                      <a:pt x="118629" y="1775963"/>
                      <a:pt x="103691" y="1750501"/>
                      <a:pt x="103691" y="1728957"/>
                    </a:cubicBezTo>
                    <a:cubicBezTo>
                      <a:pt x="103691" y="1718837"/>
                      <a:pt x="107426" y="1711492"/>
                      <a:pt x="113433" y="1708065"/>
                    </a:cubicBezTo>
                    <a:close/>
                    <a:moveTo>
                      <a:pt x="9742" y="1647281"/>
                    </a:moveTo>
                    <a:cubicBezTo>
                      <a:pt x="15750" y="1643795"/>
                      <a:pt x="24031" y="1644281"/>
                      <a:pt x="33123" y="1649469"/>
                    </a:cubicBezTo>
                    <a:cubicBezTo>
                      <a:pt x="51308" y="1659846"/>
                      <a:pt x="65597" y="1685788"/>
                      <a:pt x="65597" y="1706541"/>
                    </a:cubicBezTo>
                    <a:cubicBezTo>
                      <a:pt x="65597" y="1727943"/>
                      <a:pt x="51308" y="1736374"/>
                      <a:pt x="33123" y="1725349"/>
                    </a:cubicBezTo>
                    <a:cubicBezTo>
                      <a:pt x="14938" y="1714972"/>
                      <a:pt x="0" y="1689679"/>
                      <a:pt x="0" y="1668926"/>
                    </a:cubicBezTo>
                    <a:cubicBezTo>
                      <a:pt x="0" y="1658225"/>
                      <a:pt x="3735" y="1650767"/>
                      <a:pt x="9742" y="1647281"/>
                    </a:cubicBezTo>
                    <a:close/>
                    <a:moveTo>
                      <a:pt x="113433" y="1583887"/>
                    </a:moveTo>
                    <a:cubicBezTo>
                      <a:pt x="119441" y="1580459"/>
                      <a:pt x="127722" y="1580949"/>
                      <a:pt x="136814" y="1586172"/>
                    </a:cubicBezTo>
                    <a:cubicBezTo>
                      <a:pt x="154999" y="1596617"/>
                      <a:pt x="169288" y="1622079"/>
                      <a:pt x="169288" y="1642971"/>
                    </a:cubicBezTo>
                    <a:cubicBezTo>
                      <a:pt x="169288" y="1664516"/>
                      <a:pt x="154999" y="1673003"/>
                      <a:pt x="136814" y="1662557"/>
                    </a:cubicBezTo>
                    <a:cubicBezTo>
                      <a:pt x="118629" y="1652111"/>
                      <a:pt x="103691" y="1626649"/>
                      <a:pt x="103691" y="1605105"/>
                    </a:cubicBezTo>
                    <a:cubicBezTo>
                      <a:pt x="103691" y="1594659"/>
                      <a:pt x="107426" y="1587314"/>
                      <a:pt x="113433" y="1583887"/>
                    </a:cubicBezTo>
                    <a:close/>
                    <a:moveTo>
                      <a:pt x="9742" y="1523751"/>
                    </a:moveTo>
                    <a:cubicBezTo>
                      <a:pt x="15750" y="1520265"/>
                      <a:pt x="24031" y="1520751"/>
                      <a:pt x="33123" y="1526264"/>
                    </a:cubicBezTo>
                    <a:cubicBezTo>
                      <a:pt x="51308" y="1536641"/>
                      <a:pt x="65597" y="1561934"/>
                      <a:pt x="65597" y="1583336"/>
                    </a:cubicBezTo>
                    <a:cubicBezTo>
                      <a:pt x="65597" y="1604089"/>
                      <a:pt x="51308" y="1612520"/>
                      <a:pt x="33123" y="1602144"/>
                    </a:cubicBezTo>
                    <a:cubicBezTo>
                      <a:pt x="14938" y="1591767"/>
                      <a:pt x="0" y="1566474"/>
                      <a:pt x="0" y="1545072"/>
                    </a:cubicBezTo>
                    <a:cubicBezTo>
                      <a:pt x="0" y="1534695"/>
                      <a:pt x="3735" y="1527237"/>
                      <a:pt x="9742" y="1523751"/>
                    </a:cubicBezTo>
                    <a:close/>
                    <a:moveTo>
                      <a:pt x="886057" y="1407652"/>
                    </a:moveTo>
                    <a:cubicBezTo>
                      <a:pt x="891691" y="1410897"/>
                      <a:pt x="895121" y="1417875"/>
                      <a:pt x="895121" y="1427936"/>
                    </a:cubicBezTo>
                    <a:cubicBezTo>
                      <a:pt x="895121" y="1448058"/>
                      <a:pt x="881402" y="1472074"/>
                      <a:pt x="863764" y="1481810"/>
                    </a:cubicBezTo>
                    <a:cubicBezTo>
                      <a:pt x="846126" y="1491546"/>
                      <a:pt x="832407" y="1483757"/>
                      <a:pt x="832407" y="1463636"/>
                    </a:cubicBezTo>
                    <a:cubicBezTo>
                      <a:pt x="832407" y="1444163"/>
                      <a:pt x="846126" y="1419498"/>
                      <a:pt x="863764" y="1409762"/>
                    </a:cubicBezTo>
                    <a:cubicBezTo>
                      <a:pt x="872583" y="1404894"/>
                      <a:pt x="880422" y="1404407"/>
                      <a:pt x="886057" y="1407652"/>
                    </a:cubicBezTo>
                    <a:close/>
                    <a:moveTo>
                      <a:pt x="986849" y="1347167"/>
                    </a:moveTo>
                    <a:cubicBezTo>
                      <a:pt x="992460" y="1350412"/>
                      <a:pt x="995925" y="1357390"/>
                      <a:pt x="995925" y="1367451"/>
                    </a:cubicBezTo>
                    <a:cubicBezTo>
                      <a:pt x="995925" y="1386923"/>
                      <a:pt x="982063" y="1411589"/>
                      <a:pt x="964902" y="1421325"/>
                    </a:cubicBezTo>
                    <a:cubicBezTo>
                      <a:pt x="947080" y="1431061"/>
                      <a:pt x="933218" y="1423272"/>
                      <a:pt x="933218" y="1403151"/>
                    </a:cubicBezTo>
                    <a:cubicBezTo>
                      <a:pt x="933218" y="1383029"/>
                      <a:pt x="947080" y="1359013"/>
                      <a:pt x="964902" y="1349277"/>
                    </a:cubicBezTo>
                    <a:cubicBezTo>
                      <a:pt x="973483" y="1344409"/>
                      <a:pt x="981238" y="1343922"/>
                      <a:pt x="986849" y="1347167"/>
                    </a:cubicBezTo>
                    <a:close/>
                    <a:moveTo>
                      <a:pt x="1087678" y="1289910"/>
                    </a:moveTo>
                    <a:cubicBezTo>
                      <a:pt x="1093312" y="1293214"/>
                      <a:pt x="1096742" y="1300304"/>
                      <a:pt x="1096742" y="1310294"/>
                    </a:cubicBezTo>
                    <a:cubicBezTo>
                      <a:pt x="1096742" y="1329631"/>
                      <a:pt x="1083023" y="1353479"/>
                      <a:pt x="1065385" y="1363147"/>
                    </a:cubicBezTo>
                    <a:cubicBezTo>
                      <a:pt x="1047747" y="1373460"/>
                      <a:pt x="1034028" y="1365081"/>
                      <a:pt x="1034028" y="1345744"/>
                    </a:cubicBezTo>
                    <a:cubicBezTo>
                      <a:pt x="1034028" y="1325763"/>
                      <a:pt x="1047747" y="1301915"/>
                      <a:pt x="1065385" y="1292247"/>
                    </a:cubicBezTo>
                    <a:cubicBezTo>
                      <a:pt x="1074204" y="1287090"/>
                      <a:pt x="1082043" y="1286607"/>
                      <a:pt x="1087678" y="1289910"/>
                    </a:cubicBezTo>
                    <a:close/>
                    <a:moveTo>
                      <a:pt x="113433" y="1278656"/>
                    </a:moveTo>
                    <a:cubicBezTo>
                      <a:pt x="119441" y="1275147"/>
                      <a:pt x="127722" y="1275637"/>
                      <a:pt x="136814" y="1280860"/>
                    </a:cubicBezTo>
                    <a:cubicBezTo>
                      <a:pt x="154999" y="1291305"/>
                      <a:pt x="169288" y="1316767"/>
                      <a:pt x="169288" y="1338312"/>
                    </a:cubicBezTo>
                    <a:cubicBezTo>
                      <a:pt x="169288" y="1359204"/>
                      <a:pt x="154999" y="1367691"/>
                      <a:pt x="136814" y="1357245"/>
                    </a:cubicBezTo>
                    <a:cubicBezTo>
                      <a:pt x="118629" y="1346799"/>
                      <a:pt x="103691" y="1321337"/>
                      <a:pt x="103691" y="1300446"/>
                    </a:cubicBezTo>
                    <a:cubicBezTo>
                      <a:pt x="103691" y="1289674"/>
                      <a:pt x="107426" y="1282166"/>
                      <a:pt x="113433" y="1278656"/>
                    </a:cubicBezTo>
                    <a:close/>
                    <a:moveTo>
                      <a:pt x="9742" y="1218088"/>
                    </a:moveTo>
                    <a:cubicBezTo>
                      <a:pt x="15750" y="1214660"/>
                      <a:pt x="24031" y="1215150"/>
                      <a:pt x="33123" y="1220373"/>
                    </a:cubicBezTo>
                    <a:cubicBezTo>
                      <a:pt x="51308" y="1230818"/>
                      <a:pt x="65597" y="1256933"/>
                      <a:pt x="65597" y="1277825"/>
                    </a:cubicBezTo>
                    <a:cubicBezTo>
                      <a:pt x="65597" y="1298717"/>
                      <a:pt x="51308" y="1307204"/>
                      <a:pt x="33123" y="1296758"/>
                    </a:cubicBezTo>
                    <a:cubicBezTo>
                      <a:pt x="14938" y="1286312"/>
                      <a:pt x="0" y="1260850"/>
                      <a:pt x="0" y="1239306"/>
                    </a:cubicBezTo>
                    <a:cubicBezTo>
                      <a:pt x="0" y="1228860"/>
                      <a:pt x="3735" y="1221515"/>
                      <a:pt x="9742" y="1218088"/>
                    </a:cubicBezTo>
                    <a:close/>
                    <a:moveTo>
                      <a:pt x="113433" y="1154721"/>
                    </a:moveTo>
                    <a:cubicBezTo>
                      <a:pt x="119441" y="1151293"/>
                      <a:pt x="127722" y="1151783"/>
                      <a:pt x="136814" y="1157006"/>
                    </a:cubicBezTo>
                    <a:cubicBezTo>
                      <a:pt x="154999" y="1167451"/>
                      <a:pt x="169288" y="1192913"/>
                      <a:pt x="169288" y="1214458"/>
                    </a:cubicBezTo>
                    <a:cubicBezTo>
                      <a:pt x="169288" y="1235350"/>
                      <a:pt x="154999" y="1243837"/>
                      <a:pt x="136814" y="1232738"/>
                    </a:cubicBezTo>
                    <a:cubicBezTo>
                      <a:pt x="118629" y="1222945"/>
                      <a:pt x="103691" y="1196830"/>
                      <a:pt x="103691" y="1175939"/>
                    </a:cubicBezTo>
                    <a:cubicBezTo>
                      <a:pt x="103691" y="1165493"/>
                      <a:pt x="107426" y="1158148"/>
                      <a:pt x="113433" y="1154721"/>
                    </a:cubicBezTo>
                    <a:close/>
                    <a:moveTo>
                      <a:pt x="9742" y="1094235"/>
                    </a:moveTo>
                    <a:cubicBezTo>
                      <a:pt x="15750" y="1090807"/>
                      <a:pt x="24031" y="1091297"/>
                      <a:pt x="33123" y="1096520"/>
                    </a:cubicBezTo>
                    <a:cubicBezTo>
                      <a:pt x="51308" y="1106965"/>
                      <a:pt x="65597" y="1132427"/>
                      <a:pt x="65597" y="1153319"/>
                    </a:cubicBezTo>
                    <a:cubicBezTo>
                      <a:pt x="65597" y="1174864"/>
                      <a:pt x="51308" y="1183351"/>
                      <a:pt x="33123" y="1172905"/>
                    </a:cubicBezTo>
                    <a:cubicBezTo>
                      <a:pt x="14938" y="1162459"/>
                      <a:pt x="0" y="1136344"/>
                      <a:pt x="0" y="1115453"/>
                    </a:cubicBezTo>
                    <a:cubicBezTo>
                      <a:pt x="0" y="1105007"/>
                      <a:pt x="3735" y="1097662"/>
                      <a:pt x="9742" y="1094235"/>
                    </a:cubicBezTo>
                    <a:close/>
                    <a:moveTo>
                      <a:pt x="886057" y="978676"/>
                    </a:moveTo>
                    <a:cubicBezTo>
                      <a:pt x="891691" y="981980"/>
                      <a:pt x="895121" y="988909"/>
                      <a:pt x="895121" y="998577"/>
                    </a:cubicBezTo>
                    <a:cubicBezTo>
                      <a:pt x="895121" y="1018558"/>
                      <a:pt x="881402" y="1042406"/>
                      <a:pt x="863764" y="1052074"/>
                    </a:cubicBezTo>
                    <a:cubicBezTo>
                      <a:pt x="846126" y="1062387"/>
                      <a:pt x="832407" y="1054008"/>
                      <a:pt x="832407" y="1034671"/>
                    </a:cubicBezTo>
                    <a:cubicBezTo>
                      <a:pt x="832407" y="1014690"/>
                      <a:pt x="846126" y="990842"/>
                      <a:pt x="863764" y="980529"/>
                    </a:cubicBezTo>
                    <a:cubicBezTo>
                      <a:pt x="872583" y="975695"/>
                      <a:pt x="880422" y="975373"/>
                      <a:pt x="886057" y="978676"/>
                    </a:cubicBezTo>
                    <a:close/>
                    <a:moveTo>
                      <a:pt x="986849" y="921070"/>
                    </a:moveTo>
                    <a:cubicBezTo>
                      <a:pt x="992460" y="924374"/>
                      <a:pt x="995925" y="931303"/>
                      <a:pt x="995925" y="940971"/>
                    </a:cubicBezTo>
                    <a:cubicBezTo>
                      <a:pt x="995925" y="960952"/>
                      <a:pt x="982063" y="984800"/>
                      <a:pt x="964902" y="994468"/>
                    </a:cubicBezTo>
                    <a:cubicBezTo>
                      <a:pt x="947080" y="1004781"/>
                      <a:pt x="933218" y="996402"/>
                      <a:pt x="933218" y="977065"/>
                    </a:cubicBezTo>
                    <a:cubicBezTo>
                      <a:pt x="933218" y="957084"/>
                      <a:pt x="947080" y="933236"/>
                      <a:pt x="964902" y="922923"/>
                    </a:cubicBezTo>
                    <a:cubicBezTo>
                      <a:pt x="973483" y="918089"/>
                      <a:pt x="981238" y="917767"/>
                      <a:pt x="986849" y="921070"/>
                    </a:cubicBezTo>
                    <a:close/>
                    <a:moveTo>
                      <a:pt x="1087678" y="860720"/>
                    </a:moveTo>
                    <a:cubicBezTo>
                      <a:pt x="1093312" y="863965"/>
                      <a:pt x="1096742" y="870943"/>
                      <a:pt x="1096742" y="880679"/>
                    </a:cubicBezTo>
                    <a:cubicBezTo>
                      <a:pt x="1096742" y="900801"/>
                      <a:pt x="1083023" y="924817"/>
                      <a:pt x="1065385" y="934553"/>
                    </a:cubicBezTo>
                    <a:cubicBezTo>
                      <a:pt x="1047747" y="944289"/>
                      <a:pt x="1034028" y="936500"/>
                      <a:pt x="1034028" y="916379"/>
                    </a:cubicBezTo>
                    <a:cubicBezTo>
                      <a:pt x="1034028" y="896906"/>
                      <a:pt x="1047747" y="872890"/>
                      <a:pt x="1065385" y="863154"/>
                    </a:cubicBezTo>
                    <a:cubicBezTo>
                      <a:pt x="1074204" y="857961"/>
                      <a:pt x="1082043" y="857474"/>
                      <a:pt x="1087678" y="860720"/>
                    </a:cubicBezTo>
                    <a:close/>
                    <a:moveTo>
                      <a:pt x="113433" y="852371"/>
                    </a:moveTo>
                    <a:cubicBezTo>
                      <a:pt x="119441" y="848862"/>
                      <a:pt x="127722" y="849352"/>
                      <a:pt x="136814" y="854575"/>
                    </a:cubicBezTo>
                    <a:cubicBezTo>
                      <a:pt x="154999" y="865673"/>
                      <a:pt x="169288" y="891135"/>
                      <a:pt x="169288" y="912027"/>
                    </a:cubicBezTo>
                    <a:cubicBezTo>
                      <a:pt x="169288" y="932919"/>
                      <a:pt x="154999" y="941406"/>
                      <a:pt x="136814" y="930960"/>
                    </a:cubicBezTo>
                    <a:cubicBezTo>
                      <a:pt x="118629" y="920514"/>
                      <a:pt x="103691" y="895052"/>
                      <a:pt x="103691" y="874161"/>
                    </a:cubicBezTo>
                    <a:cubicBezTo>
                      <a:pt x="103691" y="863389"/>
                      <a:pt x="107426" y="855881"/>
                      <a:pt x="113433" y="852371"/>
                    </a:cubicBezTo>
                    <a:close/>
                    <a:moveTo>
                      <a:pt x="9742" y="791884"/>
                    </a:moveTo>
                    <a:cubicBezTo>
                      <a:pt x="15750" y="788375"/>
                      <a:pt x="24031" y="788865"/>
                      <a:pt x="33123" y="794088"/>
                    </a:cubicBezTo>
                    <a:cubicBezTo>
                      <a:pt x="51308" y="804533"/>
                      <a:pt x="65597" y="830648"/>
                      <a:pt x="65597" y="851540"/>
                    </a:cubicBezTo>
                    <a:cubicBezTo>
                      <a:pt x="65597" y="872432"/>
                      <a:pt x="51308" y="880919"/>
                      <a:pt x="33123" y="870473"/>
                    </a:cubicBezTo>
                    <a:cubicBezTo>
                      <a:pt x="14938" y="860027"/>
                      <a:pt x="0" y="833912"/>
                      <a:pt x="0" y="813674"/>
                    </a:cubicBezTo>
                    <a:cubicBezTo>
                      <a:pt x="0" y="802902"/>
                      <a:pt x="3735" y="795394"/>
                      <a:pt x="9742" y="791884"/>
                    </a:cubicBezTo>
                    <a:close/>
                    <a:moveTo>
                      <a:pt x="113433" y="728436"/>
                    </a:moveTo>
                    <a:cubicBezTo>
                      <a:pt x="119441" y="725008"/>
                      <a:pt x="127722" y="725498"/>
                      <a:pt x="136814" y="730721"/>
                    </a:cubicBezTo>
                    <a:cubicBezTo>
                      <a:pt x="154999" y="741166"/>
                      <a:pt x="169288" y="766628"/>
                      <a:pt x="169288" y="788173"/>
                    </a:cubicBezTo>
                    <a:cubicBezTo>
                      <a:pt x="169288" y="809065"/>
                      <a:pt x="154999" y="817552"/>
                      <a:pt x="136814" y="807106"/>
                    </a:cubicBezTo>
                    <a:cubicBezTo>
                      <a:pt x="118629" y="796660"/>
                      <a:pt x="103691" y="770545"/>
                      <a:pt x="103691" y="749654"/>
                    </a:cubicBezTo>
                    <a:cubicBezTo>
                      <a:pt x="103691" y="739208"/>
                      <a:pt x="107426" y="731863"/>
                      <a:pt x="113433" y="728436"/>
                    </a:cubicBezTo>
                    <a:close/>
                    <a:moveTo>
                      <a:pt x="9742" y="667951"/>
                    </a:moveTo>
                    <a:cubicBezTo>
                      <a:pt x="15750" y="664523"/>
                      <a:pt x="24031" y="665013"/>
                      <a:pt x="33123" y="670236"/>
                    </a:cubicBezTo>
                    <a:cubicBezTo>
                      <a:pt x="51308" y="680681"/>
                      <a:pt x="65597" y="706143"/>
                      <a:pt x="65597" y="727688"/>
                    </a:cubicBezTo>
                    <a:cubicBezTo>
                      <a:pt x="65597" y="747927"/>
                      <a:pt x="51308" y="757067"/>
                      <a:pt x="33123" y="746621"/>
                    </a:cubicBezTo>
                    <a:cubicBezTo>
                      <a:pt x="14938" y="736175"/>
                      <a:pt x="0" y="710060"/>
                      <a:pt x="0" y="689169"/>
                    </a:cubicBezTo>
                    <a:cubicBezTo>
                      <a:pt x="0" y="678723"/>
                      <a:pt x="3735" y="671378"/>
                      <a:pt x="9742" y="667951"/>
                    </a:cubicBezTo>
                    <a:close/>
                    <a:moveTo>
                      <a:pt x="886057" y="549322"/>
                    </a:moveTo>
                    <a:cubicBezTo>
                      <a:pt x="891691" y="552567"/>
                      <a:pt x="895121" y="559545"/>
                      <a:pt x="895121" y="569606"/>
                    </a:cubicBezTo>
                    <a:cubicBezTo>
                      <a:pt x="895121" y="589728"/>
                      <a:pt x="881402" y="613744"/>
                      <a:pt x="863764" y="623480"/>
                    </a:cubicBezTo>
                    <a:cubicBezTo>
                      <a:pt x="854945" y="628348"/>
                      <a:pt x="847106" y="628835"/>
                      <a:pt x="841471" y="625671"/>
                    </a:cubicBezTo>
                    <a:lnTo>
                      <a:pt x="835866" y="613478"/>
                    </a:lnTo>
                    <a:lnTo>
                      <a:pt x="585767" y="757574"/>
                    </a:lnTo>
                    <a:lnTo>
                      <a:pt x="577620" y="784367"/>
                    </a:lnTo>
                    <a:cubicBezTo>
                      <a:pt x="571904" y="794035"/>
                      <a:pt x="564065" y="802414"/>
                      <a:pt x="555572" y="807248"/>
                    </a:cubicBezTo>
                    <a:cubicBezTo>
                      <a:pt x="537934" y="817561"/>
                      <a:pt x="524215" y="809182"/>
                      <a:pt x="524215" y="789845"/>
                    </a:cubicBezTo>
                    <a:cubicBezTo>
                      <a:pt x="524215" y="769864"/>
                      <a:pt x="537934" y="746016"/>
                      <a:pt x="555572" y="735703"/>
                    </a:cubicBezTo>
                    <a:cubicBezTo>
                      <a:pt x="564065" y="730869"/>
                      <a:pt x="571904" y="730547"/>
                      <a:pt x="577620" y="733850"/>
                    </a:cubicBezTo>
                    <a:lnTo>
                      <a:pt x="582874" y="745083"/>
                    </a:lnTo>
                    <a:lnTo>
                      <a:pt x="834107" y="600112"/>
                    </a:lnTo>
                    <a:lnTo>
                      <a:pt x="841471" y="574799"/>
                    </a:lnTo>
                    <a:cubicBezTo>
                      <a:pt x="847106" y="564901"/>
                      <a:pt x="854945" y="556300"/>
                      <a:pt x="863764" y="551432"/>
                    </a:cubicBezTo>
                    <a:cubicBezTo>
                      <a:pt x="872583" y="546564"/>
                      <a:pt x="880422" y="546077"/>
                      <a:pt x="886057" y="549322"/>
                    </a:cubicBezTo>
                    <a:close/>
                    <a:moveTo>
                      <a:pt x="986849" y="492041"/>
                    </a:moveTo>
                    <a:cubicBezTo>
                      <a:pt x="992460" y="495286"/>
                      <a:pt x="995925" y="502264"/>
                      <a:pt x="995925" y="512000"/>
                    </a:cubicBezTo>
                    <a:cubicBezTo>
                      <a:pt x="995925" y="532122"/>
                      <a:pt x="982063" y="555489"/>
                      <a:pt x="964902" y="565874"/>
                    </a:cubicBezTo>
                    <a:cubicBezTo>
                      <a:pt x="947080" y="575610"/>
                      <a:pt x="933218" y="567821"/>
                      <a:pt x="933218" y="547700"/>
                    </a:cubicBezTo>
                    <a:cubicBezTo>
                      <a:pt x="933218" y="528227"/>
                      <a:pt x="947080" y="504860"/>
                      <a:pt x="964902" y="494475"/>
                    </a:cubicBezTo>
                    <a:cubicBezTo>
                      <a:pt x="973483" y="489282"/>
                      <a:pt x="981238" y="488795"/>
                      <a:pt x="986849" y="492041"/>
                    </a:cubicBezTo>
                    <a:close/>
                    <a:moveTo>
                      <a:pt x="1087678" y="434164"/>
                    </a:moveTo>
                    <a:cubicBezTo>
                      <a:pt x="1093312" y="437433"/>
                      <a:pt x="1096742" y="444460"/>
                      <a:pt x="1096742" y="454592"/>
                    </a:cubicBezTo>
                    <a:cubicBezTo>
                      <a:pt x="1096742" y="474202"/>
                      <a:pt x="1083023" y="498389"/>
                      <a:pt x="1065385" y="508194"/>
                    </a:cubicBezTo>
                    <a:cubicBezTo>
                      <a:pt x="1047747" y="518000"/>
                      <a:pt x="1034028" y="509502"/>
                      <a:pt x="1034028" y="490545"/>
                    </a:cubicBezTo>
                    <a:cubicBezTo>
                      <a:pt x="1034028" y="470280"/>
                      <a:pt x="1047747" y="446094"/>
                      <a:pt x="1065385" y="436289"/>
                    </a:cubicBezTo>
                    <a:cubicBezTo>
                      <a:pt x="1074204" y="431386"/>
                      <a:pt x="1082043" y="430896"/>
                      <a:pt x="1087678" y="434164"/>
                    </a:cubicBezTo>
                    <a:close/>
                    <a:moveTo>
                      <a:pt x="113433" y="426141"/>
                    </a:moveTo>
                    <a:cubicBezTo>
                      <a:pt x="119441" y="422773"/>
                      <a:pt x="127722" y="423430"/>
                      <a:pt x="136814" y="429017"/>
                    </a:cubicBezTo>
                    <a:cubicBezTo>
                      <a:pt x="154999" y="438876"/>
                      <a:pt x="169288" y="465166"/>
                      <a:pt x="169288" y="486198"/>
                    </a:cubicBezTo>
                    <a:cubicBezTo>
                      <a:pt x="169288" y="506572"/>
                      <a:pt x="154999" y="515117"/>
                      <a:pt x="136814" y="505258"/>
                    </a:cubicBezTo>
                    <a:cubicBezTo>
                      <a:pt x="118629" y="494742"/>
                      <a:pt x="103691" y="469109"/>
                      <a:pt x="103691" y="447420"/>
                    </a:cubicBezTo>
                    <a:cubicBezTo>
                      <a:pt x="103691" y="436904"/>
                      <a:pt x="107426" y="429510"/>
                      <a:pt x="113433" y="426141"/>
                    </a:cubicBezTo>
                    <a:close/>
                    <a:moveTo>
                      <a:pt x="9742" y="368399"/>
                    </a:moveTo>
                    <a:cubicBezTo>
                      <a:pt x="15750" y="364971"/>
                      <a:pt x="24031" y="365461"/>
                      <a:pt x="33123" y="370684"/>
                    </a:cubicBezTo>
                    <a:cubicBezTo>
                      <a:pt x="51308" y="381782"/>
                      <a:pt x="65597" y="406591"/>
                      <a:pt x="65597" y="428136"/>
                    </a:cubicBezTo>
                    <a:cubicBezTo>
                      <a:pt x="65597" y="449028"/>
                      <a:pt x="51308" y="457515"/>
                      <a:pt x="33123" y="447069"/>
                    </a:cubicBezTo>
                    <a:cubicBezTo>
                      <a:pt x="14938" y="436623"/>
                      <a:pt x="0" y="411161"/>
                      <a:pt x="0" y="389617"/>
                    </a:cubicBezTo>
                    <a:cubicBezTo>
                      <a:pt x="0" y="379171"/>
                      <a:pt x="3735" y="371826"/>
                      <a:pt x="9742" y="368399"/>
                    </a:cubicBezTo>
                    <a:close/>
                    <a:moveTo>
                      <a:pt x="113433" y="302205"/>
                    </a:moveTo>
                    <a:cubicBezTo>
                      <a:pt x="119441" y="298755"/>
                      <a:pt x="127722" y="299248"/>
                      <a:pt x="136814" y="304506"/>
                    </a:cubicBezTo>
                    <a:cubicBezTo>
                      <a:pt x="154999" y="315022"/>
                      <a:pt x="169288" y="340654"/>
                      <a:pt x="169288" y="361686"/>
                    </a:cubicBezTo>
                    <a:cubicBezTo>
                      <a:pt x="169288" y="383376"/>
                      <a:pt x="154999" y="391263"/>
                      <a:pt x="136814" y="381404"/>
                    </a:cubicBezTo>
                    <a:cubicBezTo>
                      <a:pt x="118629" y="370231"/>
                      <a:pt x="103691" y="344598"/>
                      <a:pt x="103691" y="323566"/>
                    </a:cubicBezTo>
                    <a:cubicBezTo>
                      <a:pt x="103691" y="313050"/>
                      <a:pt x="107426" y="305656"/>
                      <a:pt x="113433" y="302205"/>
                    </a:cubicBezTo>
                    <a:close/>
                    <a:moveTo>
                      <a:pt x="577620" y="290095"/>
                    </a:moveTo>
                    <a:cubicBezTo>
                      <a:pt x="583336" y="293340"/>
                      <a:pt x="586929" y="300318"/>
                      <a:pt x="586929" y="310379"/>
                    </a:cubicBezTo>
                    <a:cubicBezTo>
                      <a:pt x="586929" y="330501"/>
                      <a:pt x="572557" y="354517"/>
                      <a:pt x="555572" y="364253"/>
                    </a:cubicBezTo>
                    <a:cubicBezTo>
                      <a:pt x="537934" y="373989"/>
                      <a:pt x="524215" y="366200"/>
                      <a:pt x="524215" y="346079"/>
                    </a:cubicBezTo>
                    <a:cubicBezTo>
                      <a:pt x="524215" y="326606"/>
                      <a:pt x="537934" y="301941"/>
                      <a:pt x="555572" y="292205"/>
                    </a:cubicBezTo>
                    <a:cubicBezTo>
                      <a:pt x="564065" y="287337"/>
                      <a:pt x="571904" y="286850"/>
                      <a:pt x="577620" y="290095"/>
                    </a:cubicBezTo>
                    <a:close/>
                    <a:moveTo>
                      <a:pt x="9742" y="244545"/>
                    </a:moveTo>
                    <a:cubicBezTo>
                      <a:pt x="15750" y="241117"/>
                      <a:pt x="24031" y="241607"/>
                      <a:pt x="33123" y="246830"/>
                    </a:cubicBezTo>
                    <a:cubicBezTo>
                      <a:pt x="51308" y="257275"/>
                      <a:pt x="65597" y="282737"/>
                      <a:pt x="65597" y="303629"/>
                    </a:cubicBezTo>
                    <a:cubicBezTo>
                      <a:pt x="65597" y="325174"/>
                      <a:pt x="51308" y="333661"/>
                      <a:pt x="33123" y="323215"/>
                    </a:cubicBezTo>
                    <a:cubicBezTo>
                      <a:pt x="14938" y="312116"/>
                      <a:pt x="0" y="286654"/>
                      <a:pt x="0" y="265763"/>
                    </a:cubicBezTo>
                    <a:cubicBezTo>
                      <a:pt x="0" y="255317"/>
                      <a:pt x="3735" y="247972"/>
                      <a:pt x="9742" y="244545"/>
                    </a:cubicBezTo>
                    <a:close/>
                    <a:moveTo>
                      <a:pt x="886057" y="120105"/>
                    </a:moveTo>
                    <a:cubicBezTo>
                      <a:pt x="891691" y="123327"/>
                      <a:pt x="895121" y="130256"/>
                      <a:pt x="895121" y="140247"/>
                    </a:cubicBezTo>
                    <a:cubicBezTo>
                      <a:pt x="895121" y="160228"/>
                      <a:pt x="881402" y="184076"/>
                      <a:pt x="863764" y="193744"/>
                    </a:cubicBezTo>
                    <a:cubicBezTo>
                      <a:pt x="846126" y="204057"/>
                      <a:pt x="832407" y="195678"/>
                      <a:pt x="832407" y="175697"/>
                    </a:cubicBezTo>
                    <a:cubicBezTo>
                      <a:pt x="832407" y="156360"/>
                      <a:pt x="846126" y="132512"/>
                      <a:pt x="863764" y="122199"/>
                    </a:cubicBezTo>
                    <a:cubicBezTo>
                      <a:pt x="872583" y="117365"/>
                      <a:pt x="880422" y="116882"/>
                      <a:pt x="886057" y="120105"/>
                    </a:cubicBezTo>
                    <a:close/>
                    <a:moveTo>
                      <a:pt x="986849" y="62552"/>
                    </a:moveTo>
                    <a:cubicBezTo>
                      <a:pt x="992460" y="65797"/>
                      <a:pt x="995925" y="72775"/>
                      <a:pt x="995925" y="82836"/>
                    </a:cubicBezTo>
                    <a:cubicBezTo>
                      <a:pt x="995925" y="102308"/>
                      <a:pt x="982063" y="126974"/>
                      <a:pt x="964902" y="136710"/>
                    </a:cubicBezTo>
                    <a:cubicBezTo>
                      <a:pt x="947080" y="146446"/>
                      <a:pt x="933218" y="138657"/>
                      <a:pt x="933218" y="118536"/>
                    </a:cubicBezTo>
                    <a:cubicBezTo>
                      <a:pt x="933218" y="99063"/>
                      <a:pt x="947080" y="74398"/>
                      <a:pt x="964902" y="64662"/>
                    </a:cubicBezTo>
                    <a:cubicBezTo>
                      <a:pt x="973483" y="59794"/>
                      <a:pt x="981238" y="59307"/>
                      <a:pt x="986849" y="62552"/>
                    </a:cubicBezTo>
                    <a:close/>
                    <a:moveTo>
                      <a:pt x="1087678" y="2065"/>
                    </a:moveTo>
                    <a:cubicBezTo>
                      <a:pt x="1093312" y="5310"/>
                      <a:pt x="1096742" y="12288"/>
                      <a:pt x="1096742" y="22349"/>
                    </a:cubicBezTo>
                    <a:cubicBezTo>
                      <a:pt x="1096742" y="41821"/>
                      <a:pt x="1083023" y="66487"/>
                      <a:pt x="1065385" y="76223"/>
                    </a:cubicBezTo>
                    <a:cubicBezTo>
                      <a:pt x="1047747" y="85959"/>
                      <a:pt x="1034028" y="78170"/>
                      <a:pt x="1034028" y="58049"/>
                    </a:cubicBezTo>
                    <a:cubicBezTo>
                      <a:pt x="1034028" y="37927"/>
                      <a:pt x="1047747" y="13911"/>
                      <a:pt x="1065385" y="4175"/>
                    </a:cubicBezTo>
                    <a:cubicBezTo>
                      <a:pt x="1074204" y="-693"/>
                      <a:pt x="1082043" y="-1180"/>
                      <a:pt x="1087678" y="2065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2" name="Freeform 454">
                <a:extLst>
                  <a:ext uri="{FF2B5EF4-FFF2-40B4-BE49-F238E27FC236}">
                    <a16:creationId xmlns:a16="http://schemas.microsoft.com/office/drawing/2014/main" id="{4CFF5C6E-DDD3-C849-B2ED-2DA3716F9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2" y="5538823"/>
                <a:ext cx="852570" cy="492531"/>
              </a:xfrm>
              <a:custGeom>
                <a:avLst/>
                <a:gdLst>
                  <a:gd name="T0" fmla="*/ 591 w 1306"/>
                  <a:gd name="T1" fmla="*/ 733 h 754"/>
                  <a:gd name="T2" fmla="*/ 34 w 1306"/>
                  <a:gd name="T3" fmla="*/ 412 h 754"/>
                  <a:gd name="T4" fmla="*/ 34 w 1306"/>
                  <a:gd name="T5" fmla="*/ 412 h 754"/>
                  <a:gd name="T6" fmla="*/ 44 w 1306"/>
                  <a:gd name="T7" fmla="*/ 335 h 754"/>
                  <a:gd name="T8" fmla="*/ 581 w 1306"/>
                  <a:gd name="T9" fmla="*/ 25 h 754"/>
                  <a:gd name="T10" fmla="*/ 581 w 1306"/>
                  <a:gd name="T11" fmla="*/ 25 h 754"/>
                  <a:gd name="T12" fmla="*/ 714 w 1306"/>
                  <a:gd name="T13" fmla="*/ 20 h 754"/>
                  <a:gd name="T14" fmla="*/ 1271 w 1306"/>
                  <a:gd name="T15" fmla="*/ 341 h 754"/>
                  <a:gd name="T16" fmla="*/ 1271 w 1306"/>
                  <a:gd name="T17" fmla="*/ 341 h 754"/>
                  <a:gd name="T18" fmla="*/ 1261 w 1306"/>
                  <a:gd name="T19" fmla="*/ 418 h 754"/>
                  <a:gd name="T20" fmla="*/ 724 w 1306"/>
                  <a:gd name="T21" fmla="*/ 728 h 754"/>
                  <a:gd name="T22" fmla="*/ 724 w 1306"/>
                  <a:gd name="T23" fmla="*/ 728 h 754"/>
                  <a:gd name="T24" fmla="*/ 591 w 1306"/>
                  <a:gd name="T25" fmla="*/ 733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6" h="754">
                    <a:moveTo>
                      <a:pt x="591" y="733"/>
                    </a:moveTo>
                    <a:lnTo>
                      <a:pt x="34" y="412"/>
                    </a:lnTo>
                    <a:lnTo>
                      <a:pt x="34" y="412"/>
                    </a:lnTo>
                    <a:cubicBezTo>
                      <a:pt x="0" y="393"/>
                      <a:pt x="5" y="358"/>
                      <a:pt x="44" y="335"/>
                    </a:cubicBezTo>
                    <a:lnTo>
                      <a:pt x="581" y="25"/>
                    </a:lnTo>
                    <a:lnTo>
                      <a:pt x="581" y="25"/>
                    </a:lnTo>
                    <a:cubicBezTo>
                      <a:pt x="621" y="3"/>
                      <a:pt x="680" y="0"/>
                      <a:pt x="714" y="20"/>
                    </a:cubicBezTo>
                    <a:lnTo>
                      <a:pt x="1271" y="341"/>
                    </a:lnTo>
                    <a:lnTo>
                      <a:pt x="1271" y="341"/>
                    </a:lnTo>
                    <a:cubicBezTo>
                      <a:pt x="1305" y="361"/>
                      <a:pt x="1301" y="395"/>
                      <a:pt x="1261" y="418"/>
                    </a:cubicBezTo>
                    <a:lnTo>
                      <a:pt x="724" y="728"/>
                    </a:lnTo>
                    <a:lnTo>
                      <a:pt x="724" y="728"/>
                    </a:lnTo>
                    <a:cubicBezTo>
                      <a:pt x="684" y="751"/>
                      <a:pt x="625" y="753"/>
                      <a:pt x="591" y="733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3" name="Freeform 455">
                <a:extLst>
                  <a:ext uri="{FF2B5EF4-FFF2-40B4-BE49-F238E27FC236}">
                    <a16:creationId xmlns:a16="http://schemas.microsoft.com/office/drawing/2014/main" id="{27682767-04C3-4740-8362-E27A0421A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4371" y="5777888"/>
                <a:ext cx="118093" cy="69127"/>
              </a:xfrm>
              <a:custGeom>
                <a:avLst/>
                <a:gdLst>
                  <a:gd name="T0" fmla="*/ 82 w 182"/>
                  <a:gd name="T1" fmla="*/ 101 h 105"/>
                  <a:gd name="T2" fmla="*/ 5 w 182"/>
                  <a:gd name="T3" fmla="*/ 56 h 105"/>
                  <a:gd name="T4" fmla="*/ 5 w 182"/>
                  <a:gd name="T5" fmla="*/ 56 h 105"/>
                  <a:gd name="T6" fmla="*/ 6 w 182"/>
                  <a:gd name="T7" fmla="*/ 46 h 105"/>
                  <a:gd name="T8" fmla="*/ 81 w 182"/>
                  <a:gd name="T9" fmla="*/ 3 h 105"/>
                  <a:gd name="T10" fmla="*/ 81 w 182"/>
                  <a:gd name="T11" fmla="*/ 3 h 105"/>
                  <a:gd name="T12" fmla="*/ 99 w 182"/>
                  <a:gd name="T13" fmla="*/ 2 h 105"/>
                  <a:gd name="T14" fmla="*/ 176 w 182"/>
                  <a:gd name="T15" fmla="*/ 46 h 105"/>
                  <a:gd name="T16" fmla="*/ 176 w 182"/>
                  <a:gd name="T17" fmla="*/ 46 h 105"/>
                  <a:gd name="T18" fmla="*/ 175 w 182"/>
                  <a:gd name="T19" fmla="*/ 57 h 105"/>
                  <a:gd name="T20" fmla="*/ 101 w 182"/>
                  <a:gd name="T21" fmla="*/ 100 h 105"/>
                  <a:gd name="T22" fmla="*/ 101 w 182"/>
                  <a:gd name="T23" fmla="*/ 100 h 105"/>
                  <a:gd name="T24" fmla="*/ 82 w 182"/>
                  <a:gd name="T25" fmla="*/ 10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2" h="105">
                    <a:moveTo>
                      <a:pt x="82" y="101"/>
                    </a:moveTo>
                    <a:lnTo>
                      <a:pt x="5" y="56"/>
                    </a:lnTo>
                    <a:lnTo>
                      <a:pt x="5" y="56"/>
                    </a:lnTo>
                    <a:cubicBezTo>
                      <a:pt x="0" y="54"/>
                      <a:pt x="1" y="49"/>
                      <a:pt x="6" y="46"/>
                    </a:cubicBezTo>
                    <a:lnTo>
                      <a:pt x="81" y="3"/>
                    </a:lnTo>
                    <a:lnTo>
                      <a:pt x="81" y="3"/>
                    </a:lnTo>
                    <a:cubicBezTo>
                      <a:pt x="86" y="0"/>
                      <a:pt x="94" y="0"/>
                      <a:pt x="99" y="2"/>
                    </a:cubicBezTo>
                    <a:lnTo>
                      <a:pt x="176" y="46"/>
                    </a:lnTo>
                    <a:lnTo>
                      <a:pt x="176" y="46"/>
                    </a:lnTo>
                    <a:cubicBezTo>
                      <a:pt x="181" y="49"/>
                      <a:pt x="180" y="54"/>
                      <a:pt x="175" y="57"/>
                    </a:cubicBezTo>
                    <a:lnTo>
                      <a:pt x="101" y="100"/>
                    </a:lnTo>
                    <a:lnTo>
                      <a:pt x="101" y="100"/>
                    </a:lnTo>
                    <a:cubicBezTo>
                      <a:pt x="95" y="103"/>
                      <a:pt x="87" y="104"/>
                      <a:pt x="82" y="10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4" name="Freeform 456">
                <a:extLst>
                  <a:ext uri="{FF2B5EF4-FFF2-40B4-BE49-F238E27FC236}">
                    <a16:creationId xmlns:a16="http://schemas.microsoft.com/office/drawing/2014/main" id="{B9B24BAE-4682-4E40-BCCE-DB5D49B6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5693" y="5538824"/>
                <a:ext cx="849690" cy="270748"/>
              </a:xfrm>
              <a:custGeom>
                <a:avLst/>
                <a:gdLst>
                  <a:gd name="T0" fmla="*/ 34 w 1303"/>
                  <a:gd name="T1" fmla="*/ 412 h 415"/>
                  <a:gd name="T2" fmla="*/ 36 w 1303"/>
                  <a:gd name="T3" fmla="*/ 414 h 415"/>
                  <a:gd name="T4" fmla="*/ 36 w 1303"/>
                  <a:gd name="T5" fmla="*/ 414 h 415"/>
                  <a:gd name="T6" fmla="*/ 44 w 1303"/>
                  <a:gd name="T7" fmla="*/ 408 h 415"/>
                  <a:gd name="T8" fmla="*/ 581 w 1303"/>
                  <a:gd name="T9" fmla="*/ 98 h 415"/>
                  <a:gd name="T10" fmla="*/ 581 w 1303"/>
                  <a:gd name="T11" fmla="*/ 98 h 415"/>
                  <a:gd name="T12" fmla="*/ 714 w 1303"/>
                  <a:gd name="T13" fmla="*/ 92 h 415"/>
                  <a:gd name="T14" fmla="*/ 1269 w 1303"/>
                  <a:gd name="T15" fmla="*/ 412 h 415"/>
                  <a:gd name="T16" fmla="*/ 1269 w 1303"/>
                  <a:gd name="T17" fmla="*/ 412 h 415"/>
                  <a:gd name="T18" fmla="*/ 1271 w 1303"/>
                  <a:gd name="T19" fmla="*/ 341 h 415"/>
                  <a:gd name="T20" fmla="*/ 714 w 1303"/>
                  <a:gd name="T21" fmla="*/ 20 h 415"/>
                  <a:gd name="T22" fmla="*/ 714 w 1303"/>
                  <a:gd name="T23" fmla="*/ 20 h 415"/>
                  <a:gd name="T24" fmla="*/ 581 w 1303"/>
                  <a:gd name="T25" fmla="*/ 25 h 415"/>
                  <a:gd name="T26" fmla="*/ 44 w 1303"/>
                  <a:gd name="T27" fmla="*/ 335 h 415"/>
                  <a:gd name="T28" fmla="*/ 44 w 1303"/>
                  <a:gd name="T29" fmla="*/ 335 h 415"/>
                  <a:gd name="T30" fmla="*/ 34 w 1303"/>
                  <a:gd name="T31" fmla="*/ 41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03" h="415">
                    <a:moveTo>
                      <a:pt x="34" y="412"/>
                    </a:moveTo>
                    <a:lnTo>
                      <a:pt x="36" y="414"/>
                    </a:lnTo>
                    <a:lnTo>
                      <a:pt x="36" y="414"/>
                    </a:lnTo>
                    <a:cubicBezTo>
                      <a:pt x="38" y="412"/>
                      <a:pt x="41" y="409"/>
                      <a:pt x="44" y="408"/>
                    </a:cubicBezTo>
                    <a:lnTo>
                      <a:pt x="581" y="98"/>
                    </a:lnTo>
                    <a:lnTo>
                      <a:pt x="581" y="98"/>
                    </a:lnTo>
                    <a:cubicBezTo>
                      <a:pt x="621" y="75"/>
                      <a:pt x="680" y="73"/>
                      <a:pt x="714" y="92"/>
                    </a:cubicBezTo>
                    <a:lnTo>
                      <a:pt x="1269" y="412"/>
                    </a:lnTo>
                    <a:lnTo>
                      <a:pt x="1269" y="412"/>
                    </a:lnTo>
                    <a:cubicBezTo>
                      <a:pt x="1301" y="390"/>
                      <a:pt x="1302" y="359"/>
                      <a:pt x="1271" y="341"/>
                    </a:cubicBezTo>
                    <a:lnTo>
                      <a:pt x="714" y="20"/>
                    </a:lnTo>
                    <a:lnTo>
                      <a:pt x="714" y="20"/>
                    </a:lnTo>
                    <a:cubicBezTo>
                      <a:pt x="680" y="0"/>
                      <a:pt x="621" y="3"/>
                      <a:pt x="581" y="25"/>
                    </a:cubicBezTo>
                    <a:lnTo>
                      <a:pt x="44" y="335"/>
                    </a:lnTo>
                    <a:lnTo>
                      <a:pt x="44" y="335"/>
                    </a:lnTo>
                    <a:cubicBezTo>
                      <a:pt x="5" y="358"/>
                      <a:pt x="0" y="393"/>
                      <a:pt x="34" y="412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5" name="Freeform 481">
                <a:extLst>
                  <a:ext uri="{FF2B5EF4-FFF2-40B4-BE49-F238E27FC236}">
                    <a16:creationId xmlns:a16="http://schemas.microsoft.com/office/drawing/2014/main" id="{4FC5AB2C-6627-2A41-96A1-B1AC26286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51761" y="10225074"/>
                <a:ext cx="1618730" cy="936099"/>
              </a:xfrm>
              <a:custGeom>
                <a:avLst/>
                <a:gdLst>
                  <a:gd name="T0" fmla="*/ 1605 w 2477"/>
                  <a:gd name="T1" fmla="*/ 927 h 1431"/>
                  <a:gd name="T2" fmla="*/ 1605 w 2477"/>
                  <a:gd name="T3" fmla="*/ 927 h 1431"/>
                  <a:gd name="T4" fmla="*/ 872 w 2477"/>
                  <a:gd name="T5" fmla="*/ 927 h 1431"/>
                  <a:gd name="T6" fmla="*/ 872 w 2477"/>
                  <a:gd name="T7" fmla="*/ 927 h 1431"/>
                  <a:gd name="T8" fmla="*/ 872 w 2477"/>
                  <a:gd name="T9" fmla="*/ 503 h 1431"/>
                  <a:gd name="T10" fmla="*/ 872 w 2477"/>
                  <a:gd name="T11" fmla="*/ 503 h 1431"/>
                  <a:gd name="T12" fmla="*/ 1605 w 2477"/>
                  <a:gd name="T13" fmla="*/ 503 h 1431"/>
                  <a:gd name="T14" fmla="*/ 1605 w 2477"/>
                  <a:gd name="T15" fmla="*/ 503 h 1431"/>
                  <a:gd name="T16" fmla="*/ 1605 w 2477"/>
                  <a:gd name="T17" fmla="*/ 927 h 1431"/>
                  <a:gd name="T18" fmla="*/ 2036 w 2477"/>
                  <a:gd name="T19" fmla="*/ 255 h 1431"/>
                  <a:gd name="T20" fmla="*/ 2036 w 2477"/>
                  <a:gd name="T21" fmla="*/ 255 h 1431"/>
                  <a:gd name="T22" fmla="*/ 441 w 2477"/>
                  <a:gd name="T23" fmla="*/ 255 h 1431"/>
                  <a:gd name="T24" fmla="*/ 441 w 2477"/>
                  <a:gd name="T25" fmla="*/ 255 h 1431"/>
                  <a:gd name="T26" fmla="*/ 441 w 2477"/>
                  <a:gd name="T27" fmla="*/ 1175 h 1431"/>
                  <a:gd name="T28" fmla="*/ 441 w 2477"/>
                  <a:gd name="T29" fmla="*/ 1175 h 1431"/>
                  <a:gd name="T30" fmla="*/ 2036 w 2477"/>
                  <a:gd name="T31" fmla="*/ 1175 h 1431"/>
                  <a:gd name="T32" fmla="*/ 2036 w 2477"/>
                  <a:gd name="T33" fmla="*/ 1175 h 1431"/>
                  <a:gd name="T34" fmla="*/ 2036 w 2477"/>
                  <a:gd name="T35" fmla="*/ 255 h 1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77" h="1431">
                    <a:moveTo>
                      <a:pt x="1605" y="927"/>
                    </a:moveTo>
                    <a:lnTo>
                      <a:pt x="1605" y="927"/>
                    </a:lnTo>
                    <a:cubicBezTo>
                      <a:pt x="1402" y="1043"/>
                      <a:pt x="1075" y="1043"/>
                      <a:pt x="872" y="927"/>
                    </a:cubicBezTo>
                    <a:lnTo>
                      <a:pt x="872" y="927"/>
                    </a:lnTo>
                    <a:cubicBezTo>
                      <a:pt x="669" y="809"/>
                      <a:pt x="669" y="620"/>
                      <a:pt x="872" y="503"/>
                    </a:cubicBezTo>
                    <a:lnTo>
                      <a:pt x="872" y="503"/>
                    </a:lnTo>
                    <a:cubicBezTo>
                      <a:pt x="1074" y="386"/>
                      <a:pt x="1402" y="386"/>
                      <a:pt x="1605" y="503"/>
                    </a:cubicBezTo>
                    <a:lnTo>
                      <a:pt x="1605" y="503"/>
                    </a:lnTo>
                    <a:cubicBezTo>
                      <a:pt x="1807" y="620"/>
                      <a:pt x="1807" y="809"/>
                      <a:pt x="1605" y="927"/>
                    </a:cubicBezTo>
                    <a:close/>
                    <a:moveTo>
                      <a:pt x="2036" y="255"/>
                    </a:moveTo>
                    <a:lnTo>
                      <a:pt x="2036" y="255"/>
                    </a:lnTo>
                    <a:cubicBezTo>
                      <a:pt x="1595" y="0"/>
                      <a:pt x="881" y="0"/>
                      <a:pt x="441" y="255"/>
                    </a:cubicBezTo>
                    <a:lnTo>
                      <a:pt x="441" y="255"/>
                    </a:lnTo>
                    <a:cubicBezTo>
                      <a:pt x="0" y="509"/>
                      <a:pt x="0" y="921"/>
                      <a:pt x="441" y="1175"/>
                    </a:cubicBezTo>
                    <a:lnTo>
                      <a:pt x="441" y="1175"/>
                    </a:lnTo>
                    <a:cubicBezTo>
                      <a:pt x="881" y="1430"/>
                      <a:pt x="1595" y="1430"/>
                      <a:pt x="2036" y="1175"/>
                    </a:cubicBezTo>
                    <a:lnTo>
                      <a:pt x="2036" y="1175"/>
                    </a:lnTo>
                    <a:cubicBezTo>
                      <a:pt x="2476" y="921"/>
                      <a:pt x="2476" y="509"/>
                      <a:pt x="2036" y="25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6" name="Freeform 355">
                <a:extLst>
                  <a:ext uri="{FF2B5EF4-FFF2-40B4-BE49-F238E27FC236}">
                    <a16:creationId xmlns:a16="http://schemas.microsoft.com/office/drawing/2014/main" id="{509B9CF5-936C-3E46-947C-276B2DA03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4"/>
                <a:ext cx="1399171" cy="612853"/>
              </a:xfrm>
              <a:custGeom>
                <a:avLst/>
                <a:gdLst>
                  <a:gd name="connsiteX0" fmla="*/ 0 w 1399171"/>
                  <a:gd name="connsiteY0" fmla="*/ 97931 h 612853"/>
                  <a:gd name="connsiteX1" fmla="*/ 126080 w 1399171"/>
                  <a:gd name="connsiteY1" fmla="*/ 231719 h 612853"/>
                  <a:gd name="connsiteX2" fmla="*/ 126080 w 1399171"/>
                  <a:gd name="connsiteY2" fmla="*/ 612853 h 612853"/>
                  <a:gd name="connsiteX3" fmla="*/ 0 w 1399171"/>
                  <a:gd name="connsiteY3" fmla="*/ 479065 h 612853"/>
                  <a:gd name="connsiteX4" fmla="*/ 1157881 w 1399171"/>
                  <a:gd name="connsiteY4" fmla="*/ 0 h 612853"/>
                  <a:gd name="connsiteX5" fmla="*/ 1399171 w 1399171"/>
                  <a:gd name="connsiteY5" fmla="*/ 3265 h 612853"/>
                  <a:gd name="connsiteX6" fmla="*/ 1399171 w 1399171"/>
                  <a:gd name="connsiteY6" fmla="*/ 385308 h 612853"/>
                  <a:gd name="connsiteX7" fmla="*/ 1157881 w 1399171"/>
                  <a:gd name="connsiteY7" fmla="*/ 381390 h 61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9171" h="612853">
                    <a:moveTo>
                      <a:pt x="0" y="97931"/>
                    </a:moveTo>
                    <a:lnTo>
                      <a:pt x="126080" y="231719"/>
                    </a:lnTo>
                    <a:lnTo>
                      <a:pt x="126080" y="612853"/>
                    </a:lnTo>
                    <a:lnTo>
                      <a:pt x="0" y="479065"/>
                    </a:lnTo>
                    <a:close/>
                    <a:moveTo>
                      <a:pt x="1157881" y="0"/>
                    </a:moveTo>
                    <a:lnTo>
                      <a:pt x="1399171" y="3265"/>
                    </a:lnTo>
                    <a:lnTo>
                      <a:pt x="1399171" y="385308"/>
                    </a:lnTo>
                    <a:lnTo>
                      <a:pt x="1157881" y="38139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7" name="Freeform 356">
                <a:extLst>
                  <a:ext uri="{FF2B5EF4-FFF2-40B4-BE49-F238E27FC236}">
                    <a16:creationId xmlns:a16="http://schemas.microsoft.com/office/drawing/2014/main" id="{5352808A-7102-DA49-98FE-097728EE5B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551082"/>
                <a:ext cx="1396293" cy="618612"/>
              </a:xfrm>
              <a:custGeom>
                <a:avLst/>
                <a:gdLst>
                  <a:gd name="connsiteX0" fmla="*/ 1154353 w 1396293"/>
                  <a:gd name="connsiteY0" fmla="*/ 0 h 618612"/>
                  <a:gd name="connsiteX1" fmla="*/ 1154353 w 1396293"/>
                  <a:gd name="connsiteY1" fmla="*/ 277577 h 618612"/>
                  <a:gd name="connsiteX2" fmla="*/ 1225511 w 1396293"/>
                  <a:gd name="connsiteY2" fmla="*/ 299133 h 618612"/>
                  <a:gd name="connsiteX3" fmla="*/ 1359737 w 1396293"/>
                  <a:gd name="connsiteY3" fmla="*/ 362227 h 618612"/>
                  <a:gd name="connsiteX4" fmla="*/ 1396293 w 1396293"/>
                  <a:gd name="connsiteY4" fmla="*/ 385773 h 618612"/>
                  <a:gd name="connsiteX5" fmla="*/ 1156071 w 1396293"/>
                  <a:gd name="connsiteY5" fmla="*/ 381849 h 618612"/>
                  <a:gd name="connsiteX6" fmla="*/ 1000057 w 1396293"/>
                  <a:gd name="connsiteY6" fmla="*/ 529008 h 618612"/>
                  <a:gd name="connsiteX7" fmla="*/ 999863 w 1396293"/>
                  <a:gd name="connsiteY7" fmla="*/ 528943 h 618612"/>
                  <a:gd name="connsiteX8" fmla="*/ 999465 w 1396293"/>
                  <a:gd name="connsiteY8" fmla="*/ 529322 h 618612"/>
                  <a:gd name="connsiteX9" fmla="*/ 999465 w 1396293"/>
                  <a:gd name="connsiteY9" fmla="*/ 528811 h 618612"/>
                  <a:gd name="connsiteX10" fmla="*/ 905205 w 1396293"/>
                  <a:gd name="connsiteY10" fmla="*/ 497415 h 618612"/>
                  <a:gd name="connsiteX11" fmla="*/ 592662 w 1396293"/>
                  <a:gd name="connsiteY11" fmla="*/ 500312 h 618612"/>
                  <a:gd name="connsiteX12" fmla="*/ 471341 w 1396293"/>
                  <a:gd name="connsiteY12" fmla="*/ 548615 h 618612"/>
                  <a:gd name="connsiteX13" fmla="*/ 470808 w 1396293"/>
                  <a:gd name="connsiteY13" fmla="*/ 549049 h 618612"/>
                  <a:gd name="connsiteX14" fmla="*/ 388403 w 1396293"/>
                  <a:gd name="connsiteY14" fmla="*/ 618612 h 618612"/>
                  <a:gd name="connsiteX15" fmla="*/ 125986 w 1396293"/>
                  <a:gd name="connsiteY15" fmla="*/ 614034 h 618612"/>
                  <a:gd name="connsiteX16" fmla="*/ 0 w 1396293"/>
                  <a:gd name="connsiteY16" fmla="*/ 479955 h 618612"/>
                  <a:gd name="connsiteX17" fmla="*/ 66502 w 1396293"/>
                  <a:gd name="connsiteY17" fmla="*/ 418638 h 618612"/>
                  <a:gd name="connsiteX18" fmla="*/ 126733 w 1396293"/>
                  <a:gd name="connsiteY18" fmla="*/ 378014 h 618612"/>
                  <a:gd name="connsiteX19" fmla="*/ 126733 w 1396293"/>
                  <a:gd name="connsiteY19" fmla="*/ 230426 h 618612"/>
                  <a:gd name="connsiteX20" fmla="*/ 388190 w 1396293"/>
                  <a:gd name="connsiteY20" fmla="*/ 234338 h 618612"/>
                  <a:gd name="connsiteX21" fmla="*/ 388190 w 1396293"/>
                  <a:gd name="connsiteY21" fmla="*/ 267681 h 618612"/>
                  <a:gd name="connsiteX22" fmla="*/ 388965 w 1396293"/>
                  <a:gd name="connsiteY22" fmla="*/ 267446 h 618612"/>
                  <a:gd name="connsiteX23" fmla="*/ 388965 w 1396293"/>
                  <a:gd name="connsiteY23" fmla="*/ 234054 h 618612"/>
                  <a:gd name="connsiteX24" fmla="*/ 400736 w 1396293"/>
                  <a:gd name="connsiteY24" fmla="*/ 133578 h 618612"/>
                  <a:gd name="connsiteX25" fmla="*/ 755817 w 1396293"/>
                  <a:gd name="connsiteY25" fmla="*/ 25925 h 618612"/>
                  <a:gd name="connsiteX26" fmla="*/ 1001541 w 1396293"/>
                  <a:gd name="connsiteY26" fmla="*/ 144597 h 61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96293" h="618612">
                    <a:moveTo>
                      <a:pt x="1154353" y="0"/>
                    </a:moveTo>
                    <a:lnTo>
                      <a:pt x="1154353" y="277577"/>
                    </a:lnTo>
                    <a:lnTo>
                      <a:pt x="1225511" y="299133"/>
                    </a:lnTo>
                    <a:cubicBezTo>
                      <a:pt x="1272947" y="317160"/>
                      <a:pt x="1317959" y="338191"/>
                      <a:pt x="1359737" y="362227"/>
                    </a:cubicBezTo>
                    <a:cubicBezTo>
                      <a:pt x="1372793" y="370076"/>
                      <a:pt x="1384543" y="377924"/>
                      <a:pt x="1396293" y="385773"/>
                    </a:cubicBezTo>
                    <a:lnTo>
                      <a:pt x="1156071" y="381849"/>
                    </a:lnTo>
                    <a:lnTo>
                      <a:pt x="1000057" y="529008"/>
                    </a:lnTo>
                    <a:lnTo>
                      <a:pt x="999863" y="528943"/>
                    </a:lnTo>
                    <a:lnTo>
                      <a:pt x="999465" y="529322"/>
                    </a:lnTo>
                    <a:lnTo>
                      <a:pt x="999465" y="528811"/>
                    </a:lnTo>
                    <a:lnTo>
                      <a:pt x="905205" y="497415"/>
                    </a:lnTo>
                    <a:cubicBezTo>
                      <a:pt x="805000" y="473962"/>
                      <a:pt x="691757" y="474927"/>
                      <a:pt x="592662" y="500312"/>
                    </a:cubicBezTo>
                    <a:lnTo>
                      <a:pt x="471341" y="548615"/>
                    </a:lnTo>
                    <a:lnTo>
                      <a:pt x="470808" y="549049"/>
                    </a:lnTo>
                    <a:lnTo>
                      <a:pt x="388403" y="618612"/>
                    </a:lnTo>
                    <a:lnTo>
                      <a:pt x="125986" y="614034"/>
                    </a:lnTo>
                    <a:lnTo>
                      <a:pt x="0" y="479955"/>
                    </a:lnTo>
                    <a:cubicBezTo>
                      <a:pt x="19257" y="458698"/>
                      <a:pt x="41452" y="438260"/>
                      <a:pt x="66502" y="418638"/>
                    </a:cubicBezTo>
                    <a:lnTo>
                      <a:pt x="126733" y="378014"/>
                    </a:lnTo>
                    <a:lnTo>
                      <a:pt x="126733" y="230426"/>
                    </a:lnTo>
                    <a:lnTo>
                      <a:pt x="388190" y="234338"/>
                    </a:lnTo>
                    <a:lnTo>
                      <a:pt x="388190" y="267681"/>
                    </a:lnTo>
                    <a:lnTo>
                      <a:pt x="388965" y="267446"/>
                    </a:lnTo>
                    <a:lnTo>
                      <a:pt x="388965" y="234054"/>
                    </a:lnTo>
                    <a:cubicBezTo>
                      <a:pt x="388965" y="234054"/>
                      <a:pt x="383080" y="138145"/>
                      <a:pt x="400736" y="133578"/>
                    </a:cubicBezTo>
                    <a:cubicBezTo>
                      <a:pt x="417738" y="129663"/>
                      <a:pt x="755817" y="25925"/>
                      <a:pt x="755817" y="25925"/>
                    </a:cubicBezTo>
                    <a:lnTo>
                      <a:pt x="1001541" y="14459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8" name="Freeform 488">
                <a:extLst>
                  <a:ext uri="{FF2B5EF4-FFF2-40B4-BE49-F238E27FC236}">
                    <a16:creationId xmlns:a16="http://schemas.microsoft.com/office/drawing/2014/main" id="{3B0E690D-8C90-AD48-B156-5D5102B6C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6487" y="9337941"/>
                <a:ext cx="1396946" cy="449327"/>
              </a:xfrm>
              <a:custGeom>
                <a:avLst/>
                <a:gdLst>
                  <a:gd name="T0" fmla="*/ 193 w 2140"/>
                  <a:gd name="T1" fmla="*/ 680 h 687"/>
                  <a:gd name="T2" fmla="*/ 595 w 2140"/>
                  <a:gd name="T3" fmla="*/ 686 h 687"/>
                  <a:gd name="T4" fmla="*/ 595 w 2140"/>
                  <a:gd name="T5" fmla="*/ 686 h 687"/>
                  <a:gd name="T6" fmla="*/ 722 w 2140"/>
                  <a:gd name="T7" fmla="*/ 579 h 687"/>
                  <a:gd name="T8" fmla="*/ 722 w 2140"/>
                  <a:gd name="T9" fmla="*/ 579 h 687"/>
                  <a:gd name="T10" fmla="*/ 1532 w 2140"/>
                  <a:gd name="T11" fmla="*/ 549 h 687"/>
                  <a:gd name="T12" fmla="*/ 1771 w 2140"/>
                  <a:gd name="T13" fmla="*/ 325 h 687"/>
                  <a:gd name="T14" fmla="*/ 2139 w 2140"/>
                  <a:gd name="T15" fmla="*/ 330 h 687"/>
                  <a:gd name="T16" fmla="*/ 2139 w 2140"/>
                  <a:gd name="T17" fmla="*/ 330 h 687"/>
                  <a:gd name="T18" fmla="*/ 2083 w 2140"/>
                  <a:gd name="T19" fmla="*/ 296 h 687"/>
                  <a:gd name="T20" fmla="*/ 2083 w 2140"/>
                  <a:gd name="T21" fmla="*/ 296 h 687"/>
                  <a:gd name="T22" fmla="*/ 230 w 2140"/>
                  <a:gd name="T23" fmla="*/ 296 h 687"/>
                  <a:gd name="T24" fmla="*/ 230 w 2140"/>
                  <a:gd name="T25" fmla="*/ 296 h 687"/>
                  <a:gd name="T26" fmla="*/ 0 w 2140"/>
                  <a:gd name="T27" fmla="*/ 475 h 687"/>
                  <a:gd name="T28" fmla="*/ 193 w 2140"/>
                  <a:gd name="T29" fmla="*/ 68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0" h="687">
                    <a:moveTo>
                      <a:pt x="193" y="680"/>
                    </a:moveTo>
                    <a:lnTo>
                      <a:pt x="595" y="686"/>
                    </a:lnTo>
                    <a:lnTo>
                      <a:pt x="595" y="686"/>
                    </a:lnTo>
                    <a:cubicBezTo>
                      <a:pt x="625" y="647"/>
                      <a:pt x="667" y="611"/>
                      <a:pt x="722" y="579"/>
                    </a:cubicBezTo>
                    <a:lnTo>
                      <a:pt x="722" y="579"/>
                    </a:lnTo>
                    <a:cubicBezTo>
                      <a:pt x="943" y="452"/>
                      <a:pt x="1291" y="442"/>
                      <a:pt x="1532" y="549"/>
                    </a:cubicBezTo>
                    <a:lnTo>
                      <a:pt x="1771" y="325"/>
                    </a:lnTo>
                    <a:lnTo>
                      <a:pt x="2139" y="330"/>
                    </a:lnTo>
                    <a:lnTo>
                      <a:pt x="2139" y="330"/>
                    </a:lnTo>
                    <a:cubicBezTo>
                      <a:pt x="2121" y="319"/>
                      <a:pt x="2103" y="307"/>
                      <a:pt x="2083" y="296"/>
                    </a:cubicBezTo>
                    <a:lnTo>
                      <a:pt x="2083" y="296"/>
                    </a:lnTo>
                    <a:cubicBezTo>
                      <a:pt x="1571" y="0"/>
                      <a:pt x="742" y="0"/>
                      <a:pt x="230" y="296"/>
                    </a:cubicBezTo>
                    <a:lnTo>
                      <a:pt x="230" y="296"/>
                    </a:lnTo>
                    <a:cubicBezTo>
                      <a:pt x="136" y="350"/>
                      <a:pt x="59" y="410"/>
                      <a:pt x="0" y="475"/>
                    </a:cubicBezTo>
                    <a:lnTo>
                      <a:pt x="193" y="68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59" name="Freeform 358">
                <a:extLst>
                  <a:ext uri="{FF2B5EF4-FFF2-40B4-BE49-F238E27FC236}">
                    <a16:creationId xmlns:a16="http://schemas.microsoft.com/office/drawing/2014/main" id="{56C4685A-188A-C04B-8B81-EC9D4B8A11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1" y="9744065"/>
                <a:ext cx="705023" cy="1004570"/>
              </a:xfrm>
              <a:custGeom>
                <a:avLst/>
                <a:gdLst>
                  <a:gd name="connsiteX0" fmla="*/ 172819 w 705023"/>
                  <a:gd name="connsiteY0" fmla="*/ 0 h 1004570"/>
                  <a:gd name="connsiteX1" fmla="*/ 380861 w 705023"/>
                  <a:gd name="connsiteY1" fmla="*/ 85723 h 1004570"/>
                  <a:gd name="connsiteX2" fmla="*/ 392237 w 705023"/>
                  <a:gd name="connsiteY2" fmla="*/ 193040 h 1004570"/>
                  <a:gd name="connsiteX3" fmla="*/ 396799 w 705023"/>
                  <a:gd name="connsiteY3" fmla="*/ 254763 h 1004570"/>
                  <a:gd name="connsiteX4" fmla="*/ 528429 w 705023"/>
                  <a:gd name="connsiteY4" fmla="*/ 256721 h 1004570"/>
                  <a:gd name="connsiteX5" fmla="*/ 703715 w 705023"/>
                  <a:gd name="connsiteY5" fmla="*/ 118091 h 1004570"/>
                  <a:gd name="connsiteX6" fmla="*/ 705023 w 705023"/>
                  <a:gd name="connsiteY6" fmla="*/ 523292 h 1004570"/>
                  <a:gd name="connsiteX7" fmla="*/ 699965 w 705023"/>
                  <a:gd name="connsiteY7" fmla="*/ 528110 h 1004570"/>
                  <a:gd name="connsiteX8" fmla="*/ 698017 w 705023"/>
                  <a:gd name="connsiteY8" fmla="*/ 572669 h 1004570"/>
                  <a:gd name="connsiteX9" fmla="*/ 452663 w 705023"/>
                  <a:gd name="connsiteY9" fmla="*/ 869790 h 1004570"/>
                  <a:gd name="connsiteX10" fmla="*/ 15678 w 705023"/>
                  <a:gd name="connsiteY10" fmla="*/ 1004570 h 1004570"/>
                  <a:gd name="connsiteX11" fmla="*/ 19801 w 705023"/>
                  <a:gd name="connsiteY11" fmla="*/ 1000717 h 1004570"/>
                  <a:gd name="connsiteX12" fmla="*/ 17283 w 705023"/>
                  <a:gd name="connsiteY12" fmla="*/ 1001691 h 1004570"/>
                  <a:gd name="connsiteX13" fmla="*/ 17283 w 705023"/>
                  <a:gd name="connsiteY13" fmla="*/ 752778 h 1004570"/>
                  <a:gd name="connsiteX14" fmla="*/ 1 w 705023"/>
                  <a:gd name="connsiteY14" fmla="*/ 734356 h 1004570"/>
                  <a:gd name="connsiteX15" fmla="*/ 533 w 705023"/>
                  <a:gd name="connsiteY15" fmla="*/ 734192 h 1004570"/>
                  <a:gd name="connsiteX16" fmla="*/ 0 w 705023"/>
                  <a:gd name="connsiteY16" fmla="*/ 733612 h 1004570"/>
                  <a:gd name="connsiteX17" fmla="*/ 0 w 705023"/>
                  <a:gd name="connsiteY17" fmla="*/ 351397 h 1004570"/>
                  <a:gd name="connsiteX18" fmla="*/ 155779 w 705023"/>
                  <a:gd name="connsiteY18" fmla="*/ 369691 h 1004570"/>
                  <a:gd name="connsiteX19" fmla="*/ 165751 w 705023"/>
                  <a:gd name="connsiteY19" fmla="*/ 466336 h 1004570"/>
                  <a:gd name="connsiteX20" fmla="*/ 170699 w 705023"/>
                  <a:gd name="connsiteY20" fmla="*/ 520432 h 1004570"/>
                  <a:gd name="connsiteX21" fmla="*/ 239767 w 705023"/>
                  <a:gd name="connsiteY21" fmla="*/ 475597 h 1004570"/>
                  <a:gd name="connsiteX22" fmla="*/ 233619 w 705023"/>
                  <a:gd name="connsiteY22" fmla="*/ 456802 h 1004570"/>
                  <a:gd name="connsiteX23" fmla="*/ 171791 w 705023"/>
                  <a:gd name="connsiteY23" fmla="*/ 383012 h 1004570"/>
                  <a:gd name="connsiteX24" fmla="*/ 217501 w 705023"/>
                  <a:gd name="connsiteY24" fmla="*/ 340047 h 1004570"/>
                  <a:gd name="connsiteX25" fmla="*/ 172819 w 705023"/>
                  <a:gd name="connsiteY25" fmla="*/ 350743 h 1004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05023" h="1004570">
                    <a:moveTo>
                      <a:pt x="172819" y="0"/>
                    </a:moveTo>
                    <a:cubicBezTo>
                      <a:pt x="172819" y="0"/>
                      <a:pt x="376309" y="79833"/>
                      <a:pt x="380861" y="85723"/>
                    </a:cubicBezTo>
                    <a:cubicBezTo>
                      <a:pt x="383461" y="88341"/>
                      <a:pt x="388173" y="141017"/>
                      <a:pt x="392237" y="193040"/>
                    </a:cubicBezTo>
                    <a:lnTo>
                      <a:pt x="396799" y="254763"/>
                    </a:lnTo>
                    <a:lnTo>
                      <a:pt x="528429" y="256721"/>
                    </a:lnTo>
                    <a:lnTo>
                      <a:pt x="703715" y="118091"/>
                    </a:lnTo>
                    <a:lnTo>
                      <a:pt x="705023" y="523292"/>
                    </a:lnTo>
                    <a:lnTo>
                      <a:pt x="699965" y="528110"/>
                    </a:lnTo>
                    <a:lnTo>
                      <a:pt x="698017" y="572669"/>
                    </a:lnTo>
                    <a:cubicBezTo>
                      <a:pt x="677849" y="681033"/>
                      <a:pt x="596039" y="786371"/>
                      <a:pt x="452663" y="869790"/>
                    </a:cubicBezTo>
                    <a:cubicBezTo>
                      <a:pt x="328555" y="941105"/>
                      <a:pt x="175709" y="985596"/>
                      <a:pt x="15678" y="1004570"/>
                    </a:cubicBezTo>
                    <a:lnTo>
                      <a:pt x="19801" y="1000717"/>
                    </a:lnTo>
                    <a:lnTo>
                      <a:pt x="17283" y="1001691"/>
                    </a:lnTo>
                    <a:lnTo>
                      <a:pt x="17283" y="752778"/>
                    </a:lnTo>
                    <a:lnTo>
                      <a:pt x="1" y="734356"/>
                    </a:lnTo>
                    <a:lnTo>
                      <a:pt x="533" y="734192"/>
                    </a:lnTo>
                    <a:lnTo>
                      <a:pt x="0" y="733612"/>
                    </a:lnTo>
                    <a:lnTo>
                      <a:pt x="0" y="351397"/>
                    </a:lnTo>
                    <a:cubicBezTo>
                      <a:pt x="0" y="351397"/>
                      <a:pt x="153183" y="363811"/>
                      <a:pt x="155779" y="369691"/>
                    </a:cubicBezTo>
                    <a:cubicBezTo>
                      <a:pt x="156753" y="371896"/>
                      <a:pt x="160921" y="414252"/>
                      <a:pt x="165751" y="466336"/>
                    </a:cubicBezTo>
                    <a:lnTo>
                      <a:pt x="170699" y="520432"/>
                    </a:lnTo>
                    <a:lnTo>
                      <a:pt x="239767" y="475597"/>
                    </a:lnTo>
                    <a:lnTo>
                      <a:pt x="233619" y="456802"/>
                    </a:lnTo>
                    <a:cubicBezTo>
                      <a:pt x="220985" y="430774"/>
                      <a:pt x="200369" y="405748"/>
                      <a:pt x="171791" y="383012"/>
                    </a:cubicBezTo>
                    <a:lnTo>
                      <a:pt x="217501" y="340047"/>
                    </a:lnTo>
                    <a:lnTo>
                      <a:pt x="172819" y="350743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0" name="Freeform 493">
                <a:extLst>
                  <a:ext uri="{FF2B5EF4-FFF2-40B4-BE49-F238E27FC236}">
                    <a16:creationId xmlns:a16="http://schemas.microsoft.com/office/drawing/2014/main" id="{92ACC122-506C-6746-8733-6B0A1AD646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3782" y="9614450"/>
                <a:ext cx="780563" cy="751760"/>
              </a:xfrm>
              <a:custGeom>
                <a:avLst/>
                <a:gdLst>
                  <a:gd name="T0" fmla="*/ 474 w 1195"/>
                  <a:gd name="T1" fmla="*/ 0 h 1149"/>
                  <a:gd name="T2" fmla="*/ 263 w 1195"/>
                  <a:gd name="T3" fmla="*/ 198 h 1149"/>
                  <a:gd name="T4" fmla="*/ 263 w 1195"/>
                  <a:gd name="T5" fmla="*/ 198 h 1149"/>
                  <a:gd name="T6" fmla="*/ 201 w 1195"/>
                  <a:gd name="T7" fmla="*/ 657 h 1149"/>
                  <a:gd name="T8" fmla="*/ 201 w 1195"/>
                  <a:gd name="T9" fmla="*/ 657 h 1149"/>
                  <a:gd name="T10" fmla="*/ 0 w 1195"/>
                  <a:gd name="T11" fmla="*/ 734 h 1149"/>
                  <a:gd name="T12" fmla="*/ 218 w 1195"/>
                  <a:gd name="T13" fmla="*/ 966 h 1149"/>
                  <a:gd name="T14" fmla="*/ 24 w 1195"/>
                  <a:gd name="T15" fmla="*/ 1148 h 1149"/>
                  <a:gd name="T16" fmla="*/ 24 w 1195"/>
                  <a:gd name="T17" fmla="*/ 1148 h 1149"/>
                  <a:gd name="T18" fmla="*/ 693 w 1195"/>
                  <a:gd name="T19" fmla="*/ 941 h 1149"/>
                  <a:gd name="T20" fmla="*/ 693 w 1195"/>
                  <a:gd name="T21" fmla="*/ 941 h 1149"/>
                  <a:gd name="T22" fmla="*/ 878 w 1195"/>
                  <a:gd name="T23" fmla="*/ 6 h 1149"/>
                  <a:gd name="T24" fmla="*/ 474 w 1195"/>
                  <a:gd name="T25" fmla="*/ 0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5" h="1149">
                    <a:moveTo>
                      <a:pt x="474" y="0"/>
                    </a:moveTo>
                    <a:lnTo>
                      <a:pt x="263" y="198"/>
                    </a:lnTo>
                    <a:lnTo>
                      <a:pt x="263" y="198"/>
                    </a:lnTo>
                    <a:cubicBezTo>
                      <a:pt x="438" y="336"/>
                      <a:pt x="418" y="532"/>
                      <a:pt x="201" y="657"/>
                    </a:cubicBezTo>
                    <a:lnTo>
                      <a:pt x="201" y="657"/>
                    </a:lnTo>
                    <a:cubicBezTo>
                      <a:pt x="142" y="691"/>
                      <a:pt x="73" y="717"/>
                      <a:pt x="0" y="734"/>
                    </a:cubicBezTo>
                    <a:lnTo>
                      <a:pt x="218" y="966"/>
                    </a:lnTo>
                    <a:lnTo>
                      <a:pt x="24" y="1148"/>
                    </a:lnTo>
                    <a:lnTo>
                      <a:pt x="24" y="1148"/>
                    </a:lnTo>
                    <a:cubicBezTo>
                      <a:pt x="269" y="1120"/>
                      <a:pt x="503" y="1050"/>
                      <a:pt x="693" y="941"/>
                    </a:cubicBezTo>
                    <a:lnTo>
                      <a:pt x="693" y="941"/>
                    </a:lnTo>
                    <a:cubicBezTo>
                      <a:pt x="1132" y="687"/>
                      <a:pt x="1194" y="297"/>
                      <a:pt x="878" y="6"/>
                    </a:cubicBezTo>
                    <a:lnTo>
                      <a:pt x="474" y="0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1" name="Freeform 360">
                <a:extLst>
                  <a:ext uri="{FF2B5EF4-FFF2-40B4-BE49-F238E27FC236}">
                    <a16:creationId xmlns:a16="http://schemas.microsoft.com/office/drawing/2014/main" id="{C5BAE857-BBD0-534C-8917-FEEC487B0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05676" y="9885198"/>
                <a:ext cx="1024735" cy="872080"/>
              </a:xfrm>
              <a:custGeom>
                <a:avLst/>
                <a:gdLst>
                  <a:gd name="connsiteX0" fmla="*/ 0 w 1024735"/>
                  <a:gd name="connsiteY0" fmla="*/ 0 h 872080"/>
                  <a:gd name="connsiteX1" fmla="*/ 129537 w 1024735"/>
                  <a:gd name="connsiteY1" fmla="*/ 52259 h 872080"/>
                  <a:gd name="connsiteX2" fmla="*/ 886479 w 1024735"/>
                  <a:gd name="connsiteY2" fmla="*/ 490586 h 872080"/>
                  <a:gd name="connsiteX3" fmla="*/ 886479 w 1024735"/>
                  <a:gd name="connsiteY3" fmla="*/ 607894 h 872080"/>
                  <a:gd name="connsiteX4" fmla="*/ 899277 w 1024735"/>
                  <a:gd name="connsiteY4" fmla="*/ 607967 h 872080"/>
                  <a:gd name="connsiteX5" fmla="*/ 1024735 w 1024735"/>
                  <a:gd name="connsiteY5" fmla="*/ 740484 h 872080"/>
                  <a:gd name="connsiteX6" fmla="*/ 886862 w 1024735"/>
                  <a:gd name="connsiteY6" fmla="*/ 870390 h 872080"/>
                  <a:gd name="connsiteX7" fmla="*/ 886479 w 1024735"/>
                  <a:gd name="connsiteY7" fmla="*/ 870376 h 872080"/>
                  <a:gd name="connsiteX8" fmla="*/ 886479 w 1024735"/>
                  <a:gd name="connsiteY8" fmla="*/ 872080 h 872080"/>
                  <a:gd name="connsiteX9" fmla="*/ 883173 w 1024735"/>
                  <a:gd name="connsiteY9" fmla="*/ 870250 h 872080"/>
                  <a:gd name="connsiteX10" fmla="*/ 715675 w 1024735"/>
                  <a:gd name="connsiteY10" fmla="*/ 863913 h 872080"/>
                  <a:gd name="connsiteX11" fmla="*/ 251732 w 1024735"/>
                  <a:gd name="connsiteY11" fmla="*/ 726123 h 872080"/>
                  <a:gd name="connsiteX12" fmla="*/ 4267 w 1024735"/>
                  <a:gd name="connsiteY12" fmla="*/ 418979 h 872080"/>
                  <a:gd name="connsiteX13" fmla="*/ 3201 w 1024735"/>
                  <a:gd name="connsiteY13" fmla="*/ 383266 h 872080"/>
                  <a:gd name="connsiteX14" fmla="*/ 0 w 1024735"/>
                  <a:gd name="connsiteY14" fmla="*/ 381494 h 872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24735" h="872080">
                    <a:moveTo>
                      <a:pt x="0" y="0"/>
                    </a:moveTo>
                    <a:lnTo>
                      <a:pt x="129537" y="52259"/>
                    </a:lnTo>
                    <a:lnTo>
                      <a:pt x="886479" y="490586"/>
                    </a:lnTo>
                    <a:lnTo>
                      <a:pt x="886479" y="607894"/>
                    </a:lnTo>
                    <a:lnTo>
                      <a:pt x="899277" y="607967"/>
                    </a:lnTo>
                    <a:lnTo>
                      <a:pt x="1024735" y="740484"/>
                    </a:lnTo>
                    <a:lnTo>
                      <a:pt x="886862" y="870390"/>
                    </a:lnTo>
                    <a:lnTo>
                      <a:pt x="886479" y="870376"/>
                    </a:lnTo>
                    <a:lnTo>
                      <a:pt x="886479" y="872080"/>
                    </a:lnTo>
                    <a:lnTo>
                      <a:pt x="883173" y="870250"/>
                    </a:lnTo>
                    <a:lnTo>
                      <a:pt x="715675" y="863913"/>
                    </a:lnTo>
                    <a:cubicBezTo>
                      <a:pt x="545774" y="847542"/>
                      <a:pt x="382581" y="801521"/>
                      <a:pt x="251732" y="726123"/>
                    </a:cubicBezTo>
                    <a:cubicBezTo>
                      <a:pt x="103486" y="640444"/>
                      <a:pt x="20838" y="531050"/>
                      <a:pt x="4267" y="418979"/>
                    </a:cubicBezTo>
                    <a:lnTo>
                      <a:pt x="3201" y="383266"/>
                    </a:lnTo>
                    <a:lnTo>
                      <a:pt x="0" y="38149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2" name="Freeform 496">
                <a:extLst>
                  <a:ext uri="{FF2B5EF4-FFF2-40B4-BE49-F238E27FC236}">
                    <a16:creationId xmlns:a16="http://schemas.microsoft.com/office/drawing/2014/main" id="{E6C21A4B-5A00-3F46-9386-FB8122B82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89929" y="10245238"/>
                <a:ext cx="138255" cy="512694"/>
              </a:xfrm>
              <a:custGeom>
                <a:avLst/>
                <a:gdLst>
                  <a:gd name="T0" fmla="*/ 211 w 212"/>
                  <a:gd name="T1" fmla="*/ 0 h 784"/>
                  <a:gd name="T2" fmla="*/ 211 w 212"/>
                  <a:gd name="T3" fmla="*/ 584 h 784"/>
                  <a:gd name="T4" fmla="*/ 0 w 212"/>
                  <a:gd name="T5" fmla="*/ 783 h 784"/>
                  <a:gd name="T6" fmla="*/ 0 w 212"/>
                  <a:gd name="T7" fmla="*/ 199 h 784"/>
                  <a:gd name="T8" fmla="*/ 211 w 212"/>
                  <a:gd name="T9" fmla="*/ 0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84">
                    <a:moveTo>
                      <a:pt x="211" y="0"/>
                    </a:moveTo>
                    <a:lnTo>
                      <a:pt x="211" y="584"/>
                    </a:lnTo>
                    <a:lnTo>
                      <a:pt x="0" y="783"/>
                    </a:lnTo>
                    <a:lnTo>
                      <a:pt x="0" y="199"/>
                    </a:lnTo>
                    <a:lnTo>
                      <a:pt x="211" y="0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3" name="Freeform 497">
                <a:extLst>
                  <a:ext uri="{FF2B5EF4-FFF2-40B4-BE49-F238E27FC236}">
                    <a16:creationId xmlns:a16="http://schemas.microsoft.com/office/drawing/2014/main" id="{85F03926-F1A5-4F4B-9A60-CEE9D8C8D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50951" y="9723902"/>
                <a:ext cx="1080112" cy="656709"/>
              </a:xfrm>
              <a:custGeom>
                <a:avLst/>
                <a:gdLst>
                  <a:gd name="T0" fmla="*/ 1652 w 1653"/>
                  <a:gd name="T1" fmla="*/ 798 h 1005"/>
                  <a:gd name="T2" fmla="*/ 1460 w 1653"/>
                  <a:gd name="T3" fmla="*/ 594 h 1005"/>
                  <a:gd name="T4" fmla="*/ 1460 w 1653"/>
                  <a:gd name="T5" fmla="*/ 594 h 1005"/>
                  <a:gd name="T6" fmla="*/ 961 w 1653"/>
                  <a:gd name="T7" fmla="*/ 492 h 1005"/>
                  <a:gd name="T8" fmla="*/ 961 w 1653"/>
                  <a:gd name="T9" fmla="*/ 492 h 1005"/>
                  <a:gd name="T10" fmla="*/ 786 w 1653"/>
                  <a:gd name="T11" fmla="*/ 193 h 1005"/>
                  <a:gd name="T12" fmla="*/ 330 w 1653"/>
                  <a:gd name="T13" fmla="*/ 187 h 1005"/>
                  <a:gd name="T14" fmla="*/ 154 w 1653"/>
                  <a:gd name="T15" fmla="*/ 0 h 1005"/>
                  <a:gd name="T16" fmla="*/ 154 w 1653"/>
                  <a:gd name="T17" fmla="*/ 0 h 1005"/>
                  <a:gd name="T18" fmla="*/ 469 w 1653"/>
                  <a:gd name="T19" fmla="*/ 776 h 1005"/>
                  <a:gd name="T20" fmla="*/ 469 w 1653"/>
                  <a:gd name="T21" fmla="*/ 776 h 1005"/>
                  <a:gd name="T22" fmla="*/ 1441 w 1653"/>
                  <a:gd name="T23" fmla="*/ 997 h 1005"/>
                  <a:gd name="T24" fmla="*/ 1652 w 1653"/>
                  <a:gd name="T25" fmla="*/ 798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53" h="1005">
                    <a:moveTo>
                      <a:pt x="1652" y="798"/>
                    </a:moveTo>
                    <a:lnTo>
                      <a:pt x="1460" y="594"/>
                    </a:lnTo>
                    <a:lnTo>
                      <a:pt x="1460" y="594"/>
                    </a:lnTo>
                    <a:cubicBezTo>
                      <a:pt x="1282" y="605"/>
                      <a:pt x="1098" y="571"/>
                      <a:pt x="961" y="492"/>
                    </a:cubicBezTo>
                    <a:lnTo>
                      <a:pt x="961" y="492"/>
                    </a:lnTo>
                    <a:cubicBezTo>
                      <a:pt x="820" y="411"/>
                      <a:pt x="762" y="300"/>
                      <a:pt x="786" y="193"/>
                    </a:cubicBezTo>
                    <a:lnTo>
                      <a:pt x="330" y="187"/>
                    </a:lnTo>
                    <a:lnTo>
                      <a:pt x="154" y="0"/>
                    </a:lnTo>
                    <a:lnTo>
                      <a:pt x="154" y="0"/>
                    </a:lnTo>
                    <a:cubicBezTo>
                      <a:pt x="0" y="263"/>
                      <a:pt x="106" y="566"/>
                      <a:pt x="469" y="776"/>
                    </a:cubicBezTo>
                    <a:lnTo>
                      <a:pt x="469" y="776"/>
                    </a:lnTo>
                    <a:cubicBezTo>
                      <a:pt x="736" y="930"/>
                      <a:pt x="1091" y="1004"/>
                      <a:pt x="1441" y="997"/>
                    </a:cubicBezTo>
                    <a:lnTo>
                      <a:pt x="1652" y="79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4" name="Freeform 498">
                <a:extLst>
                  <a:ext uri="{FF2B5EF4-FFF2-40B4-BE49-F238E27FC236}">
                    <a16:creationId xmlns:a16="http://schemas.microsoft.com/office/drawing/2014/main" id="{962301B2-AB44-0E45-87EA-E98F94A5F3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0070" y="4380943"/>
                <a:ext cx="829527" cy="1085873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2 h 1664"/>
                  <a:gd name="T4" fmla="*/ 154 w 1272"/>
                  <a:gd name="T5" fmla="*/ 12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4 h 1664"/>
                  <a:gd name="T20" fmla="*/ 70 w 1272"/>
                  <a:gd name="T21" fmla="*/ 844 h 1664"/>
                  <a:gd name="T22" fmla="*/ 154 w 1272"/>
                  <a:gd name="T23" fmla="*/ 1003 h 1664"/>
                  <a:gd name="T24" fmla="*/ 1142 w 1272"/>
                  <a:gd name="T25" fmla="*/ 1574 h 1664"/>
                  <a:gd name="T26" fmla="*/ 1142 w 1272"/>
                  <a:gd name="T27" fmla="*/ 1663 h 1664"/>
                  <a:gd name="T28" fmla="*/ 1244 w 1272"/>
                  <a:gd name="T29" fmla="*/ 1604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1"/>
                      <a:pt x="114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4" y="82"/>
                      <a:pt x="70" y="91"/>
                    </a:cubicBezTo>
                    <a:lnTo>
                      <a:pt x="70" y="844"/>
                    </a:lnTo>
                    <a:lnTo>
                      <a:pt x="70" y="844"/>
                    </a:lnTo>
                    <a:cubicBezTo>
                      <a:pt x="70" y="906"/>
                      <a:pt x="107" y="977"/>
                      <a:pt x="154" y="1003"/>
                    </a:cubicBezTo>
                    <a:lnTo>
                      <a:pt x="1142" y="1574"/>
                    </a:lnTo>
                    <a:lnTo>
                      <a:pt x="1142" y="1663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3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5" name="Freeform 499">
                <a:extLst>
                  <a:ext uri="{FF2B5EF4-FFF2-40B4-BE49-F238E27FC236}">
                    <a16:creationId xmlns:a16="http://schemas.microsoft.com/office/drawing/2014/main" id="{AB86B561-DB8C-614C-AF3B-CACBA001AE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907" y="4409745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4 w 1202"/>
                  <a:gd name="T3" fmla="*/ 1018 h 1642"/>
                  <a:gd name="T4" fmla="*/ 84 w 1202"/>
                  <a:gd name="T5" fmla="*/ 1018 h 1642"/>
                  <a:gd name="T6" fmla="*/ 0 w 1202"/>
                  <a:gd name="T7" fmla="*/ 858 h 1642"/>
                  <a:gd name="T8" fmla="*/ 0 w 1202"/>
                  <a:gd name="T9" fmla="*/ 89 h 1642"/>
                  <a:gd name="T10" fmla="*/ 0 w 1202"/>
                  <a:gd name="T11" fmla="*/ 89 h 1642"/>
                  <a:gd name="T12" fmla="*/ 84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1 h 1642"/>
                  <a:gd name="T22" fmla="*/ 1201 w 1202"/>
                  <a:gd name="T23" fmla="*/ 1551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4" y="1018"/>
                    </a:lnTo>
                    <a:lnTo>
                      <a:pt x="84" y="1018"/>
                    </a:lnTo>
                    <a:cubicBezTo>
                      <a:pt x="37" y="991"/>
                      <a:pt x="0" y="919"/>
                      <a:pt x="0" y="858"/>
                    </a:cubicBezTo>
                    <a:lnTo>
                      <a:pt x="0" y="89"/>
                    </a:lnTo>
                    <a:lnTo>
                      <a:pt x="0" y="89"/>
                    </a:lnTo>
                    <a:cubicBezTo>
                      <a:pt x="0" y="28"/>
                      <a:pt x="37" y="0"/>
                      <a:pt x="84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0"/>
                      <a:pt x="1201" y="722"/>
                      <a:pt x="1201" y="783"/>
                    </a:cubicBezTo>
                    <a:lnTo>
                      <a:pt x="1201" y="1551"/>
                    </a:lnTo>
                    <a:lnTo>
                      <a:pt x="1201" y="1551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6" name="Freeform 365">
                <a:extLst>
                  <a:ext uri="{FF2B5EF4-FFF2-40B4-BE49-F238E27FC236}">
                    <a16:creationId xmlns:a16="http://schemas.microsoft.com/office/drawing/2014/main" id="{ECBA3DEF-0B71-B64D-8138-048F7CD0F9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0007" y="4815723"/>
                <a:ext cx="368025" cy="279257"/>
              </a:xfrm>
              <a:custGeom>
                <a:avLst/>
                <a:gdLst>
                  <a:gd name="connsiteX0" fmla="*/ 304362 w 368025"/>
                  <a:gd name="connsiteY0" fmla="*/ 161446 h 279257"/>
                  <a:gd name="connsiteX1" fmla="*/ 322267 w 368025"/>
                  <a:gd name="connsiteY1" fmla="*/ 167843 h 279257"/>
                  <a:gd name="connsiteX2" fmla="*/ 368025 w 368025"/>
                  <a:gd name="connsiteY2" fmla="*/ 246320 h 279257"/>
                  <a:gd name="connsiteX3" fmla="*/ 322267 w 368025"/>
                  <a:gd name="connsiteY3" fmla="*/ 273133 h 279257"/>
                  <a:gd name="connsiteX4" fmla="*/ 276509 w 368025"/>
                  <a:gd name="connsiteY4" fmla="*/ 194002 h 279257"/>
                  <a:gd name="connsiteX5" fmla="*/ 304362 w 368025"/>
                  <a:gd name="connsiteY5" fmla="*/ 161446 h 279257"/>
                  <a:gd name="connsiteX6" fmla="*/ 166107 w 368025"/>
                  <a:gd name="connsiteY6" fmla="*/ 80521 h 279257"/>
                  <a:gd name="connsiteX7" fmla="*/ 184012 w 368025"/>
                  <a:gd name="connsiteY7" fmla="*/ 86539 h 279257"/>
                  <a:gd name="connsiteX8" fmla="*/ 229770 w 368025"/>
                  <a:gd name="connsiteY8" fmla="*/ 165671 h 279257"/>
                  <a:gd name="connsiteX9" fmla="*/ 184012 w 368025"/>
                  <a:gd name="connsiteY9" fmla="*/ 192484 h 279257"/>
                  <a:gd name="connsiteX10" fmla="*/ 138254 w 368025"/>
                  <a:gd name="connsiteY10" fmla="*/ 113352 h 279257"/>
                  <a:gd name="connsiteX11" fmla="*/ 166107 w 368025"/>
                  <a:gd name="connsiteY11" fmla="*/ 80521 h 279257"/>
                  <a:gd name="connsiteX12" fmla="*/ 27853 w 368025"/>
                  <a:gd name="connsiteY12" fmla="*/ 149 h 279257"/>
                  <a:gd name="connsiteX13" fmla="*/ 45758 w 368025"/>
                  <a:gd name="connsiteY13" fmla="*/ 6545 h 279257"/>
                  <a:gd name="connsiteX14" fmla="*/ 91516 w 368025"/>
                  <a:gd name="connsiteY14" fmla="*/ 85022 h 279257"/>
                  <a:gd name="connsiteX15" fmla="*/ 45758 w 368025"/>
                  <a:gd name="connsiteY15" fmla="*/ 111835 h 279257"/>
                  <a:gd name="connsiteX16" fmla="*/ 0 w 368025"/>
                  <a:gd name="connsiteY16" fmla="*/ 32704 h 279257"/>
                  <a:gd name="connsiteX17" fmla="*/ 27853 w 368025"/>
                  <a:gd name="connsiteY17" fmla="*/ 149 h 279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57">
                    <a:moveTo>
                      <a:pt x="304362" y="161446"/>
                    </a:moveTo>
                    <a:cubicBezTo>
                      <a:pt x="309847" y="161998"/>
                      <a:pt x="315893" y="164082"/>
                      <a:pt x="322267" y="167843"/>
                    </a:cubicBezTo>
                    <a:cubicBezTo>
                      <a:pt x="347761" y="182230"/>
                      <a:pt x="368025" y="217545"/>
                      <a:pt x="368025" y="246320"/>
                    </a:cubicBezTo>
                    <a:cubicBezTo>
                      <a:pt x="368025" y="275749"/>
                      <a:pt x="347761" y="287520"/>
                      <a:pt x="322267" y="273133"/>
                    </a:cubicBezTo>
                    <a:cubicBezTo>
                      <a:pt x="296773" y="258745"/>
                      <a:pt x="276509" y="222777"/>
                      <a:pt x="276509" y="194002"/>
                    </a:cubicBezTo>
                    <a:cubicBezTo>
                      <a:pt x="276509" y="171930"/>
                      <a:pt x="287908" y="159791"/>
                      <a:pt x="304362" y="161446"/>
                    </a:cubicBezTo>
                    <a:close/>
                    <a:moveTo>
                      <a:pt x="166107" y="80521"/>
                    </a:moveTo>
                    <a:cubicBezTo>
                      <a:pt x="171592" y="80980"/>
                      <a:pt x="177639" y="82942"/>
                      <a:pt x="184012" y="86539"/>
                    </a:cubicBezTo>
                    <a:cubicBezTo>
                      <a:pt x="209506" y="101581"/>
                      <a:pt x="229770" y="136895"/>
                      <a:pt x="229770" y="165671"/>
                    </a:cubicBezTo>
                    <a:cubicBezTo>
                      <a:pt x="229770" y="195100"/>
                      <a:pt x="209506" y="206871"/>
                      <a:pt x="184012" y="192484"/>
                    </a:cubicBezTo>
                    <a:cubicBezTo>
                      <a:pt x="158518" y="177442"/>
                      <a:pt x="138254" y="142127"/>
                      <a:pt x="138254" y="113352"/>
                    </a:cubicBezTo>
                    <a:cubicBezTo>
                      <a:pt x="138254" y="91281"/>
                      <a:pt x="149653" y="79141"/>
                      <a:pt x="166107" y="80521"/>
                    </a:cubicBezTo>
                    <a:close/>
                    <a:moveTo>
                      <a:pt x="27853" y="149"/>
                    </a:moveTo>
                    <a:cubicBezTo>
                      <a:pt x="33338" y="700"/>
                      <a:pt x="39385" y="2785"/>
                      <a:pt x="45758" y="6545"/>
                    </a:cubicBezTo>
                    <a:cubicBezTo>
                      <a:pt x="71252" y="20933"/>
                      <a:pt x="91516" y="56247"/>
                      <a:pt x="91516" y="85022"/>
                    </a:cubicBezTo>
                    <a:cubicBezTo>
                      <a:pt x="91516" y="114451"/>
                      <a:pt x="71252" y="126223"/>
                      <a:pt x="45758" y="111835"/>
                    </a:cubicBezTo>
                    <a:cubicBezTo>
                      <a:pt x="20264" y="96794"/>
                      <a:pt x="0" y="61479"/>
                      <a:pt x="0" y="32704"/>
                    </a:cubicBezTo>
                    <a:cubicBezTo>
                      <a:pt x="0" y="10633"/>
                      <a:pt x="11399" y="-1507"/>
                      <a:pt x="27853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7" name="Freeform 503">
                <a:extLst>
                  <a:ext uri="{FF2B5EF4-FFF2-40B4-BE49-F238E27FC236}">
                    <a16:creationId xmlns:a16="http://schemas.microsoft.com/office/drawing/2014/main" id="{D391D768-11D1-CC4B-9CEB-13BE03112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04110" y="3750155"/>
                <a:ext cx="829527" cy="1085875"/>
              </a:xfrm>
              <a:custGeom>
                <a:avLst/>
                <a:gdLst>
                  <a:gd name="T0" fmla="*/ 1189 w 1272"/>
                  <a:gd name="T1" fmla="*/ 609 h 1663"/>
                  <a:gd name="T2" fmla="*/ 154 w 1272"/>
                  <a:gd name="T3" fmla="*/ 12 h 1663"/>
                  <a:gd name="T4" fmla="*/ 154 w 1272"/>
                  <a:gd name="T5" fmla="*/ 12 h 1663"/>
                  <a:gd name="T6" fmla="*/ 100 w 1272"/>
                  <a:gd name="T7" fmla="*/ 8 h 1663"/>
                  <a:gd name="T8" fmla="*/ 100 w 1272"/>
                  <a:gd name="T9" fmla="*/ 8 h 1663"/>
                  <a:gd name="T10" fmla="*/ 100 w 1272"/>
                  <a:gd name="T11" fmla="*/ 7 h 1663"/>
                  <a:gd name="T12" fmla="*/ 0 w 1272"/>
                  <a:gd name="T13" fmla="*/ 66 h 1663"/>
                  <a:gd name="T14" fmla="*/ 0 w 1272"/>
                  <a:gd name="T15" fmla="*/ 66 h 1663"/>
                  <a:gd name="T16" fmla="*/ 71 w 1272"/>
                  <a:gd name="T17" fmla="*/ 91 h 1663"/>
                  <a:gd name="T18" fmla="*/ 71 w 1272"/>
                  <a:gd name="T19" fmla="*/ 844 h 1663"/>
                  <a:gd name="T20" fmla="*/ 71 w 1272"/>
                  <a:gd name="T21" fmla="*/ 844 h 1663"/>
                  <a:gd name="T22" fmla="*/ 154 w 1272"/>
                  <a:gd name="T23" fmla="*/ 1003 h 1663"/>
                  <a:gd name="T24" fmla="*/ 1143 w 1272"/>
                  <a:gd name="T25" fmla="*/ 1574 h 1663"/>
                  <a:gd name="T26" fmla="*/ 1143 w 1272"/>
                  <a:gd name="T27" fmla="*/ 1662 h 1663"/>
                  <a:gd name="T28" fmla="*/ 1244 w 1272"/>
                  <a:gd name="T29" fmla="*/ 1604 h 1663"/>
                  <a:gd name="T30" fmla="*/ 1243 w 1272"/>
                  <a:gd name="T31" fmla="*/ 1604 h 1663"/>
                  <a:gd name="T32" fmla="*/ 1243 w 1272"/>
                  <a:gd name="T33" fmla="*/ 1604 h 1663"/>
                  <a:gd name="T34" fmla="*/ 1271 w 1272"/>
                  <a:gd name="T35" fmla="*/ 1538 h 1663"/>
                  <a:gd name="T36" fmla="*/ 1271 w 1272"/>
                  <a:gd name="T37" fmla="*/ 768 h 1663"/>
                  <a:gd name="T38" fmla="*/ 1271 w 1272"/>
                  <a:gd name="T39" fmla="*/ 768 h 1663"/>
                  <a:gd name="T40" fmla="*/ 1189 w 1272"/>
                  <a:gd name="T41" fmla="*/ 609 h 1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3">
                    <a:moveTo>
                      <a:pt x="1189" y="609"/>
                    </a:moveTo>
                    <a:lnTo>
                      <a:pt x="154" y="12"/>
                    </a:lnTo>
                    <a:lnTo>
                      <a:pt x="154" y="12"/>
                    </a:lnTo>
                    <a:cubicBezTo>
                      <a:pt x="133" y="0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7"/>
                    </a:lnTo>
                    <a:lnTo>
                      <a:pt x="0" y="66"/>
                    </a:lnTo>
                    <a:lnTo>
                      <a:pt x="0" y="66"/>
                    </a:lnTo>
                    <a:cubicBezTo>
                      <a:pt x="0" y="66"/>
                      <a:pt x="45" y="81"/>
                      <a:pt x="71" y="91"/>
                    </a:cubicBezTo>
                    <a:lnTo>
                      <a:pt x="71" y="844"/>
                    </a:lnTo>
                    <a:lnTo>
                      <a:pt x="71" y="844"/>
                    </a:lnTo>
                    <a:cubicBezTo>
                      <a:pt x="71" y="905"/>
                      <a:pt x="108" y="977"/>
                      <a:pt x="154" y="1003"/>
                    </a:cubicBezTo>
                    <a:lnTo>
                      <a:pt x="1143" y="1574"/>
                    </a:lnTo>
                    <a:lnTo>
                      <a:pt x="1143" y="1662"/>
                    </a:lnTo>
                    <a:lnTo>
                      <a:pt x="1244" y="1604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1" y="1594"/>
                      <a:pt x="1271" y="1571"/>
                      <a:pt x="1271" y="1538"/>
                    </a:cubicBezTo>
                    <a:lnTo>
                      <a:pt x="1271" y="768"/>
                    </a:lnTo>
                    <a:lnTo>
                      <a:pt x="1271" y="768"/>
                    </a:lnTo>
                    <a:cubicBezTo>
                      <a:pt x="1271" y="707"/>
                      <a:pt x="1234" y="636"/>
                      <a:pt x="1189" y="609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8" name="Freeform 504">
                <a:extLst>
                  <a:ext uri="{FF2B5EF4-FFF2-40B4-BE49-F238E27FC236}">
                    <a16:creationId xmlns:a16="http://schemas.microsoft.com/office/drawing/2014/main" id="{A3DDA3D1-C5E4-0C47-8E61-81097B311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83947" y="3778957"/>
                <a:ext cx="783442" cy="1074354"/>
              </a:xfrm>
              <a:custGeom>
                <a:avLst/>
                <a:gdLst>
                  <a:gd name="T0" fmla="*/ 1117 w 1201"/>
                  <a:gd name="T1" fmla="*/ 1615 h 1643"/>
                  <a:gd name="T2" fmla="*/ 83 w 1201"/>
                  <a:gd name="T3" fmla="*/ 1018 h 1643"/>
                  <a:gd name="T4" fmla="*/ 83 w 1201"/>
                  <a:gd name="T5" fmla="*/ 1018 h 1643"/>
                  <a:gd name="T6" fmla="*/ 0 w 1201"/>
                  <a:gd name="T7" fmla="*/ 859 h 1643"/>
                  <a:gd name="T8" fmla="*/ 0 w 1201"/>
                  <a:gd name="T9" fmla="*/ 90 h 1643"/>
                  <a:gd name="T10" fmla="*/ 0 w 1201"/>
                  <a:gd name="T11" fmla="*/ 90 h 1643"/>
                  <a:gd name="T12" fmla="*/ 83 w 1201"/>
                  <a:gd name="T13" fmla="*/ 27 h 1643"/>
                  <a:gd name="T14" fmla="*/ 1117 w 1201"/>
                  <a:gd name="T15" fmla="*/ 624 h 1643"/>
                  <a:gd name="T16" fmla="*/ 1117 w 1201"/>
                  <a:gd name="T17" fmla="*/ 624 h 1643"/>
                  <a:gd name="T18" fmla="*/ 1200 w 1201"/>
                  <a:gd name="T19" fmla="*/ 783 h 1643"/>
                  <a:gd name="T20" fmla="*/ 1200 w 1201"/>
                  <a:gd name="T21" fmla="*/ 1553 h 1643"/>
                  <a:gd name="T22" fmla="*/ 1200 w 1201"/>
                  <a:gd name="T23" fmla="*/ 1553 h 1643"/>
                  <a:gd name="T24" fmla="*/ 1117 w 1201"/>
                  <a:gd name="T25" fmla="*/ 1615 h 1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1" h="1643">
                    <a:moveTo>
                      <a:pt x="1117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7" y="992"/>
                      <a:pt x="0" y="921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9"/>
                      <a:pt x="37" y="0"/>
                      <a:pt x="83" y="27"/>
                    </a:cubicBezTo>
                    <a:lnTo>
                      <a:pt x="1117" y="624"/>
                    </a:lnTo>
                    <a:lnTo>
                      <a:pt x="1117" y="624"/>
                    </a:lnTo>
                    <a:cubicBezTo>
                      <a:pt x="1163" y="651"/>
                      <a:pt x="1200" y="722"/>
                      <a:pt x="1200" y="783"/>
                    </a:cubicBezTo>
                    <a:lnTo>
                      <a:pt x="1200" y="1553"/>
                    </a:lnTo>
                    <a:lnTo>
                      <a:pt x="1200" y="1553"/>
                    </a:lnTo>
                    <a:cubicBezTo>
                      <a:pt x="1200" y="1614"/>
                      <a:pt x="1163" y="1642"/>
                      <a:pt x="1117" y="1615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9" name="Freeform 368">
                <a:extLst>
                  <a:ext uri="{FF2B5EF4-FFF2-40B4-BE49-F238E27FC236}">
                    <a16:creationId xmlns:a16="http://schemas.microsoft.com/office/drawing/2014/main" id="{7908FF1C-35B8-BC49-9364-AC847720A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74046" y="4184742"/>
                <a:ext cx="368025" cy="279220"/>
              </a:xfrm>
              <a:custGeom>
                <a:avLst/>
                <a:gdLst>
                  <a:gd name="connsiteX0" fmla="*/ 304362 w 368025"/>
                  <a:gd name="connsiteY0" fmla="*/ 161445 h 279220"/>
                  <a:gd name="connsiteX1" fmla="*/ 322267 w 368025"/>
                  <a:gd name="connsiteY1" fmla="*/ 167382 h 279220"/>
                  <a:gd name="connsiteX2" fmla="*/ 368025 w 368025"/>
                  <a:gd name="connsiteY2" fmla="*/ 246514 h 279220"/>
                  <a:gd name="connsiteX3" fmla="*/ 322267 w 368025"/>
                  <a:gd name="connsiteY3" fmla="*/ 272674 h 279220"/>
                  <a:gd name="connsiteX4" fmla="*/ 276509 w 368025"/>
                  <a:gd name="connsiteY4" fmla="*/ 193541 h 279220"/>
                  <a:gd name="connsiteX5" fmla="*/ 304362 w 368025"/>
                  <a:gd name="connsiteY5" fmla="*/ 161445 h 279220"/>
                  <a:gd name="connsiteX6" fmla="*/ 166108 w 368025"/>
                  <a:gd name="connsiteY6" fmla="*/ 80704 h 279220"/>
                  <a:gd name="connsiteX7" fmla="*/ 184013 w 368025"/>
                  <a:gd name="connsiteY7" fmla="*/ 86733 h 279220"/>
                  <a:gd name="connsiteX8" fmla="*/ 229771 w 368025"/>
                  <a:gd name="connsiteY8" fmla="*/ 165866 h 279220"/>
                  <a:gd name="connsiteX9" fmla="*/ 184013 w 368025"/>
                  <a:gd name="connsiteY9" fmla="*/ 192026 h 279220"/>
                  <a:gd name="connsiteX10" fmla="*/ 138255 w 368025"/>
                  <a:gd name="connsiteY10" fmla="*/ 112893 h 279220"/>
                  <a:gd name="connsiteX11" fmla="*/ 166108 w 368025"/>
                  <a:gd name="connsiteY11" fmla="*/ 80704 h 279220"/>
                  <a:gd name="connsiteX12" fmla="*/ 27853 w 368025"/>
                  <a:gd name="connsiteY12" fmla="*/ 106 h 279220"/>
                  <a:gd name="connsiteX13" fmla="*/ 45758 w 368025"/>
                  <a:gd name="connsiteY13" fmla="*/ 6154 h 279220"/>
                  <a:gd name="connsiteX14" fmla="*/ 91516 w 368025"/>
                  <a:gd name="connsiteY14" fmla="*/ 85671 h 279220"/>
                  <a:gd name="connsiteX15" fmla="*/ 45758 w 368025"/>
                  <a:gd name="connsiteY15" fmla="*/ 111957 h 279220"/>
                  <a:gd name="connsiteX16" fmla="*/ 0 w 368025"/>
                  <a:gd name="connsiteY16" fmla="*/ 33098 h 279220"/>
                  <a:gd name="connsiteX17" fmla="*/ 27853 w 368025"/>
                  <a:gd name="connsiteY17" fmla="*/ 106 h 27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68025" h="279220">
                    <a:moveTo>
                      <a:pt x="304362" y="161445"/>
                    </a:moveTo>
                    <a:cubicBezTo>
                      <a:pt x="309847" y="161864"/>
                      <a:pt x="315894" y="163785"/>
                      <a:pt x="322267" y="167382"/>
                    </a:cubicBezTo>
                    <a:cubicBezTo>
                      <a:pt x="347107" y="182424"/>
                      <a:pt x="368025" y="217739"/>
                      <a:pt x="368025" y="246514"/>
                    </a:cubicBezTo>
                    <a:cubicBezTo>
                      <a:pt x="368025" y="275944"/>
                      <a:pt x="347107" y="287715"/>
                      <a:pt x="322267" y="272674"/>
                    </a:cubicBezTo>
                    <a:cubicBezTo>
                      <a:pt x="296773" y="258286"/>
                      <a:pt x="276509" y="222971"/>
                      <a:pt x="276509" y="193541"/>
                    </a:cubicBezTo>
                    <a:cubicBezTo>
                      <a:pt x="276509" y="172450"/>
                      <a:pt x="287907" y="160188"/>
                      <a:pt x="304362" y="161445"/>
                    </a:cubicBezTo>
                    <a:close/>
                    <a:moveTo>
                      <a:pt x="166108" y="80704"/>
                    </a:moveTo>
                    <a:cubicBezTo>
                      <a:pt x="171593" y="81174"/>
                      <a:pt x="177640" y="83136"/>
                      <a:pt x="184013" y="86733"/>
                    </a:cubicBezTo>
                    <a:cubicBezTo>
                      <a:pt x="209507" y="101775"/>
                      <a:pt x="229771" y="137090"/>
                      <a:pt x="229771" y="165866"/>
                    </a:cubicBezTo>
                    <a:cubicBezTo>
                      <a:pt x="229771" y="195296"/>
                      <a:pt x="209507" y="207067"/>
                      <a:pt x="184013" y="192026"/>
                    </a:cubicBezTo>
                    <a:cubicBezTo>
                      <a:pt x="158519" y="177638"/>
                      <a:pt x="138255" y="142322"/>
                      <a:pt x="138255" y="112893"/>
                    </a:cubicBezTo>
                    <a:cubicBezTo>
                      <a:pt x="138255" y="91311"/>
                      <a:pt x="149654" y="79294"/>
                      <a:pt x="166108" y="80704"/>
                    </a:cubicBezTo>
                    <a:close/>
                    <a:moveTo>
                      <a:pt x="27853" y="106"/>
                    </a:moveTo>
                    <a:cubicBezTo>
                      <a:pt x="33338" y="569"/>
                      <a:pt x="39385" y="2540"/>
                      <a:pt x="45758" y="6154"/>
                    </a:cubicBezTo>
                    <a:cubicBezTo>
                      <a:pt x="70598" y="21269"/>
                      <a:pt x="91516" y="56756"/>
                      <a:pt x="91516" y="85671"/>
                    </a:cubicBezTo>
                    <a:cubicBezTo>
                      <a:pt x="91516" y="115243"/>
                      <a:pt x="70598" y="126415"/>
                      <a:pt x="45758" y="111957"/>
                    </a:cubicBezTo>
                    <a:cubicBezTo>
                      <a:pt x="20264" y="98157"/>
                      <a:pt x="0" y="62013"/>
                      <a:pt x="0" y="33098"/>
                    </a:cubicBezTo>
                    <a:cubicBezTo>
                      <a:pt x="0" y="10919"/>
                      <a:pt x="11399" y="-1280"/>
                      <a:pt x="27853" y="10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0" name="Freeform 508">
                <a:extLst>
                  <a:ext uri="{FF2B5EF4-FFF2-40B4-BE49-F238E27FC236}">
                    <a16:creationId xmlns:a16="http://schemas.microsoft.com/office/drawing/2014/main" id="{2FD9DE18-FF8E-D246-A703-50078DB35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01756"/>
                <a:ext cx="829527" cy="1085875"/>
              </a:xfrm>
              <a:custGeom>
                <a:avLst/>
                <a:gdLst>
                  <a:gd name="T0" fmla="*/ 1188 w 1272"/>
                  <a:gd name="T1" fmla="*/ 610 h 1664"/>
                  <a:gd name="T2" fmla="*/ 154 w 1272"/>
                  <a:gd name="T3" fmla="*/ 13 h 1664"/>
                  <a:gd name="T4" fmla="*/ 154 w 1272"/>
                  <a:gd name="T5" fmla="*/ 13 h 1664"/>
                  <a:gd name="T6" fmla="*/ 100 w 1272"/>
                  <a:gd name="T7" fmla="*/ 8 h 1664"/>
                  <a:gd name="T8" fmla="*/ 100 w 1272"/>
                  <a:gd name="T9" fmla="*/ 8 h 1664"/>
                  <a:gd name="T10" fmla="*/ 100 w 1272"/>
                  <a:gd name="T11" fmla="*/ 8 h 1664"/>
                  <a:gd name="T12" fmla="*/ 0 w 1272"/>
                  <a:gd name="T13" fmla="*/ 65 h 1664"/>
                  <a:gd name="T14" fmla="*/ 0 w 1272"/>
                  <a:gd name="T15" fmla="*/ 65 h 1664"/>
                  <a:gd name="T16" fmla="*/ 70 w 1272"/>
                  <a:gd name="T17" fmla="*/ 91 h 1664"/>
                  <a:gd name="T18" fmla="*/ 70 w 1272"/>
                  <a:gd name="T19" fmla="*/ 845 h 1664"/>
                  <a:gd name="T20" fmla="*/ 70 w 1272"/>
                  <a:gd name="T21" fmla="*/ 845 h 1664"/>
                  <a:gd name="T22" fmla="*/ 154 w 1272"/>
                  <a:gd name="T23" fmla="*/ 1004 h 1664"/>
                  <a:gd name="T24" fmla="*/ 1142 w 1272"/>
                  <a:gd name="T25" fmla="*/ 1575 h 1664"/>
                  <a:gd name="T26" fmla="*/ 1142 w 1272"/>
                  <a:gd name="T27" fmla="*/ 1663 h 1664"/>
                  <a:gd name="T28" fmla="*/ 1244 w 1272"/>
                  <a:gd name="T29" fmla="*/ 1605 h 1664"/>
                  <a:gd name="T30" fmla="*/ 1243 w 1272"/>
                  <a:gd name="T31" fmla="*/ 1604 h 1664"/>
                  <a:gd name="T32" fmla="*/ 1243 w 1272"/>
                  <a:gd name="T33" fmla="*/ 1604 h 1664"/>
                  <a:gd name="T34" fmla="*/ 1271 w 1272"/>
                  <a:gd name="T35" fmla="*/ 1538 h 1664"/>
                  <a:gd name="T36" fmla="*/ 1271 w 1272"/>
                  <a:gd name="T37" fmla="*/ 769 h 1664"/>
                  <a:gd name="T38" fmla="*/ 1271 w 1272"/>
                  <a:gd name="T39" fmla="*/ 769 h 1664"/>
                  <a:gd name="T40" fmla="*/ 1188 w 1272"/>
                  <a:gd name="T41" fmla="*/ 61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2" h="1664">
                    <a:moveTo>
                      <a:pt x="1188" y="610"/>
                    </a:moveTo>
                    <a:lnTo>
                      <a:pt x="154" y="13"/>
                    </a:lnTo>
                    <a:lnTo>
                      <a:pt x="154" y="13"/>
                    </a:lnTo>
                    <a:cubicBezTo>
                      <a:pt x="133" y="1"/>
                      <a:pt x="115" y="0"/>
                      <a:pt x="100" y="8"/>
                    </a:cubicBezTo>
                    <a:lnTo>
                      <a:pt x="100" y="8"/>
                    </a:lnTo>
                    <a:lnTo>
                      <a:pt x="100" y="8"/>
                    </a:lnTo>
                    <a:lnTo>
                      <a:pt x="0" y="65"/>
                    </a:lnTo>
                    <a:lnTo>
                      <a:pt x="0" y="65"/>
                    </a:lnTo>
                    <a:cubicBezTo>
                      <a:pt x="0" y="65"/>
                      <a:pt x="45" y="82"/>
                      <a:pt x="70" y="91"/>
                    </a:cubicBezTo>
                    <a:lnTo>
                      <a:pt x="70" y="845"/>
                    </a:lnTo>
                    <a:lnTo>
                      <a:pt x="70" y="845"/>
                    </a:lnTo>
                    <a:cubicBezTo>
                      <a:pt x="70" y="906"/>
                      <a:pt x="108" y="978"/>
                      <a:pt x="154" y="1004"/>
                    </a:cubicBezTo>
                    <a:lnTo>
                      <a:pt x="1142" y="1575"/>
                    </a:lnTo>
                    <a:lnTo>
                      <a:pt x="1142" y="1663"/>
                    </a:lnTo>
                    <a:lnTo>
                      <a:pt x="1244" y="1605"/>
                    </a:lnTo>
                    <a:lnTo>
                      <a:pt x="1243" y="1604"/>
                    </a:lnTo>
                    <a:lnTo>
                      <a:pt x="1243" y="1604"/>
                    </a:lnTo>
                    <a:cubicBezTo>
                      <a:pt x="1260" y="1594"/>
                      <a:pt x="1271" y="1571"/>
                      <a:pt x="1271" y="1538"/>
                    </a:cubicBezTo>
                    <a:lnTo>
                      <a:pt x="1271" y="769"/>
                    </a:lnTo>
                    <a:lnTo>
                      <a:pt x="1271" y="769"/>
                    </a:lnTo>
                    <a:cubicBezTo>
                      <a:pt x="1271" y="707"/>
                      <a:pt x="1234" y="636"/>
                      <a:pt x="1188" y="61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1" name="Freeform 509">
                <a:extLst>
                  <a:ext uri="{FF2B5EF4-FFF2-40B4-BE49-F238E27FC236}">
                    <a16:creationId xmlns:a16="http://schemas.microsoft.com/office/drawing/2014/main" id="{992205EF-9E53-954D-9B87-E0371650A6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2598" y="9545324"/>
                <a:ext cx="555899" cy="642308"/>
              </a:xfrm>
              <a:custGeom>
                <a:avLst/>
                <a:gdLst>
                  <a:gd name="T0" fmla="*/ 824 w 852"/>
                  <a:gd name="T1" fmla="*/ 926 h 985"/>
                  <a:gd name="T2" fmla="*/ 823 w 852"/>
                  <a:gd name="T3" fmla="*/ 925 h 985"/>
                  <a:gd name="T4" fmla="*/ 823 w 852"/>
                  <a:gd name="T5" fmla="*/ 925 h 985"/>
                  <a:gd name="T6" fmla="*/ 851 w 852"/>
                  <a:gd name="T7" fmla="*/ 859 h 985"/>
                  <a:gd name="T8" fmla="*/ 851 w 852"/>
                  <a:gd name="T9" fmla="*/ 90 h 985"/>
                  <a:gd name="T10" fmla="*/ 851 w 852"/>
                  <a:gd name="T11" fmla="*/ 90 h 985"/>
                  <a:gd name="T12" fmla="*/ 828 w 852"/>
                  <a:gd name="T13" fmla="*/ 0 h 985"/>
                  <a:gd name="T14" fmla="*/ 0 w 852"/>
                  <a:gd name="T15" fmla="*/ 478 h 985"/>
                  <a:gd name="T16" fmla="*/ 722 w 852"/>
                  <a:gd name="T17" fmla="*/ 896 h 985"/>
                  <a:gd name="T18" fmla="*/ 722 w 852"/>
                  <a:gd name="T19" fmla="*/ 984 h 985"/>
                  <a:gd name="T20" fmla="*/ 824 w 852"/>
                  <a:gd name="T21" fmla="*/ 92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2" h="985">
                    <a:moveTo>
                      <a:pt x="824" y="926"/>
                    </a:moveTo>
                    <a:lnTo>
                      <a:pt x="823" y="925"/>
                    </a:lnTo>
                    <a:lnTo>
                      <a:pt x="823" y="925"/>
                    </a:lnTo>
                    <a:cubicBezTo>
                      <a:pt x="840" y="915"/>
                      <a:pt x="851" y="892"/>
                      <a:pt x="851" y="859"/>
                    </a:cubicBezTo>
                    <a:lnTo>
                      <a:pt x="851" y="90"/>
                    </a:lnTo>
                    <a:lnTo>
                      <a:pt x="851" y="90"/>
                    </a:lnTo>
                    <a:cubicBezTo>
                      <a:pt x="851" y="60"/>
                      <a:pt x="843" y="28"/>
                      <a:pt x="828" y="0"/>
                    </a:cubicBezTo>
                    <a:lnTo>
                      <a:pt x="0" y="478"/>
                    </a:lnTo>
                    <a:lnTo>
                      <a:pt x="722" y="896"/>
                    </a:lnTo>
                    <a:lnTo>
                      <a:pt x="722" y="984"/>
                    </a:lnTo>
                    <a:lnTo>
                      <a:pt x="824" y="92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2" name="Freeform 510">
                <a:extLst>
                  <a:ext uri="{FF2B5EF4-FFF2-40B4-BE49-F238E27FC236}">
                    <a16:creationId xmlns:a16="http://schemas.microsoft.com/office/drawing/2014/main" id="{92135333-8D66-0841-9FB4-91E1EE130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8808" y="9130560"/>
                <a:ext cx="786323" cy="1071472"/>
              </a:xfrm>
              <a:custGeom>
                <a:avLst/>
                <a:gdLst>
                  <a:gd name="T0" fmla="*/ 1118 w 1202"/>
                  <a:gd name="T1" fmla="*/ 1615 h 1642"/>
                  <a:gd name="T2" fmla="*/ 83 w 1202"/>
                  <a:gd name="T3" fmla="*/ 1018 h 1642"/>
                  <a:gd name="T4" fmla="*/ 83 w 1202"/>
                  <a:gd name="T5" fmla="*/ 1018 h 1642"/>
                  <a:gd name="T6" fmla="*/ 0 w 1202"/>
                  <a:gd name="T7" fmla="*/ 859 h 1642"/>
                  <a:gd name="T8" fmla="*/ 0 w 1202"/>
                  <a:gd name="T9" fmla="*/ 90 h 1642"/>
                  <a:gd name="T10" fmla="*/ 0 w 1202"/>
                  <a:gd name="T11" fmla="*/ 90 h 1642"/>
                  <a:gd name="T12" fmla="*/ 83 w 1202"/>
                  <a:gd name="T13" fmla="*/ 26 h 1642"/>
                  <a:gd name="T14" fmla="*/ 1118 w 1202"/>
                  <a:gd name="T15" fmla="*/ 623 h 1642"/>
                  <a:gd name="T16" fmla="*/ 1118 w 1202"/>
                  <a:gd name="T17" fmla="*/ 623 h 1642"/>
                  <a:gd name="T18" fmla="*/ 1201 w 1202"/>
                  <a:gd name="T19" fmla="*/ 783 h 1642"/>
                  <a:gd name="T20" fmla="*/ 1201 w 1202"/>
                  <a:gd name="T21" fmla="*/ 1552 h 1642"/>
                  <a:gd name="T22" fmla="*/ 1201 w 1202"/>
                  <a:gd name="T23" fmla="*/ 1552 h 1642"/>
                  <a:gd name="T24" fmla="*/ 1118 w 1202"/>
                  <a:gd name="T25" fmla="*/ 1615 h 1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02" h="1642">
                    <a:moveTo>
                      <a:pt x="1118" y="1615"/>
                    </a:moveTo>
                    <a:lnTo>
                      <a:pt x="83" y="1018"/>
                    </a:lnTo>
                    <a:lnTo>
                      <a:pt x="83" y="1018"/>
                    </a:lnTo>
                    <a:cubicBezTo>
                      <a:pt x="38" y="991"/>
                      <a:pt x="0" y="920"/>
                      <a:pt x="0" y="859"/>
                    </a:cubicBezTo>
                    <a:lnTo>
                      <a:pt x="0" y="90"/>
                    </a:lnTo>
                    <a:lnTo>
                      <a:pt x="0" y="90"/>
                    </a:lnTo>
                    <a:cubicBezTo>
                      <a:pt x="0" y="28"/>
                      <a:pt x="38" y="0"/>
                      <a:pt x="83" y="26"/>
                    </a:cubicBezTo>
                    <a:lnTo>
                      <a:pt x="1118" y="623"/>
                    </a:lnTo>
                    <a:lnTo>
                      <a:pt x="1118" y="623"/>
                    </a:lnTo>
                    <a:cubicBezTo>
                      <a:pt x="1164" y="651"/>
                      <a:pt x="1201" y="722"/>
                      <a:pt x="1201" y="783"/>
                    </a:cubicBezTo>
                    <a:lnTo>
                      <a:pt x="1201" y="1552"/>
                    </a:lnTo>
                    <a:lnTo>
                      <a:pt x="1201" y="1552"/>
                    </a:lnTo>
                    <a:cubicBezTo>
                      <a:pt x="1201" y="1613"/>
                      <a:pt x="1164" y="1641"/>
                      <a:pt x="1118" y="1615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3" name="Freeform 372">
                <a:extLst>
                  <a:ext uri="{FF2B5EF4-FFF2-40B4-BE49-F238E27FC236}">
                    <a16:creationId xmlns:a16="http://schemas.microsoft.com/office/drawing/2014/main" id="{B702C9CE-516F-8645-8E6C-76D9F253A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91360" y="9473317"/>
                <a:ext cx="405731" cy="370271"/>
              </a:xfrm>
              <a:custGeom>
                <a:avLst/>
                <a:gdLst>
                  <a:gd name="connsiteX0" fmla="*/ 108155 w 405731"/>
                  <a:gd name="connsiteY0" fmla="*/ 0 h 370271"/>
                  <a:gd name="connsiteX1" fmla="*/ 393946 w 405731"/>
                  <a:gd name="connsiteY1" fmla="*/ 232304 h 370271"/>
                  <a:gd name="connsiteX2" fmla="*/ 393691 w 405731"/>
                  <a:gd name="connsiteY2" fmla="*/ 232618 h 370271"/>
                  <a:gd name="connsiteX3" fmla="*/ 404029 w 405731"/>
                  <a:gd name="connsiteY3" fmla="*/ 248812 h 370271"/>
                  <a:gd name="connsiteX4" fmla="*/ 404684 w 405731"/>
                  <a:gd name="connsiteY4" fmla="*/ 273126 h 370271"/>
                  <a:gd name="connsiteX5" fmla="*/ 328749 w 405731"/>
                  <a:gd name="connsiteY5" fmla="*/ 365923 h 370271"/>
                  <a:gd name="connsiteX6" fmla="*/ 304150 w 405731"/>
                  <a:gd name="connsiteY6" fmla="*/ 370171 h 370271"/>
                  <a:gd name="connsiteX7" fmla="*/ 286842 w 405731"/>
                  <a:gd name="connsiteY7" fmla="*/ 363852 h 370271"/>
                  <a:gd name="connsiteX8" fmla="*/ 285791 w 405731"/>
                  <a:gd name="connsiteY8" fmla="*/ 365143 h 370271"/>
                  <a:gd name="connsiteX9" fmla="*/ 0 w 405731"/>
                  <a:gd name="connsiteY9" fmla="*/ 132184 h 37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31" h="370271">
                    <a:moveTo>
                      <a:pt x="108155" y="0"/>
                    </a:moveTo>
                    <a:lnTo>
                      <a:pt x="393946" y="232304"/>
                    </a:lnTo>
                    <a:lnTo>
                      <a:pt x="393691" y="232618"/>
                    </a:lnTo>
                    <a:lnTo>
                      <a:pt x="404029" y="248812"/>
                    </a:lnTo>
                    <a:cubicBezTo>
                      <a:pt x="405993" y="255686"/>
                      <a:pt x="406321" y="263879"/>
                      <a:pt x="404684" y="273126"/>
                    </a:cubicBezTo>
                    <a:cubicBezTo>
                      <a:pt x="398793" y="310764"/>
                      <a:pt x="364098" y="352295"/>
                      <a:pt x="328749" y="365923"/>
                    </a:cubicBezTo>
                    <a:cubicBezTo>
                      <a:pt x="319748" y="369330"/>
                      <a:pt x="311443" y="370668"/>
                      <a:pt x="304150" y="370171"/>
                    </a:cubicBezTo>
                    <a:lnTo>
                      <a:pt x="286842" y="363852"/>
                    </a:lnTo>
                    <a:lnTo>
                      <a:pt x="285791" y="365143"/>
                    </a:lnTo>
                    <a:lnTo>
                      <a:pt x="0" y="1321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4" name="Freeform 514">
                <a:extLst>
                  <a:ext uri="{FF2B5EF4-FFF2-40B4-BE49-F238E27FC236}">
                    <a16:creationId xmlns:a16="http://schemas.microsoft.com/office/drawing/2014/main" id="{A1E9A921-F565-B24F-BBD3-B3891726B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7446" y="9510759"/>
                <a:ext cx="204502" cy="210263"/>
              </a:xfrm>
              <a:custGeom>
                <a:avLst/>
                <a:gdLst>
                  <a:gd name="T0" fmla="*/ 165 w 313"/>
                  <a:gd name="T1" fmla="*/ 0 h 324"/>
                  <a:gd name="T2" fmla="*/ 312 w 313"/>
                  <a:gd name="T3" fmla="*/ 121 h 324"/>
                  <a:gd name="T4" fmla="*/ 312 w 313"/>
                  <a:gd name="T5" fmla="*/ 121 h 324"/>
                  <a:gd name="T6" fmla="*/ 148 w 313"/>
                  <a:gd name="T7" fmla="*/ 323 h 324"/>
                  <a:gd name="T8" fmla="*/ 0 w 313"/>
                  <a:gd name="T9" fmla="*/ 202 h 324"/>
                  <a:gd name="T10" fmla="*/ 0 w 313"/>
                  <a:gd name="T11" fmla="*/ 202 h 324"/>
                  <a:gd name="T12" fmla="*/ 165 w 313"/>
                  <a:gd name="T13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3" h="324">
                    <a:moveTo>
                      <a:pt x="165" y="0"/>
                    </a:moveTo>
                    <a:lnTo>
                      <a:pt x="312" y="121"/>
                    </a:lnTo>
                    <a:lnTo>
                      <a:pt x="312" y="121"/>
                    </a:lnTo>
                    <a:cubicBezTo>
                      <a:pt x="291" y="202"/>
                      <a:pt x="223" y="285"/>
                      <a:pt x="148" y="323"/>
                    </a:cubicBezTo>
                    <a:lnTo>
                      <a:pt x="0" y="202"/>
                    </a:lnTo>
                    <a:lnTo>
                      <a:pt x="0" y="202"/>
                    </a:lnTo>
                    <a:cubicBezTo>
                      <a:pt x="22" y="121"/>
                      <a:pt x="90" y="37"/>
                      <a:pt x="165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5" name="Freeform 374">
                <a:extLst>
                  <a:ext uri="{FF2B5EF4-FFF2-40B4-BE49-F238E27FC236}">
                    <a16:creationId xmlns:a16="http://schemas.microsoft.com/office/drawing/2014/main" id="{3BCF2184-7FC0-D942-B87E-5CB18591FA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97662" y="9223565"/>
                <a:ext cx="503216" cy="475844"/>
              </a:xfrm>
              <a:custGeom>
                <a:avLst/>
                <a:gdLst>
                  <a:gd name="connsiteX0" fmla="*/ 163485 w 503216"/>
                  <a:gd name="connsiteY0" fmla="*/ 199 h 475844"/>
                  <a:gd name="connsiteX1" fmla="*/ 186688 w 503216"/>
                  <a:gd name="connsiteY1" fmla="*/ 7147 h 475844"/>
                  <a:gd name="connsiteX2" fmla="*/ 193964 w 503216"/>
                  <a:gd name="connsiteY2" fmla="*/ 14297 h 475844"/>
                  <a:gd name="connsiteX3" fmla="*/ 194559 w 503216"/>
                  <a:gd name="connsiteY3" fmla="*/ 13566 h 475844"/>
                  <a:gd name="connsiteX4" fmla="*/ 486026 w 503216"/>
                  <a:gd name="connsiteY4" fmla="*/ 251432 h 475844"/>
                  <a:gd name="connsiteX5" fmla="*/ 484762 w 503216"/>
                  <a:gd name="connsiteY5" fmla="*/ 252974 h 475844"/>
                  <a:gd name="connsiteX6" fmla="*/ 493961 w 503216"/>
                  <a:gd name="connsiteY6" fmla="*/ 261935 h 475844"/>
                  <a:gd name="connsiteX7" fmla="*/ 501535 w 503216"/>
                  <a:gd name="connsiteY7" fmla="*/ 317483 h 475844"/>
                  <a:gd name="connsiteX8" fmla="*/ 378512 w 503216"/>
                  <a:gd name="connsiteY8" fmla="*/ 468773 h 475844"/>
                  <a:gd name="connsiteX9" fmla="*/ 339173 w 503216"/>
                  <a:gd name="connsiteY9" fmla="*/ 475670 h 475844"/>
                  <a:gd name="connsiteX10" fmla="*/ 311014 w 503216"/>
                  <a:gd name="connsiteY10" fmla="*/ 464962 h 475844"/>
                  <a:gd name="connsiteX11" fmla="*/ 310885 w 503216"/>
                  <a:gd name="connsiteY11" fmla="*/ 465120 h 475844"/>
                  <a:gd name="connsiteX12" fmla="*/ 310410 w 503216"/>
                  <a:gd name="connsiteY12" fmla="*/ 464732 h 475844"/>
                  <a:gd name="connsiteX13" fmla="*/ 309841 w 503216"/>
                  <a:gd name="connsiteY13" fmla="*/ 464516 h 475844"/>
                  <a:gd name="connsiteX14" fmla="*/ 309531 w 503216"/>
                  <a:gd name="connsiteY14" fmla="*/ 464016 h 475844"/>
                  <a:gd name="connsiteX15" fmla="*/ 20071 w 503216"/>
                  <a:gd name="connsiteY15" fmla="*/ 227907 h 475844"/>
                  <a:gd name="connsiteX16" fmla="*/ 21387 w 503216"/>
                  <a:gd name="connsiteY16" fmla="*/ 226291 h 475844"/>
                  <a:gd name="connsiteX17" fmla="*/ 19338 w 503216"/>
                  <a:gd name="connsiteY17" fmla="*/ 225518 h 475844"/>
                  <a:gd name="connsiteX18" fmla="*/ 1682 w 503216"/>
                  <a:gd name="connsiteY18" fmla="*/ 158551 h 475844"/>
                  <a:gd name="connsiteX19" fmla="*/ 124054 w 503216"/>
                  <a:gd name="connsiteY19" fmla="*/ 6977 h 475844"/>
                  <a:gd name="connsiteX20" fmla="*/ 163485 w 503216"/>
                  <a:gd name="connsiteY20" fmla="*/ 199 h 475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03216" h="475844">
                    <a:moveTo>
                      <a:pt x="163485" y="199"/>
                    </a:moveTo>
                    <a:cubicBezTo>
                      <a:pt x="172219" y="873"/>
                      <a:pt x="180020" y="3246"/>
                      <a:pt x="186688" y="7147"/>
                    </a:cubicBezTo>
                    <a:lnTo>
                      <a:pt x="193964" y="14297"/>
                    </a:lnTo>
                    <a:lnTo>
                      <a:pt x="194559" y="13566"/>
                    </a:lnTo>
                    <a:lnTo>
                      <a:pt x="486026" y="251432"/>
                    </a:lnTo>
                    <a:lnTo>
                      <a:pt x="484762" y="252974"/>
                    </a:lnTo>
                    <a:lnTo>
                      <a:pt x="493961" y="261935"/>
                    </a:lnTo>
                    <a:cubicBezTo>
                      <a:pt x="502390" y="275455"/>
                      <a:pt x="505441" y="294397"/>
                      <a:pt x="501535" y="317483"/>
                    </a:cubicBezTo>
                    <a:cubicBezTo>
                      <a:pt x="491772" y="379047"/>
                      <a:pt x="436444" y="446505"/>
                      <a:pt x="378512" y="468773"/>
                    </a:cubicBezTo>
                    <a:cubicBezTo>
                      <a:pt x="364029" y="474340"/>
                      <a:pt x="350767" y="476510"/>
                      <a:pt x="339173" y="475670"/>
                    </a:cubicBezTo>
                    <a:lnTo>
                      <a:pt x="311014" y="464962"/>
                    </a:lnTo>
                    <a:lnTo>
                      <a:pt x="310885" y="465120"/>
                    </a:lnTo>
                    <a:lnTo>
                      <a:pt x="310410" y="464732"/>
                    </a:lnTo>
                    <a:lnTo>
                      <a:pt x="309841" y="464516"/>
                    </a:lnTo>
                    <a:lnTo>
                      <a:pt x="309531" y="464016"/>
                    </a:lnTo>
                    <a:lnTo>
                      <a:pt x="20071" y="227907"/>
                    </a:lnTo>
                    <a:lnTo>
                      <a:pt x="21387" y="226291"/>
                    </a:lnTo>
                    <a:lnTo>
                      <a:pt x="19338" y="225518"/>
                    </a:lnTo>
                    <a:cubicBezTo>
                      <a:pt x="3635" y="212614"/>
                      <a:pt x="-3525" y="189258"/>
                      <a:pt x="1682" y="158551"/>
                    </a:cubicBezTo>
                    <a:cubicBezTo>
                      <a:pt x="11445" y="97137"/>
                      <a:pt x="66122" y="29844"/>
                      <a:pt x="124054" y="6977"/>
                    </a:cubicBezTo>
                    <a:cubicBezTo>
                      <a:pt x="138537" y="1424"/>
                      <a:pt x="151840" y="-699"/>
                      <a:pt x="163485" y="19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6" name="Freeform 517">
                <a:extLst>
                  <a:ext uri="{FF2B5EF4-FFF2-40B4-BE49-F238E27FC236}">
                    <a16:creationId xmlns:a16="http://schemas.microsoft.com/office/drawing/2014/main" id="{5149EF60-A2B6-A64C-8FC9-E53F89FFC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0775" y="9268814"/>
                <a:ext cx="129613" cy="152657"/>
              </a:xfrm>
              <a:custGeom>
                <a:avLst/>
                <a:gdLst>
                  <a:gd name="T0" fmla="*/ 84 w 200"/>
                  <a:gd name="T1" fmla="*/ 212 h 232"/>
                  <a:gd name="T2" fmla="*/ 84 w 200"/>
                  <a:gd name="T3" fmla="*/ 212 h 232"/>
                  <a:gd name="T4" fmla="*/ 191 w 200"/>
                  <a:gd name="T5" fmla="*/ 81 h 232"/>
                  <a:gd name="T6" fmla="*/ 191 w 200"/>
                  <a:gd name="T7" fmla="*/ 81 h 232"/>
                  <a:gd name="T8" fmla="*/ 115 w 200"/>
                  <a:gd name="T9" fmla="*/ 19 h 232"/>
                  <a:gd name="T10" fmla="*/ 115 w 200"/>
                  <a:gd name="T11" fmla="*/ 19 h 232"/>
                  <a:gd name="T12" fmla="*/ 8 w 200"/>
                  <a:gd name="T13" fmla="*/ 150 h 232"/>
                  <a:gd name="T14" fmla="*/ 8 w 200"/>
                  <a:gd name="T15" fmla="*/ 150 h 232"/>
                  <a:gd name="T16" fmla="*/ 84 w 200"/>
                  <a:gd name="T17" fmla="*/ 21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32">
                    <a:moveTo>
                      <a:pt x="84" y="212"/>
                    </a:moveTo>
                    <a:lnTo>
                      <a:pt x="84" y="212"/>
                    </a:lnTo>
                    <a:cubicBezTo>
                      <a:pt x="134" y="193"/>
                      <a:pt x="182" y="134"/>
                      <a:pt x="191" y="81"/>
                    </a:cubicBezTo>
                    <a:lnTo>
                      <a:pt x="191" y="81"/>
                    </a:lnTo>
                    <a:cubicBezTo>
                      <a:pt x="199" y="28"/>
                      <a:pt x="165" y="0"/>
                      <a:pt x="115" y="19"/>
                    </a:cubicBezTo>
                    <a:lnTo>
                      <a:pt x="115" y="19"/>
                    </a:lnTo>
                    <a:cubicBezTo>
                      <a:pt x="65" y="38"/>
                      <a:pt x="17" y="97"/>
                      <a:pt x="8" y="150"/>
                    </a:cubicBezTo>
                    <a:lnTo>
                      <a:pt x="8" y="150"/>
                    </a:lnTo>
                    <a:cubicBezTo>
                      <a:pt x="0" y="203"/>
                      <a:pt x="34" y="231"/>
                      <a:pt x="84" y="212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7" name="Freeform 519">
                <a:extLst>
                  <a:ext uri="{FF2B5EF4-FFF2-40B4-BE49-F238E27FC236}">
                    <a16:creationId xmlns:a16="http://schemas.microsoft.com/office/drawing/2014/main" id="{578E54B8-9F7C-F548-A624-85D7D4C0D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21321" y="8940459"/>
                <a:ext cx="2500102" cy="3390117"/>
              </a:xfrm>
              <a:custGeom>
                <a:avLst/>
                <a:gdLst>
                  <a:gd name="T0" fmla="*/ 505 w 3829"/>
                  <a:gd name="T1" fmla="*/ 5189 h 5190"/>
                  <a:gd name="T2" fmla="*/ 505 w 3829"/>
                  <a:gd name="T3" fmla="*/ 5189 h 5190"/>
                  <a:gd name="T4" fmla="*/ 299 w 3829"/>
                  <a:gd name="T5" fmla="*/ 5131 h 5190"/>
                  <a:gd name="T6" fmla="*/ 20 w 3829"/>
                  <a:gd name="T7" fmla="*/ 4965 h 5190"/>
                  <a:gd name="T8" fmla="*/ 20 w 3829"/>
                  <a:gd name="T9" fmla="*/ 4965 h 5190"/>
                  <a:gd name="T10" fmla="*/ 9 w 3829"/>
                  <a:gd name="T11" fmla="*/ 4922 h 5190"/>
                  <a:gd name="T12" fmla="*/ 9 w 3829"/>
                  <a:gd name="T13" fmla="*/ 4922 h 5190"/>
                  <a:gd name="T14" fmla="*/ 52 w 3829"/>
                  <a:gd name="T15" fmla="*/ 4911 h 5190"/>
                  <a:gd name="T16" fmla="*/ 332 w 3829"/>
                  <a:gd name="T17" fmla="*/ 5076 h 5190"/>
                  <a:gd name="T18" fmla="*/ 332 w 3829"/>
                  <a:gd name="T19" fmla="*/ 5076 h 5190"/>
                  <a:gd name="T20" fmla="*/ 681 w 3829"/>
                  <a:gd name="T21" fmla="*/ 5075 h 5190"/>
                  <a:gd name="T22" fmla="*/ 681 w 3829"/>
                  <a:gd name="T23" fmla="*/ 5075 h 5190"/>
                  <a:gd name="T24" fmla="*/ 841 w 3829"/>
                  <a:gd name="T25" fmla="*/ 4764 h 5190"/>
                  <a:gd name="T26" fmla="*/ 835 w 3829"/>
                  <a:gd name="T27" fmla="*/ 4680 h 5190"/>
                  <a:gd name="T28" fmla="*/ 835 w 3829"/>
                  <a:gd name="T29" fmla="*/ 4680 h 5190"/>
                  <a:gd name="T30" fmla="*/ 1637 w 3829"/>
                  <a:gd name="T31" fmla="*/ 453 h 5190"/>
                  <a:gd name="T32" fmla="*/ 1637 w 3829"/>
                  <a:gd name="T33" fmla="*/ 453 h 5190"/>
                  <a:gd name="T34" fmla="*/ 2452 w 3829"/>
                  <a:gd name="T35" fmla="*/ 199 h 5190"/>
                  <a:gd name="T36" fmla="*/ 2452 w 3829"/>
                  <a:gd name="T37" fmla="*/ 199 h 5190"/>
                  <a:gd name="T38" fmla="*/ 3812 w 3829"/>
                  <a:gd name="T39" fmla="*/ 589 h 5190"/>
                  <a:gd name="T40" fmla="*/ 3812 w 3829"/>
                  <a:gd name="T41" fmla="*/ 589 h 5190"/>
                  <a:gd name="T42" fmla="*/ 3818 w 3829"/>
                  <a:gd name="T43" fmla="*/ 633 h 5190"/>
                  <a:gd name="T44" fmla="*/ 3818 w 3829"/>
                  <a:gd name="T45" fmla="*/ 633 h 5190"/>
                  <a:gd name="T46" fmla="*/ 3774 w 3829"/>
                  <a:gd name="T47" fmla="*/ 640 h 5190"/>
                  <a:gd name="T48" fmla="*/ 3774 w 3829"/>
                  <a:gd name="T49" fmla="*/ 640 h 5190"/>
                  <a:gd name="T50" fmla="*/ 2473 w 3829"/>
                  <a:gd name="T51" fmla="*/ 258 h 5190"/>
                  <a:gd name="T52" fmla="*/ 2473 w 3829"/>
                  <a:gd name="T53" fmla="*/ 258 h 5190"/>
                  <a:gd name="T54" fmla="*/ 1652 w 3829"/>
                  <a:gd name="T55" fmla="*/ 514 h 5190"/>
                  <a:gd name="T56" fmla="*/ 1652 w 3829"/>
                  <a:gd name="T57" fmla="*/ 514 h 5190"/>
                  <a:gd name="T58" fmla="*/ 898 w 3829"/>
                  <a:gd name="T59" fmla="*/ 4675 h 5190"/>
                  <a:gd name="T60" fmla="*/ 904 w 3829"/>
                  <a:gd name="T61" fmla="*/ 4760 h 5190"/>
                  <a:gd name="T62" fmla="*/ 904 w 3829"/>
                  <a:gd name="T63" fmla="*/ 4760 h 5190"/>
                  <a:gd name="T64" fmla="*/ 714 w 3829"/>
                  <a:gd name="T65" fmla="*/ 5129 h 5190"/>
                  <a:gd name="T66" fmla="*/ 714 w 3829"/>
                  <a:gd name="T67" fmla="*/ 5129 h 5190"/>
                  <a:gd name="T68" fmla="*/ 505 w 3829"/>
                  <a:gd name="T69" fmla="*/ 5189 h 5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9" h="5190">
                    <a:moveTo>
                      <a:pt x="505" y="5189"/>
                    </a:moveTo>
                    <a:lnTo>
                      <a:pt x="505" y="5189"/>
                    </a:lnTo>
                    <a:cubicBezTo>
                      <a:pt x="435" y="5189"/>
                      <a:pt x="364" y="5169"/>
                      <a:pt x="299" y="5131"/>
                    </a:cubicBezTo>
                    <a:lnTo>
                      <a:pt x="20" y="4965"/>
                    </a:lnTo>
                    <a:lnTo>
                      <a:pt x="20" y="4965"/>
                    </a:lnTo>
                    <a:cubicBezTo>
                      <a:pt x="4" y="4956"/>
                      <a:pt x="0" y="4937"/>
                      <a:pt x="9" y="4922"/>
                    </a:cubicBezTo>
                    <a:lnTo>
                      <a:pt x="9" y="4922"/>
                    </a:lnTo>
                    <a:cubicBezTo>
                      <a:pt x="17" y="4907"/>
                      <a:pt x="37" y="4902"/>
                      <a:pt x="52" y="4911"/>
                    </a:cubicBezTo>
                    <a:lnTo>
                      <a:pt x="332" y="5076"/>
                    </a:lnTo>
                    <a:lnTo>
                      <a:pt x="332" y="5076"/>
                    </a:lnTo>
                    <a:cubicBezTo>
                      <a:pt x="441" y="5142"/>
                      <a:pt x="572" y="5142"/>
                      <a:pt x="681" y="5075"/>
                    </a:cubicBezTo>
                    <a:lnTo>
                      <a:pt x="681" y="5075"/>
                    </a:lnTo>
                    <a:cubicBezTo>
                      <a:pt x="790" y="5008"/>
                      <a:pt x="850" y="4892"/>
                      <a:pt x="841" y="4764"/>
                    </a:cubicBezTo>
                    <a:lnTo>
                      <a:pt x="835" y="4680"/>
                    </a:lnTo>
                    <a:lnTo>
                      <a:pt x="835" y="4680"/>
                    </a:lnTo>
                    <a:cubicBezTo>
                      <a:pt x="737" y="3299"/>
                      <a:pt x="554" y="730"/>
                      <a:pt x="1637" y="453"/>
                    </a:cubicBezTo>
                    <a:lnTo>
                      <a:pt x="1637" y="453"/>
                    </a:lnTo>
                    <a:cubicBezTo>
                      <a:pt x="2010" y="357"/>
                      <a:pt x="2266" y="265"/>
                      <a:pt x="2452" y="199"/>
                    </a:cubicBezTo>
                    <a:lnTo>
                      <a:pt x="2452" y="199"/>
                    </a:lnTo>
                    <a:cubicBezTo>
                      <a:pt x="3007" y="0"/>
                      <a:pt x="3046" y="11"/>
                      <a:pt x="3812" y="589"/>
                    </a:cubicBezTo>
                    <a:lnTo>
                      <a:pt x="3812" y="589"/>
                    </a:lnTo>
                    <a:cubicBezTo>
                      <a:pt x="3826" y="600"/>
                      <a:pt x="3828" y="620"/>
                      <a:pt x="3818" y="633"/>
                    </a:cubicBezTo>
                    <a:lnTo>
                      <a:pt x="3818" y="633"/>
                    </a:lnTo>
                    <a:cubicBezTo>
                      <a:pt x="3808" y="648"/>
                      <a:pt x="3788" y="650"/>
                      <a:pt x="3774" y="640"/>
                    </a:cubicBezTo>
                    <a:lnTo>
                      <a:pt x="3774" y="640"/>
                    </a:lnTo>
                    <a:cubicBezTo>
                      <a:pt x="3013" y="65"/>
                      <a:pt x="3003" y="69"/>
                      <a:pt x="2473" y="258"/>
                    </a:cubicBezTo>
                    <a:lnTo>
                      <a:pt x="2473" y="258"/>
                    </a:lnTo>
                    <a:cubicBezTo>
                      <a:pt x="2286" y="325"/>
                      <a:pt x="2029" y="417"/>
                      <a:pt x="1652" y="514"/>
                    </a:cubicBezTo>
                    <a:lnTo>
                      <a:pt x="1652" y="514"/>
                    </a:lnTo>
                    <a:cubicBezTo>
                      <a:pt x="621" y="778"/>
                      <a:pt x="801" y="3313"/>
                      <a:pt x="898" y="4675"/>
                    </a:cubicBezTo>
                    <a:lnTo>
                      <a:pt x="904" y="4760"/>
                    </a:lnTo>
                    <a:lnTo>
                      <a:pt x="904" y="4760"/>
                    </a:lnTo>
                    <a:cubicBezTo>
                      <a:pt x="915" y="4911"/>
                      <a:pt x="844" y="5049"/>
                      <a:pt x="714" y="5129"/>
                    </a:cubicBezTo>
                    <a:lnTo>
                      <a:pt x="714" y="5129"/>
                    </a:lnTo>
                    <a:cubicBezTo>
                      <a:pt x="649" y="5169"/>
                      <a:pt x="577" y="5189"/>
                      <a:pt x="505" y="518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8" name="Freeform 520">
                <a:extLst>
                  <a:ext uri="{FF2B5EF4-FFF2-40B4-BE49-F238E27FC236}">
                    <a16:creationId xmlns:a16="http://schemas.microsoft.com/office/drawing/2014/main" id="{C1C80A5F-4F3D-1A4C-BF55-A7631B7C9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03504" y="11852446"/>
                <a:ext cx="1468954" cy="849688"/>
              </a:xfrm>
              <a:custGeom>
                <a:avLst/>
                <a:gdLst>
                  <a:gd name="T0" fmla="*/ 1849 w 2250"/>
                  <a:gd name="T1" fmla="*/ 1068 h 1299"/>
                  <a:gd name="T2" fmla="*/ 1849 w 2250"/>
                  <a:gd name="T3" fmla="*/ 1068 h 1299"/>
                  <a:gd name="T4" fmla="*/ 401 w 2250"/>
                  <a:gd name="T5" fmla="*/ 1068 h 1299"/>
                  <a:gd name="T6" fmla="*/ 401 w 2250"/>
                  <a:gd name="T7" fmla="*/ 1068 h 1299"/>
                  <a:gd name="T8" fmla="*/ 401 w 2250"/>
                  <a:gd name="T9" fmla="*/ 231 h 1299"/>
                  <a:gd name="T10" fmla="*/ 401 w 2250"/>
                  <a:gd name="T11" fmla="*/ 231 h 1299"/>
                  <a:gd name="T12" fmla="*/ 1849 w 2250"/>
                  <a:gd name="T13" fmla="*/ 231 h 1299"/>
                  <a:gd name="T14" fmla="*/ 1849 w 2250"/>
                  <a:gd name="T15" fmla="*/ 231 h 1299"/>
                  <a:gd name="T16" fmla="*/ 1849 w 2250"/>
                  <a:gd name="T17" fmla="*/ 1068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0" h="1299">
                    <a:moveTo>
                      <a:pt x="1849" y="1068"/>
                    </a:moveTo>
                    <a:lnTo>
                      <a:pt x="1849" y="1068"/>
                    </a:lnTo>
                    <a:cubicBezTo>
                      <a:pt x="1449" y="1298"/>
                      <a:pt x="800" y="1298"/>
                      <a:pt x="401" y="1068"/>
                    </a:cubicBezTo>
                    <a:lnTo>
                      <a:pt x="401" y="1068"/>
                    </a:lnTo>
                    <a:cubicBezTo>
                      <a:pt x="0" y="836"/>
                      <a:pt x="0" y="462"/>
                      <a:pt x="401" y="231"/>
                    </a:cubicBezTo>
                    <a:lnTo>
                      <a:pt x="401" y="231"/>
                    </a:lnTo>
                    <a:cubicBezTo>
                      <a:pt x="800" y="0"/>
                      <a:pt x="1449" y="0"/>
                      <a:pt x="1849" y="231"/>
                    </a:cubicBezTo>
                    <a:lnTo>
                      <a:pt x="1849" y="231"/>
                    </a:lnTo>
                    <a:cubicBezTo>
                      <a:pt x="2249" y="462"/>
                      <a:pt x="2249" y="837"/>
                      <a:pt x="1849" y="1068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79" name="Freeform 521">
                <a:extLst>
                  <a:ext uri="{FF2B5EF4-FFF2-40B4-BE49-F238E27FC236}">
                    <a16:creationId xmlns:a16="http://schemas.microsoft.com/office/drawing/2014/main" id="{A7C5521D-6FE5-9A4A-9A53-CA8BAE497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75425" y="11898531"/>
                <a:ext cx="342757" cy="426285"/>
              </a:xfrm>
              <a:custGeom>
                <a:avLst/>
                <a:gdLst>
                  <a:gd name="T0" fmla="*/ 430 w 525"/>
                  <a:gd name="T1" fmla="*/ 325 h 653"/>
                  <a:gd name="T2" fmla="*/ 430 w 525"/>
                  <a:gd name="T3" fmla="*/ 325 h 653"/>
                  <a:gd name="T4" fmla="*/ 520 w 525"/>
                  <a:gd name="T5" fmla="*/ 483 h 653"/>
                  <a:gd name="T6" fmla="*/ 520 w 525"/>
                  <a:gd name="T7" fmla="*/ 483 h 653"/>
                  <a:gd name="T8" fmla="*/ 507 w 525"/>
                  <a:gd name="T9" fmla="*/ 560 h 653"/>
                  <a:gd name="T10" fmla="*/ 507 w 525"/>
                  <a:gd name="T11" fmla="*/ 560 h 653"/>
                  <a:gd name="T12" fmla="*/ 332 w 525"/>
                  <a:gd name="T13" fmla="*/ 614 h 653"/>
                  <a:gd name="T14" fmla="*/ 332 w 525"/>
                  <a:gd name="T15" fmla="*/ 614 h 653"/>
                  <a:gd name="T16" fmla="*/ 15 w 525"/>
                  <a:gd name="T17" fmla="*/ 244 h 653"/>
                  <a:gd name="T18" fmla="*/ 15 w 525"/>
                  <a:gd name="T19" fmla="*/ 244 h 653"/>
                  <a:gd name="T20" fmla="*/ 430 w 525"/>
                  <a:gd name="T21" fmla="*/ 325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5" h="653">
                    <a:moveTo>
                      <a:pt x="430" y="325"/>
                    </a:moveTo>
                    <a:lnTo>
                      <a:pt x="430" y="325"/>
                    </a:lnTo>
                    <a:cubicBezTo>
                      <a:pt x="488" y="350"/>
                      <a:pt x="524" y="414"/>
                      <a:pt x="520" y="483"/>
                    </a:cubicBezTo>
                    <a:lnTo>
                      <a:pt x="520" y="483"/>
                    </a:lnTo>
                    <a:cubicBezTo>
                      <a:pt x="517" y="516"/>
                      <a:pt x="513" y="546"/>
                      <a:pt x="507" y="560"/>
                    </a:cubicBezTo>
                    <a:lnTo>
                      <a:pt x="507" y="560"/>
                    </a:lnTo>
                    <a:cubicBezTo>
                      <a:pt x="489" y="599"/>
                      <a:pt x="428" y="652"/>
                      <a:pt x="332" y="614"/>
                    </a:cubicBezTo>
                    <a:lnTo>
                      <a:pt x="332" y="614"/>
                    </a:lnTo>
                    <a:cubicBezTo>
                      <a:pt x="236" y="576"/>
                      <a:pt x="23" y="375"/>
                      <a:pt x="15" y="244"/>
                    </a:cubicBezTo>
                    <a:lnTo>
                      <a:pt x="15" y="244"/>
                    </a:lnTo>
                    <a:cubicBezTo>
                      <a:pt x="0" y="0"/>
                      <a:pt x="278" y="260"/>
                      <a:pt x="430" y="325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0" name="Freeform 522">
                <a:extLst>
                  <a:ext uri="{FF2B5EF4-FFF2-40B4-BE49-F238E27FC236}">
                    <a16:creationId xmlns:a16="http://schemas.microsoft.com/office/drawing/2014/main" id="{1FDE26D1-7CEA-E749-A8E3-65D59A7FE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25288" y="12143356"/>
                <a:ext cx="478130" cy="391721"/>
              </a:xfrm>
              <a:custGeom>
                <a:avLst/>
                <a:gdLst>
                  <a:gd name="T0" fmla="*/ 709 w 733"/>
                  <a:gd name="T1" fmla="*/ 352 h 600"/>
                  <a:gd name="T2" fmla="*/ 709 w 733"/>
                  <a:gd name="T3" fmla="*/ 352 h 600"/>
                  <a:gd name="T4" fmla="*/ 721 w 733"/>
                  <a:gd name="T5" fmla="*/ 518 h 600"/>
                  <a:gd name="T6" fmla="*/ 721 w 733"/>
                  <a:gd name="T7" fmla="*/ 518 h 600"/>
                  <a:gd name="T8" fmla="*/ 544 w 733"/>
                  <a:gd name="T9" fmla="*/ 587 h 600"/>
                  <a:gd name="T10" fmla="*/ 544 w 733"/>
                  <a:gd name="T11" fmla="*/ 587 h 600"/>
                  <a:gd name="T12" fmla="*/ 98 w 733"/>
                  <a:gd name="T13" fmla="*/ 290 h 600"/>
                  <a:gd name="T14" fmla="*/ 98 w 733"/>
                  <a:gd name="T15" fmla="*/ 290 h 600"/>
                  <a:gd name="T16" fmla="*/ 647 w 733"/>
                  <a:gd name="T17" fmla="*/ 312 h 600"/>
                  <a:gd name="T18" fmla="*/ 709 w 733"/>
                  <a:gd name="T19" fmla="*/ 352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3" h="600">
                    <a:moveTo>
                      <a:pt x="709" y="352"/>
                    </a:moveTo>
                    <a:lnTo>
                      <a:pt x="709" y="352"/>
                    </a:lnTo>
                    <a:cubicBezTo>
                      <a:pt x="709" y="352"/>
                      <a:pt x="732" y="493"/>
                      <a:pt x="721" y="518"/>
                    </a:cubicBezTo>
                    <a:lnTo>
                      <a:pt x="721" y="518"/>
                    </a:lnTo>
                    <a:cubicBezTo>
                      <a:pt x="709" y="544"/>
                      <a:pt x="643" y="599"/>
                      <a:pt x="544" y="587"/>
                    </a:cubicBezTo>
                    <a:lnTo>
                      <a:pt x="544" y="587"/>
                    </a:lnTo>
                    <a:cubicBezTo>
                      <a:pt x="445" y="575"/>
                      <a:pt x="161" y="477"/>
                      <a:pt x="98" y="290"/>
                    </a:cubicBezTo>
                    <a:lnTo>
                      <a:pt x="98" y="290"/>
                    </a:lnTo>
                    <a:cubicBezTo>
                      <a:pt x="0" y="0"/>
                      <a:pt x="647" y="312"/>
                      <a:pt x="647" y="312"/>
                    </a:cubicBezTo>
                    <a:lnTo>
                      <a:pt x="709" y="35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1" name="Freeform 523">
                <a:extLst>
                  <a:ext uri="{FF2B5EF4-FFF2-40B4-BE49-F238E27FC236}">
                    <a16:creationId xmlns:a16="http://schemas.microsoft.com/office/drawing/2014/main" id="{7E97339B-E789-E641-B41A-CA454C1729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3154" y="10821298"/>
                <a:ext cx="625027" cy="1624491"/>
              </a:xfrm>
              <a:custGeom>
                <a:avLst/>
                <a:gdLst>
                  <a:gd name="T0" fmla="*/ 23 w 955"/>
                  <a:gd name="T1" fmla="*/ 130 h 2485"/>
                  <a:gd name="T2" fmla="*/ 0 w 955"/>
                  <a:gd name="T3" fmla="*/ 2323 h 2485"/>
                  <a:gd name="T4" fmla="*/ 0 w 955"/>
                  <a:gd name="T5" fmla="*/ 2323 h 2485"/>
                  <a:gd name="T6" fmla="*/ 120 w 955"/>
                  <a:gd name="T7" fmla="*/ 2476 h 2485"/>
                  <a:gd name="T8" fmla="*/ 120 w 955"/>
                  <a:gd name="T9" fmla="*/ 2476 h 2485"/>
                  <a:gd name="T10" fmla="*/ 147 w 955"/>
                  <a:gd name="T11" fmla="*/ 2478 h 2485"/>
                  <a:gd name="T12" fmla="*/ 147 w 955"/>
                  <a:gd name="T13" fmla="*/ 2478 h 2485"/>
                  <a:gd name="T14" fmla="*/ 277 w 955"/>
                  <a:gd name="T15" fmla="*/ 2425 h 2485"/>
                  <a:gd name="T16" fmla="*/ 277 w 955"/>
                  <a:gd name="T17" fmla="*/ 2425 h 2485"/>
                  <a:gd name="T18" fmla="*/ 307 w 955"/>
                  <a:gd name="T19" fmla="*/ 2336 h 2485"/>
                  <a:gd name="T20" fmla="*/ 334 w 955"/>
                  <a:gd name="T21" fmla="*/ 1400 h 2485"/>
                  <a:gd name="T22" fmla="*/ 474 w 955"/>
                  <a:gd name="T23" fmla="*/ 563 h 2485"/>
                  <a:gd name="T24" fmla="*/ 668 w 955"/>
                  <a:gd name="T25" fmla="*/ 2044 h 2485"/>
                  <a:gd name="T26" fmla="*/ 668 w 955"/>
                  <a:gd name="T27" fmla="*/ 2044 h 2485"/>
                  <a:gd name="T28" fmla="*/ 721 w 955"/>
                  <a:gd name="T29" fmla="*/ 2142 h 2485"/>
                  <a:gd name="T30" fmla="*/ 721 w 955"/>
                  <a:gd name="T31" fmla="*/ 2142 h 2485"/>
                  <a:gd name="T32" fmla="*/ 808 w 955"/>
                  <a:gd name="T33" fmla="*/ 2166 h 2485"/>
                  <a:gd name="T34" fmla="*/ 808 w 955"/>
                  <a:gd name="T35" fmla="*/ 2166 h 2485"/>
                  <a:gd name="T36" fmla="*/ 926 w 955"/>
                  <a:gd name="T37" fmla="*/ 2108 h 2485"/>
                  <a:gd name="T38" fmla="*/ 926 w 955"/>
                  <a:gd name="T39" fmla="*/ 2108 h 2485"/>
                  <a:gd name="T40" fmla="*/ 954 w 955"/>
                  <a:gd name="T41" fmla="*/ 2029 h 2485"/>
                  <a:gd name="T42" fmla="*/ 877 w 955"/>
                  <a:gd name="T43" fmla="*/ 1137 h 2485"/>
                  <a:gd name="T44" fmla="*/ 849 w 955"/>
                  <a:gd name="T45" fmla="*/ 0 h 2485"/>
                  <a:gd name="T46" fmla="*/ 23 w 955"/>
                  <a:gd name="T47" fmla="*/ 130 h 2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55" h="2485">
                    <a:moveTo>
                      <a:pt x="23" y="130"/>
                    </a:moveTo>
                    <a:lnTo>
                      <a:pt x="0" y="2323"/>
                    </a:lnTo>
                    <a:lnTo>
                      <a:pt x="0" y="2323"/>
                    </a:lnTo>
                    <a:cubicBezTo>
                      <a:pt x="3" y="2400"/>
                      <a:pt x="53" y="2464"/>
                      <a:pt x="120" y="2476"/>
                    </a:cubicBezTo>
                    <a:lnTo>
                      <a:pt x="120" y="2476"/>
                    </a:lnTo>
                    <a:cubicBezTo>
                      <a:pt x="128" y="2477"/>
                      <a:pt x="137" y="2478"/>
                      <a:pt x="147" y="2478"/>
                    </a:cubicBezTo>
                    <a:lnTo>
                      <a:pt x="147" y="2478"/>
                    </a:lnTo>
                    <a:cubicBezTo>
                      <a:pt x="215" y="2484"/>
                      <a:pt x="254" y="2456"/>
                      <a:pt x="277" y="2425"/>
                    </a:cubicBezTo>
                    <a:lnTo>
                      <a:pt x="277" y="2425"/>
                    </a:lnTo>
                    <a:cubicBezTo>
                      <a:pt x="295" y="2400"/>
                      <a:pt x="305" y="2369"/>
                      <a:pt x="307" y="2336"/>
                    </a:cubicBezTo>
                    <a:lnTo>
                      <a:pt x="334" y="1400"/>
                    </a:lnTo>
                    <a:lnTo>
                      <a:pt x="474" y="563"/>
                    </a:lnTo>
                    <a:lnTo>
                      <a:pt x="668" y="2044"/>
                    </a:lnTo>
                    <a:lnTo>
                      <a:pt x="668" y="2044"/>
                    </a:lnTo>
                    <a:cubicBezTo>
                      <a:pt x="671" y="2084"/>
                      <a:pt x="690" y="2121"/>
                      <a:pt x="721" y="2142"/>
                    </a:cubicBezTo>
                    <a:lnTo>
                      <a:pt x="721" y="2142"/>
                    </a:lnTo>
                    <a:cubicBezTo>
                      <a:pt x="742" y="2156"/>
                      <a:pt x="771" y="2167"/>
                      <a:pt x="808" y="2166"/>
                    </a:cubicBezTo>
                    <a:lnTo>
                      <a:pt x="808" y="2166"/>
                    </a:lnTo>
                    <a:cubicBezTo>
                      <a:pt x="864" y="2164"/>
                      <a:pt x="903" y="2134"/>
                      <a:pt x="926" y="2108"/>
                    </a:cubicBezTo>
                    <a:lnTo>
                      <a:pt x="926" y="2108"/>
                    </a:lnTo>
                    <a:cubicBezTo>
                      <a:pt x="945" y="2087"/>
                      <a:pt x="954" y="2059"/>
                      <a:pt x="954" y="2029"/>
                    </a:cubicBezTo>
                    <a:lnTo>
                      <a:pt x="877" y="1137"/>
                    </a:lnTo>
                    <a:lnTo>
                      <a:pt x="849" y="0"/>
                    </a:lnTo>
                    <a:lnTo>
                      <a:pt x="23" y="130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2" name="Freeform 524">
                <a:extLst>
                  <a:ext uri="{FF2B5EF4-FFF2-40B4-BE49-F238E27FC236}">
                    <a16:creationId xmlns:a16="http://schemas.microsoft.com/office/drawing/2014/main" id="{5348FB98-D833-454D-8195-DBCE5D1358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9563" y="9623093"/>
                <a:ext cx="138255" cy="201621"/>
              </a:xfrm>
              <a:custGeom>
                <a:avLst/>
                <a:gdLst>
                  <a:gd name="T0" fmla="*/ 175 w 211"/>
                  <a:gd name="T1" fmla="*/ 0 h 307"/>
                  <a:gd name="T2" fmla="*/ 209 w 211"/>
                  <a:gd name="T3" fmla="*/ 200 h 307"/>
                  <a:gd name="T4" fmla="*/ 209 w 211"/>
                  <a:gd name="T5" fmla="*/ 200 h 307"/>
                  <a:gd name="T6" fmla="*/ 135 w 211"/>
                  <a:gd name="T7" fmla="*/ 288 h 307"/>
                  <a:gd name="T8" fmla="*/ 135 w 211"/>
                  <a:gd name="T9" fmla="*/ 288 h 307"/>
                  <a:gd name="T10" fmla="*/ 35 w 211"/>
                  <a:gd name="T11" fmla="*/ 257 h 307"/>
                  <a:gd name="T12" fmla="*/ 0 w 211"/>
                  <a:gd name="T13" fmla="*/ 32 h 307"/>
                  <a:gd name="T14" fmla="*/ 175 w 211"/>
                  <a:gd name="T15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1" h="307">
                    <a:moveTo>
                      <a:pt x="175" y="0"/>
                    </a:moveTo>
                    <a:lnTo>
                      <a:pt x="209" y="200"/>
                    </a:lnTo>
                    <a:lnTo>
                      <a:pt x="209" y="200"/>
                    </a:lnTo>
                    <a:cubicBezTo>
                      <a:pt x="209" y="200"/>
                      <a:pt x="210" y="269"/>
                      <a:pt x="135" y="288"/>
                    </a:cubicBezTo>
                    <a:lnTo>
                      <a:pt x="135" y="288"/>
                    </a:lnTo>
                    <a:cubicBezTo>
                      <a:pt x="58" y="306"/>
                      <a:pt x="35" y="257"/>
                      <a:pt x="35" y="257"/>
                    </a:cubicBezTo>
                    <a:lnTo>
                      <a:pt x="0" y="32"/>
                    </a:lnTo>
                    <a:lnTo>
                      <a:pt x="175" y="0"/>
                    </a:ln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3" name="Freeform 525">
                <a:extLst>
                  <a:ext uri="{FF2B5EF4-FFF2-40B4-BE49-F238E27FC236}">
                    <a16:creationId xmlns:a16="http://schemas.microsoft.com/office/drawing/2014/main" id="{0FBC0540-6BF5-784F-BAE0-296F9A66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9271695"/>
                <a:ext cx="449327" cy="449327"/>
              </a:xfrm>
              <a:custGeom>
                <a:avLst/>
                <a:gdLst>
                  <a:gd name="T0" fmla="*/ 139 w 686"/>
                  <a:gd name="T1" fmla="*/ 548 h 687"/>
                  <a:gd name="T2" fmla="*/ 139 w 686"/>
                  <a:gd name="T3" fmla="*/ 548 h 687"/>
                  <a:gd name="T4" fmla="*/ 573 w 686"/>
                  <a:gd name="T5" fmla="*/ 572 h 687"/>
                  <a:gd name="T6" fmla="*/ 573 w 686"/>
                  <a:gd name="T7" fmla="*/ 572 h 687"/>
                  <a:gd name="T8" fmla="*/ 546 w 686"/>
                  <a:gd name="T9" fmla="*/ 137 h 687"/>
                  <a:gd name="T10" fmla="*/ 546 w 686"/>
                  <a:gd name="T11" fmla="*/ 137 h 687"/>
                  <a:gd name="T12" fmla="*/ 113 w 686"/>
                  <a:gd name="T13" fmla="*/ 113 h 687"/>
                  <a:gd name="T14" fmla="*/ 113 w 686"/>
                  <a:gd name="T15" fmla="*/ 113 h 687"/>
                  <a:gd name="T16" fmla="*/ 139 w 686"/>
                  <a:gd name="T17" fmla="*/ 548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139" y="548"/>
                    </a:moveTo>
                    <a:lnTo>
                      <a:pt x="139" y="548"/>
                    </a:lnTo>
                    <a:cubicBezTo>
                      <a:pt x="266" y="675"/>
                      <a:pt x="461" y="686"/>
                      <a:pt x="573" y="572"/>
                    </a:cubicBezTo>
                    <a:lnTo>
                      <a:pt x="573" y="572"/>
                    </a:lnTo>
                    <a:cubicBezTo>
                      <a:pt x="685" y="458"/>
                      <a:pt x="673" y="263"/>
                      <a:pt x="546" y="137"/>
                    </a:cubicBezTo>
                    <a:lnTo>
                      <a:pt x="546" y="137"/>
                    </a:lnTo>
                    <a:cubicBezTo>
                      <a:pt x="419" y="10"/>
                      <a:pt x="225" y="0"/>
                      <a:pt x="113" y="113"/>
                    </a:cubicBezTo>
                    <a:lnTo>
                      <a:pt x="113" y="113"/>
                    </a:lnTo>
                    <a:cubicBezTo>
                      <a:pt x="0" y="227"/>
                      <a:pt x="12" y="422"/>
                      <a:pt x="139" y="548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4" name="Freeform 527">
                <a:extLst>
                  <a:ext uri="{FF2B5EF4-FFF2-40B4-BE49-F238E27FC236}">
                    <a16:creationId xmlns:a16="http://schemas.microsoft.com/office/drawing/2014/main" id="{90E7F922-5871-FF4D-90E9-08145CF43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1348" y="11189977"/>
                <a:ext cx="172818" cy="1036909"/>
              </a:xfrm>
              <a:custGeom>
                <a:avLst/>
                <a:gdLst>
                  <a:gd name="T0" fmla="*/ 0 w 264"/>
                  <a:gd name="T1" fmla="*/ 0 h 1589"/>
                  <a:gd name="T2" fmla="*/ 194 w 264"/>
                  <a:gd name="T3" fmla="*/ 1481 h 1589"/>
                  <a:gd name="T4" fmla="*/ 194 w 264"/>
                  <a:gd name="T5" fmla="*/ 1481 h 1589"/>
                  <a:gd name="T6" fmla="*/ 247 w 264"/>
                  <a:gd name="T7" fmla="*/ 1579 h 1589"/>
                  <a:gd name="T8" fmla="*/ 247 w 264"/>
                  <a:gd name="T9" fmla="*/ 1579 h 1589"/>
                  <a:gd name="T10" fmla="*/ 263 w 264"/>
                  <a:gd name="T11" fmla="*/ 1588 h 1589"/>
                  <a:gd name="T12" fmla="*/ 263 w 264"/>
                  <a:gd name="T13" fmla="*/ 1588 h 1589"/>
                  <a:gd name="T14" fmla="*/ 84 w 264"/>
                  <a:gd name="T15" fmla="*/ 176 h 1589"/>
                  <a:gd name="T16" fmla="*/ 84 w 264"/>
                  <a:gd name="T17" fmla="*/ 176 h 1589"/>
                  <a:gd name="T18" fmla="*/ 0 w 264"/>
                  <a:gd name="T19" fmla="*/ 0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" h="1589">
                    <a:moveTo>
                      <a:pt x="0" y="0"/>
                    </a:moveTo>
                    <a:lnTo>
                      <a:pt x="194" y="1481"/>
                    </a:lnTo>
                    <a:lnTo>
                      <a:pt x="194" y="1481"/>
                    </a:lnTo>
                    <a:cubicBezTo>
                      <a:pt x="197" y="1521"/>
                      <a:pt x="216" y="1558"/>
                      <a:pt x="247" y="1579"/>
                    </a:cubicBezTo>
                    <a:lnTo>
                      <a:pt x="247" y="1579"/>
                    </a:lnTo>
                    <a:cubicBezTo>
                      <a:pt x="252" y="1582"/>
                      <a:pt x="257" y="1586"/>
                      <a:pt x="263" y="1588"/>
                    </a:cubicBezTo>
                    <a:lnTo>
                      <a:pt x="263" y="1588"/>
                    </a:lnTo>
                    <a:cubicBezTo>
                      <a:pt x="223" y="1558"/>
                      <a:pt x="106" y="314"/>
                      <a:pt x="84" y="176"/>
                    </a:cubicBezTo>
                    <a:lnTo>
                      <a:pt x="84" y="176"/>
                    </a:lnTo>
                    <a:cubicBezTo>
                      <a:pt x="63" y="38"/>
                      <a:pt x="0" y="0"/>
                      <a:pt x="0" y="0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5" name="Freeform 384">
                <a:extLst>
                  <a:ext uri="{FF2B5EF4-FFF2-40B4-BE49-F238E27FC236}">
                    <a16:creationId xmlns:a16="http://schemas.microsoft.com/office/drawing/2014/main" id="{0529325B-2D56-264B-B480-F69764295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14232" y="8938991"/>
                <a:ext cx="246501" cy="571115"/>
              </a:xfrm>
              <a:custGeom>
                <a:avLst/>
                <a:gdLst>
                  <a:gd name="connsiteX0" fmla="*/ 71845 w 246501"/>
                  <a:gd name="connsiteY0" fmla="*/ 494 h 571115"/>
                  <a:gd name="connsiteX1" fmla="*/ 91960 w 246501"/>
                  <a:gd name="connsiteY1" fmla="*/ 12581 h 571115"/>
                  <a:gd name="connsiteX2" fmla="*/ 104338 w 246501"/>
                  <a:gd name="connsiteY2" fmla="*/ 27507 h 571115"/>
                  <a:gd name="connsiteX3" fmla="*/ 148640 w 246501"/>
                  <a:gd name="connsiteY3" fmla="*/ 100191 h 571115"/>
                  <a:gd name="connsiteX4" fmla="*/ 161670 w 246501"/>
                  <a:gd name="connsiteY4" fmla="*/ 143671 h 571115"/>
                  <a:gd name="connsiteX5" fmla="*/ 162974 w 246501"/>
                  <a:gd name="connsiteY5" fmla="*/ 187151 h 571115"/>
                  <a:gd name="connsiteX6" fmla="*/ 162657 w 246501"/>
                  <a:gd name="connsiteY6" fmla="*/ 187238 h 571115"/>
                  <a:gd name="connsiteX7" fmla="*/ 246501 w 246501"/>
                  <a:gd name="connsiteY7" fmla="*/ 571115 h 571115"/>
                  <a:gd name="connsiteX8" fmla="*/ 119940 w 246501"/>
                  <a:gd name="connsiteY8" fmla="*/ 506242 h 571115"/>
                  <a:gd name="connsiteX9" fmla="*/ 95906 w 246501"/>
                  <a:gd name="connsiteY9" fmla="*/ 203545 h 571115"/>
                  <a:gd name="connsiteX10" fmla="*/ 54173 w 246501"/>
                  <a:gd name="connsiteY10" fmla="*/ 144969 h 571115"/>
                  <a:gd name="connsiteX11" fmla="*/ 6614 w 246501"/>
                  <a:gd name="connsiteY11" fmla="*/ 125500 h 571115"/>
                  <a:gd name="connsiteX12" fmla="*/ 98 w 246501"/>
                  <a:gd name="connsiteY12" fmla="*/ 114468 h 571115"/>
                  <a:gd name="connsiteX13" fmla="*/ 12477 w 246501"/>
                  <a:gd name="connsiteY13" fmla="*/ 106031 h 571115"/>
                  <a:gd name="connsiteX14" fmla="*/ 41143 w 246501"/>
                  <a:gd name="connsiteY14" fmla="*/ 111872 h 571115"/>
                  <a:gd name="connsiteX15" fmla="*/ 18340 w 246501"/>
                  <a:gd name="connsiteY15" fmla="*/ 49572 h 571115"/>
                  <a:gd name="connsiteX16" fmla="*/ 37886 w 246501"/>
                  <a:gd name="connsiteY16" fmla="*/ 11932 h 571115"/>
                  <a:gd name="connsiteX17" fmla="*/ 48310 w 246501"/>
                  <a:gd name="connsiteY17" fmla="*/ 5442 h 571115"/>
                  <a:gd name="connsiteX18" fmla="*/ 71845 w 246501"/>
                  <a:gd name="connsiteY18" fmla="*/ 494 h 57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6501" h="571115">
                    <a:moveTo>
                      <a:pt x="71845" y="494"/>
                    </a:moveTo>
                    <a:cubicBezTo>
                      <a:pt x="79745" y="1873"/>
                      <a:pt x="87074" y="6092"/>
                      <a:pt x="91960" y="12581"/>
                    </a:cubicBezTo>
                    <a:lnTo>
                      <a:pt x="104338" y="27507"/>
                    </a:lnTo>
                    <a:lnTo>
                      <a:pt x="148640" y="100191"/>
                    </a:lnTo>
                    <a:cubicBezTo>
                      <a:pt x="156458" y="113170"/>
                      <a:pt x="160368" y="128096"/>
                      <a:pt x="161670" y="143671"/>
                    </a:cubicBezTo>
                    <a:lnTo>
                      <a:pt x="162974" y="187151"/>
                    </a:lnTo>
                    <a:lnTo>
                      <a:pt x="162657" y="187238"/>
                    </a:lnTo>
                    <a:lnTo>
                      <a:pt x="246501" y="571115"/>
                    </a:lnTo>
                    <a:lnTo>
                      <a:pt x="119940" y="506242"/>
                    </a:lnTo>
                    <a:lnTo>
                      <a:pt x="95906" y="203545"/>
                    </a:lnTo>
                    <a:lnTo>
                      <a:pt x="54173" y="144969"/>
                    </a:lnTo>
                    <a:lnTo>
                      <a:pt x="6614" y="125500"/>
                    </a:lnTo>
                    <a:cubicBezTo>
                      <a:pt x="2053" y="123553"/>
                      <a:pt x="-553" y="119010"/>
                      <a:pt x="98" y="114468"/>
                    </a:cubicBezTo>
                    <a:cubicBezTo>
                      <a:pt x="1402" y="108627"/>
                      <a:pt x="6614" y="105382"/>
                      <a:pt x="12477" y="106031"/>
                    </a:cubicBezTo>
                    <a:lnTo>
                      <a:pt x="41143" y="111872"/>
                    </a:lnTo>
                    <a:lnTo>
                      <a:pt x="18340" y="49572"/>
                    </a:lnTo>
                    <a:cubicBezTo>
                      <a:pt x="17038" y="34646"/>
                      <a:pt x="24856" y="19720"/>
                      <a:pt x="37886" y="11932"/>
                    </a:cubicBezTo>
                    <a:lnTo>
                      <a:pt x="48310" y="5442"/>
                    </a:lnTo>
                    <a:cubicBezTo>
                      <a:pt x="55476" y="575"/>
                      <a:pt x="63946" y="-885"/>
                      <a:pt x="71845" y="494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6" name="Freeform 385">
                <a:extLst>
                  <a:ext uri="{FF2B5EF4-FFF2-40B4-BE49-F238E27FC236}">
                    <a16:creationId xmlns:a16="http://schemas.microsoft.com/office/drawing/2014/main" id="{B8655C51-A928-504E-9100-7881CFD8E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2590" y="9416925"/>
                <a:ext cx="1140795" cy="1645016"/>
              </a:xfrm>
              <a:custGeom>
                <a:avLst/>
                <a:gdLst>
                  <a:gd name="connsiteX0" fmla="*/ 1026797 w 1140795"/>
                  <a:gd name="connsiteY0" fmla="*/ 94 h 1645016"/>
                  <a:gd name="connsiteX1" fmla="*/ 1132398 w 1140795"/>
                  <a:gd name="connsiteY1" fmla="*/ 42621 h 1645016"/>
                  <a:gd name="connsiteX2" fmla="*/ 1060263 w 1140795"/>
                  <a:gd name="connsiteY2" fmla="*/ 456091 h 1645016"/>
                  <a:gd name="connsiteX3" fmla="*/ 1014028 w 1140795"/>
                  <a:gd name="connsiteY3" fmla="*/ 550307 h 1645016"/>
                  <a:gd name="connsiteX4" fmla="*/ 1023212 w 1140795"/>
                  <a:gd name="connsiteY4" fmla="*/ 594010 h 1645016"/>
                  <a:gd name="connsiteX5" fmla="*/ 1031214 w 1140795"/>
                  <a:gd name="connsiteY5" fmla="*/ 1402810 h 1645016"/>
                  <a:gd name="connsiteX6" fmla="*/ 838911 w 1140795"/>
                  <a:gd name="connsiteY6" fmla="*/ 1592132 h 1645016"/>
                  <a:gd name="connsiteX7" fmla="*/ 652495 w 1140795"/>
                  <a:gd name="connsiteY7" fmla="*/ 1645011 h 1645016"/>
                  <a:gd name="connsiteX8" fmla="*/ 467386 w 1140795"/>
                  <a:gd name="connsiteY8" fmla="*/ 1503346 h 1645016"/>
                  <a:gd name="connsiteX9" fmla="*/ 464361 w 1140795"/>
                  <a:gd name="connsiteY9" fmla="*/ 957741 h 1645016"/>
                  <a:gd name="connsiteX10" fmla="*/ 451401 w 1140795"/>
                  <a:gd name="connsiteY10" fmla="*/ 788376 h 1645016"/>
                  <a:gd name="connsiteX11" fmla="*/ 434057 w 1140795"/>
                  <a:gd name="connsiteY11" fmla="*/ 765087 h 1645016"/>
                  <a:gd name="connsiteX12" fmla="*/ 3943 w 1140795"/>
                  <a:gd name="connsiteY12" fmla="*/ 396658 h 1645016"/>
                  <a:gd name="connsiteX13" fmla="*/ 37950 w 1140795"/>
                  <a:gd name="connsiteY13" fmla="*/ 264771 h 1645016"/>
                  <a:gd name="connsiteX14" fmla="*/ 65008 w 1140795"/>
                  <a:gd name="connsiteY14" fmla="*/ 253019 h 1645016"/>
                  <a:gd name="connsiteX15" fmla="*/ 91576 w 1140795"/>
                  <a:gd name="connsiteY15" fmla="*/ 270647 h 1645016"/>
                  <a:gd name="connsiteX16" fmla="*/ 414182 w 1140795"/>
                  <a:gd name="connsiteY16" fmla="*/ 467145 h 1645016"/>
                  <a:gd name="connsiteX17" fmla="*/ 421609 w 1140795"/>
                  <a:gd name="connsiteY17" fmla="*/ 466085 h 1645016"/>
                  <a:gd name="connsiteX18" fmla="*/ 421600 w 1140795"/>
                  <a:gd name="connsiteY18" fmla="*/ 465994 h 1645016"/>
                  <a:gd name="connsiteX19" fmla="*/ 664922 w 1140795"/>
                  <a:gd name="connsiteY19" fmla="*/ 341303 h 1645016"/>
                  <a:gd name="connsiteX20" fmla="*/ 828893 w 1140795"/>
                  <a:gd name="connsiteY20" fmla="*/ 282688 h 1645016"/>
                  <a:gd name="connsiteX21" fmla="*/ 867195 w 1140795"/>
                  <a:gd name="connsiteY21" fmla="*/ 285414 h 1645016"/>
                  <a:gd name="connsiteX22" fmla="*/ 879070 w 1140795"/>
                  <a:gd name="connsiteY22" fmla="*/ 282411 h 1645016"/>
                  <a:gd name="connsiteX23" fmla="*/ 979212 w 1140795"/>
                  <a:gd name="connsiteY23" fmla="*/ 166933 h 1645016"/>
                  <a:gd name="connsiteX24" fmla="*/ 994856 w 1140795"/>
                  <a:gd name="connsiteY24" fmla="*/ 27573 h 1645016"/>
                  <a:gd name="connsiteX25" fmla="*/ 1026797 w 1140795"/>
                  <a:gd name="connsiteY25" fmla="*/ 94 h 164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40795" h="1645016">
                    <a:moveTo>
                      <a:pt x="1026797" y="94"/>
                    </a:moveTo>
                    <a:cubicBezTo>
                      <a:pt x="1065257" y="5328"/>
                      <a:pt x="1124576" y="16450"/>
                      <a:pt x="1132398" y="42621"/>
                    </a:cubicBezTo>
                    <a:cubicBezTo>
                      <a:pt x="1142664" y="76398"/>
                      <a:pt x="1161415" y="224887"/>
                      <a:pt x="1060263" y="456091"/>
                    </a:cubicBezTo>
                    <a:lnTo>
                      <a:pt x="1014028" y="550307"/>
                    </a:lnTo>
                    <a:lnTo>
                      <a:pt x="1023212" y="594010"/>
                    </a:lnTo>
                    <a:cubicBezTo>
                      <a:pt x="1072054" y="901066"/>
                      <a:pt x="1060649" y="1331325"/>
                      <a:pt x="1031214" y="1402810"/>
                    </a:cubicBezTo>
                    <a:cubicBezTo>
                      <a:pt x="994585" y="1490290"/>
                      <a:pt x="903012" y="1555573"/>
                      <a:pt x="838911" y="1592132"/>
                    </a:cubicBezTo>
                    <a:cubicBezTo>
                      <a:pt x="782005" y="1624774"/>
                      <a:pt x="717904" y="1645011"/>
                      <a:pt x="652495" y="1645011"/>
                    </a:cubicBezTo>
                    <a:cubicBezTo>
                      <a:pt x="587085" y="1645664"/>
                      <a:pt x="462808" y="1587562"/>
                      <a:pt x="467386" y="1503346"/>
                    </a:cubicBezTo>
                    <a:cubicBezTo>
                      <a:pt x="477852" y="1308149"/>
                      <a:pt x="474418" y="1128457"/>
                      <a:pt x="464361" y="957741"/>
                    </a:cubicBezTo>
                    <a:lnTo>
                      <a:pt x="451401" y="788376"/>
                    </a:lnTo>
                    <a:lnTo>
                      <a:pt x="434057" y="765087"/>
                    </a:lnTo>
                    <a:cubicBezTo>
                      <a:pt x="327112" y="662523"/>
                      <a:pt x="58877" y="598324"/>
                      <a:pt x="3943" y="396658"/>
                    </a:cubicBezTo>
                    <a:cubicBezTo>
                      <a:pt x="-10445" y="344426"/>
                      <a:pt x="17676" y="296111"/>
                      <a:pt x="37950" y="264771"/>
                    </a:cubicBezTo>
                    <a:cubicBezTo>
                      <a:pt x="44163" y="255631"/>
                      <a:pt x="54626" y="251877"/>
                      <a:pt x="65008" y="253019"/>
                    </a:cubicBezTo>
                    <a:cubicBezTo>
                      <a:pt x="75390" y="254162"/>
                      <a:pt x="85690" y="260201"/>
                      <a:pt x="91576" y="270647"/>
                    </a:cubicBezTo>
                    <a:cubicBezTo>
                      <a:pt x="204307" y="476884"/>
                      <a:pt x="373616" y="471671"/>
                      <a:pt x="414182" y="467145"/>
                    </a:cubicBezTo>
                    <a:lnTo>
                      <a:pt x="421609" y="466085"/>
                    </a:lnTo>
                    <a:lnTo>
                      <a:pt x="421600" y="465994"/>
                    </a:lnTo>
                    <a:cubicBezTo>
                      <a:pt x="421600" y="465994"/>
                      <a:pt x="461500" y="422907"/>
                      <a:pt x="664922" y="341303"/>
                    </a:cubicBezTo>
                    <a:cubicBezTo>
                      <a:pt x="666966" y="340487"/>
                      <a:pt x="748983" y="287903"/>
                      <a:pt x="828893" y="282688"/>
                    </a:cubicBezTo>
                    <a:lnTo>
                      <a:pt x="867195" y="285414"/>
                    </a:lnTo>
                    <a:lnTo>
                      <a:pt x="879070" y="282411"/>
                    </a:lnTo>
                    <a:cubicBezTo>
                      <a:pt x="922011" y="268018"/>
                      <a:pt x="967804" y="236286"/>
                      <a:pt x="979212" y="166933"/>
                    </a:cubicBezTo>
                    <a:cubicBezTo>
                      <a:pt x="990945" y="94963"/>
                      <a:pt x="994856" y="52435"/>
                      <a:pt x="994856" y="27573"/>
                    </a:cubicBezTo>
                    <a:cubicBezTo>
                      <a:pt x="996160" y="11216"/>
                      <a:pt x="1009849" y="-1215"/>
                      <a:pt x="1026797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7" name="Freeform 386">
                <a:extLst>
                  <a:ext uri="{FF2B5EF4-FFF2-40B4-BE49-F238E27FC236}">
                    <a16:creationId xmlns:a16="http://schemas.microsoft.com/office/drawing/2014/main" id="{63D18874-5B9C-3F4D-A189-2CFEE4B44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2387" y="9220017"/>
                <a:ext cx="211274" cy="581000"/>
              </a:xfrm>
              <a:custGeom>
                <a:avLst/>
                <a:gdLst>
                  <a:gd name="connsiteX0" fmla="*/ 63623 w 211274"/>
                  <a:gd name="connsiteY0" fmla="*/ 860 h 581000"/>
                  <a:gd name="connsiteX1" fmla="*/ 75294 w 211274"/>
                  <a:gd name="connsiteY1" fmla="*/ 3466 h 581000"/>
                  <a:gd name="connsiteX2" fmla="*/ 106416 w 211274"/>
                  <a:gd name="connsiteY2" fmla="*/ 32783 h 581000"/>
                  <a:gd name="connsiteX3" fmla="*/ 105768 w 211274"/>
                  <a:gd name="connsiteY3" fmla="*/ 99236 h 581000"/>
                  <a:gd name="connsiteX4" fmla="*/ 131055 w 211274"/>
                  <a:gd name="connsiteY4" fmla="*/ 84252 h 581000"/>
                  <a:gd name="connsiteX5" fmla="*/ 145319 w 211274"/>
                  <a:gd name="connsiteY5" fmla="*/ 87509 h 581000"/>
                  <a:gd name="connsiteX6" fmla="*/ 143374 w 211274"/>
                  <a:gd name="connsiteY6" fmla="*/ 100539 h 581000"/>
                  <a:gd name="connsiteX7" fmla="*/ 105768 w 211274"/>
                  <a:gd name="connsiteY7" fmla="*/ 134417 h 581000"/>
                  <a:gd name="connsiteX8" fmla="*/ 86241 w 211274"/>
                  <a:gd name="connsiteY8" fmla="*/ 203933 h 581000"/>
                  <a:gd name="connsiteX9" fmla="*/ 211274 w 211274"/>
                  <a:gd name="connsiteY9" fmla="*/ 475816 h 581000"/>
                  <a:gd name="connsiteX10" fmla="*/ 131465 w 211274"/>
                  <a:gd name="connsiteY10" fmla="*/ 581000 h 581000"/>
                  <a:gd name="connsiteX11" fmla="*/ 18994 w 211274"/>
                  <a:gd name="connsiteY11" fmla="*/ 211378 h 581000"/>
                  <a:gd name="connsiteX12" fmla="*/ 17588 w 211274"/>
                  <a:gd name="connsiteY12" fmla="*/ 211294 h 581000"/>
                  <a:gd name="connsiteX13" fmla="*/ 3972 w 211274"/>
                  <a:gd name="connsiteY13" fmla="*/ 169598 h 581000"/>
                  <a:gd name="connsiteX14" fmla="*/ 2027 w 211274"/>
                  <a:gd name="connsiteY14" fmla="*/ 123993 h 581000"/>
                  <a:gd name="connsiteX15" fmla="*/ 18885 w 211274"/>
                  <a:gd name="connsiteY15" fmla="*/ 40601 h 581000"/>
                  <a:gd name="connsiteX16" fmla="*/ 24720 w 211274"/>
                  <a:gd name="connsiteY16" fmla="*/ 23011 h 581000"/>
                  <a:gd name="connsiteX17" fmla="*/ 63623 w 211274"/>
                  <a:gd name="connsiteY17" fmla="*/ 860 h 5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274" h="581000">
                    <a:moveTo>
                      <a:pt x="63623" y="860"/>
                    </a:moveTo>
                    <a:lnTo>
                      <a:pt x="75294" y="3466"/>
                    </a:lnTo>
                    <a:cubicBezTo>
                      <a:pt x="90207" y="6723"/>
                      <a:pt x="101878" y="17799"/>
                      <a:pt x="106416" y="32783"/>
                    </a:cubicBezTo>
                    <a:lnTo>
                      <a:pt x="105768" y="99236"/>
                    </a:lnTo>
                    <a:lnTo>
                      <a:pt x="131055" y="84252"/>
                    </a:lnTo>
                    <a:cubicBezTo>
                      <a:pt x="135593" y="80994"/>
                      <a:pt x="142077" y="82297"/>
                      <a:pt x="145319" y="87509"/>
                    </a:cubicBezTo>
                    <a:cubicBezTo>
                      <a:pt x="147913" y="91418"/>
                      <a:pt x="147264" y="96630"/>
                      <a:pt x="143374" y="100539"/>
                    </a:cubicBezTo>
                    <a:lnTo>
                      <a:pt x="105768" y="134417"/>
                    </a:lnTo>
                    <a:lnTo>
                      <a:pt x="86241" y="203933"/>
                    </a:lnTo>
                    <a:lnTo>
                      <a:pt x="211274" y="475816"/>
                    </a:lnTo>
                    <a:lnTo>
                      <a:pt x="131465" y="581000"/>
                    </a:lnTo>
                    <a:lnTo>
                      <a:pt x="18994" y="211378"/>
                    </a:lnTo>
                    <a:lnTo>
                      <a:pt x="17588" y="211294"/>
                    </a:lnTo>
                    <a:lnTo>
                      <a:pt x="3972" y="169598"/>
                    </a:lnTo>
                    <a:cubicBezTo>
                      <a:pt x="-567" y="155265"/>
                      <a:pt x="-1215" y="139629"/>
                      <a:pt x="2027" y="123993"/>
                    </a:cubicBezTo>
                    <a:lnTo>
                      <a:pt x="18885" y="40601"/>
                    </a:lnTo>
                    <a:lnTo>
                      <a:pt x="24720" y="23011"/>
                    </a:lnTo>
                    <a:cubicBezTo>
                      <a:pt x="29907" y="6723"/>
                      <a:pt x="46765" y="-3049"/>
                      <a:pt x="63623" y="860"/>
                    </a:cubicBezTo>
                    <a:close/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8" name="Freeform 534">
                <a:extLst>
                  <a:ext uri="{FF2B5EF4-FFF2-40B4-BE49-F238E27FC236}">
                    <a16:creationId xmlns:a16="http://schemas.microsoft.com/office/drawing/2014/main" id="{710F90E7-5FB9-D841-B974-9ABE4B812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12955" y="9951447"/>
                <a:ext cx="561660" cy="1111797"/>
              </a:xfrm>
              <a:custGeom>
                <a:avLst/>
                <a:gdLst>
                  <a:gd name="T0" fmla="*/ 654 w 862"/>
                  <a:gd name="T1" fmla="*/ 321 h 1701"/>
                  <a:gd name="T2" fmla="*/ 654 w 862"/>
                  <a:gd name="T3" fmla="*/ 321 h 1701"/>
                  <a:gd name="T4" fmla="*/ 861 w 862"/>
                  <a:gd name="T5" fmla="*/ 1699 h 1701"/>
                  <a:gd name="T6" fmla="*/ 861 w 862"/>
                  <a:gd name="T7" fmla="*/ 1699 h 1701"/>
                  <a:gd name="T8" fmla="*/ 578 w 862"/>
                  <a:gd name="T9" fmla="*/ 1482 h 1701"/>
                  <a:gd name="T10" fmla="*/ 578 w 862"/>
                  <a:gd name="T11" fmla="*/ 1482 h 1701"/>
                  <a:gd name="T12" fmla="*/ 555 w 862"/>
                  <a:gd name="T13" fmla="*/ 384 h 1701"/>
                  <a:gd name="T14" fmla="*/ 555 w 862"/>
                  <a:gd name="T15" fmla="*/ 384 h 1701"/>
                  <a:gd name="T16" fmla="*/ 0 w 862"/>
                  <a:gd name="T17" fmla="*/ 0 h 1701"/>
                  <a:gd name="T18" fmla="*/ 0 w 862"/>
                  <a:gd name="T19" fmla="*/ 0 h 1701"/>
                  <a:gd name="T20" fmla="*/ 654 w 862"/>
                  <a:gd name="T21" fmla="*/ 321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2" h="1701">
                    <a:moveTo>
                      <a:pt x="654" y="321"/>
                    </a:moveTo>
                    <a:lnTo>
                      <a:pt x="654" y="321"/>
                    </a:lnTo>
                    <a:cubicBezTo>
                      <a:pt x="682" y="450"/>
                      <a:pt x="603" y="1451"/>
                      <a:pt x="861" y="1699"/>
                    </a:cubicBezTo>
                    <a:lnTo>
                      <a:pt x="861" y="1699"/>
                    </a:lnTo>
                    <a:cubicBezTo>
                      <a:pt x="761" y="1700"/>
                      <a:pt x="571" y="1611"/>
                      <a:pt x="578" y="1482"/>
                    </a:cubicBezTo>
                    <a:lnTo>
                      <a:pt x="578" y="1482"/>
                    </a:lnTo>
                    <a:cubicBezTo>
                      <a:pt x="599" y="1081"/>
                      <a:pt x="582" y="723"/>
                      <a:pt x="555" y="384"/>
                    </a:cubicBezTo>
                    <a:lnTo>
                      <a:pt x="555" y="384"/>
                    </a:lnTo>
                    <a:cubicBezTo>
                      <a:pt x="453" y="252"/>
                      <a:pt x="175" y="169"/>
                      <a:pt x="0" y="0"/>
                    </a:cubicBezTo>
                    <a:lnTo>
                      <a:pt x="0" y="0"/>
                    </a:lnTo>
                    <a:cubicBezTo>
                      <a:pt x="13" y="5"/>
                      <a:pt x="626" y="193"/>
                      <a:pt x="654" y="321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89" name="Freeform 535">
                <a:extLst>
                  <a:ext uri="{FF2B5EF4-FFF2-40B4-BE49-F238E27FC236}">
                    <a16:creationId xmlns:a16="http://schemas.microsoft.com/office/drawing/2014/main" id="{A2A717D2-EBCD-0D43-9339-0640561F0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2283" y="9692219"/>
                <a:ext cx="201621" cy="123852"/>
              </a:xfrm>
              <a:custGeom>
                <a:avLst/>
                <a:gdLst>
                  <a:gd name="T0" fmla="*/ 307 w 308"/>
                  <a:gd name="T1" fmla="*/ 46 h 188"/>
                  <a:gd name="T2" fmla="*/ 264 w 308"/>
                  <a:gd name="T3" fmla="*/ 0 h 188"/>
                  <a:gd name="T4" fmla="*/ 264 w 308"/>
                  <a:gd name="T5" fmla="*/ 0 h 188"/>
                  <a:gd name="T6" fmla="*/ 133 w 308"/>
                  <a:gd name="T7" fmla="*/ 87 h 188"/>
                  <a:gd name="T8" fmla="*/ 133 w 308"/>
                  <a:gd name="T9" fmla="*/ 87 h 188"/>
                  <a:gd name="T10" fmla="*/ 28 w 308"/>
                  <a:gd name="T11" fmla="*/ 108 h 188"/>
                  <a:gd name="T12" fmla="*/ 0 w 308"/>
                  <a:gd name="T13" fmla="*/ 187 h 188"/>
                  <a:gd name="T14" fmla="*/ 0 w 308"/>
                  <a:gd name="T15" fmla="*/ 187 h 188"/>
                  <a:gd name="T16" fmla="*/ 307 w 308"/>
                  <a:gd name="T17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8" h="188">
                    <a:moveTo>
                      <a:pt x="307" y="46"/>
                    </a:moveTo>
                    <a:lnTo>
                      <a:pt x="264" y="0"/>
                    </a:lnTo>
                    <a:lnTo>
                      <a:pt x="264" y="0"/>
                    </a:lnTo>
                    <a:cubicBezTo>
                      <a:pt x="264" y="0"/>
                      <a:pt x="191" y="75"/>
                      <a:pt x="133" y="87"/>
                    </a:cubicBezTo>
                    <a:lnTo>
                      <a:pt x="133" y="87"/>
                    </a:lnTo>
                    <a:cubicBezTo>
                      <a:pt x="133" y="87"/>
                      <a:pt x="63" y="107"/>
                      <a:pt x="28" y="108"/>
                    </a:cubicBezTo>
                    <a:lnTo>
                      <a:pt x="0" y="187"/>
                    </a:lnTo>
                    <a:lnTo>
                      <a:pt x="0" y="187"/>
                    </a:lnTo>
                    <a:cubicBezTo>
                      <a:pt x="0" y="187"/>
                      <a:pt x="231" y="171"/>
                      <a:pt x="307" y="4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0" name="Freeform 536">
                <a:extLst>
                  <a:ext uri="{FF2B5EF4-FFF2-40B4-BE49-F238E27FC236}">
                    <a16:creationId xmlns:a16="http://schemas.microsoft.com/office/drawing/2014/main" id="{C822250A-4D1A-3646-B6E8-885969C832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2730" y="9188166"/>
                <a:ext cx="555899" cy="466609"/>
              </a:xfrm>
              <a:custGeom>
                <a:avLst/>
                <a:gdLst>
                  <a:gd name="T0" fmla="*/ 439 w 853"/>
                  <a:gd name="T1" fmla="*/ 581 h 714"/>
                  <a:gd name="T2" fmla="*/ 439 w 853"/>
                  <a:gd name="T3" fmla="*/ 581 h 714"/>
                  <a:gd name="T4" fmla="*/ 405 w 853"/>
                  <a:gd name="T5" fmla="*/ 581 h 714"/>
                  <a:gd name="T6" fmla="*/ 405 w 853"/>
                  <a:gd name="T7" fmla="*/ 581 h 714"/>
                  <a:gd name="T8" fmla="*/ 316 w 853"/>
                  <a:gd name="T9" fmla="*/ 502 h 714"/>
                  <a:gd name="T10" fmla="*/ 316 w 853"/>
                  <a:gd name="T11" fmla="*/ 502 h 714"/>
                  <a:gd name="T12" fmla="*/ 57 w 853"/>
                  <a:gd name="T13" fmla="*/ 460 h 714"/>
                  <a:gd name="T14" fmla="*/ 57 w 853"/>
                  <a:gd name="T15" fmla="*/ 460 h 714"/>
                  <a:gd name="T16" fmla="*/ 5 w 853"/>
                  <a:gd name="T17" fmla="*/ 264 h 714"/>
                  <a:gd name="T18" fmla="*/ 5 w 853"/>
                  <a:gd name="T19" fmla="*/ 264 h 714"/>
                  <a:gd name="T20" fmla="*/ 255 w 853"/>
                  <a:gd name="T21" fmla="*/ 146 h 714"/>
                  <a:gd name="T22" fmla="*/ 255 w 853"/>
                  <a:gd name="T23" fmla="*/ 146 h 714"/>
                  <a:gd name="T24" fmla="*/ 752 w 853"/>
                  <a:gd name="T25" fmla="*/ 280 h 714"/>
                  <a:gd name="T26" fmla="*/ 752 w 853"/>
                  <a:gd name="T27" fmla="*/ 280 h 714"/>
                  <a:gd name="T28" fmla="*/ 695 w 853"/>
                  <a:gd name="T29" fmla="*/ 694 h 714"/>
                  <a:gd name="T30" fmla="*/ 695 w 853"/>
                  <a:gd name="T31" fmla="*/ 694 h 714"/>
                  <a:gd name="T32" fmla="*/ 497 w 853"/>
                  <a:gd name="T33" fmla="*/ 666 h 714"/>
                  <a:gd name="T34" fmla="*/ 497 w 853"/>
                  <a:gd name="T35" fmla="*/ 666 h 714"/>
                  <a:gd name="T36" fmla="*/ 513 w 853"/>
                  <a:gd name="T37" fmla="*/ 596 h 714"/>
                  <a:gd name="T38" fmla="*/ 513 w 853"/>
                  <a:gd name="T39" fmla="*/ 596 h 714"/>
                  <a:gd name="T40" fmla="*/ 439 w 853"/>
                  <a:gd name="T41" fmla="*/ 581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53" h="714">
                    <a:moveTo>
                      <a:pt x="439" y="581"/>
                    </a:moveTo>
                    <a:lnTo>
                      <a:pt x="439" y="581"/>
                    </a:lnTo>
                    <a:cubicBezTo>
                      <a:pt x="429" y="586"/>
                      <a:pt x="416" y="587"/>
                      <a:pt x="405" y="581"/>
                    </a:cubicBezTo>
                    <a:lnTo>
                      <a:pt x="405" y="581"/>
                    </a:lnTo>
                    <a:cubicBezTo>
                      <a:pt x="386" y="571"/>
                      <a:pt x="356" y="497"/>
                      <a:pt x="316" y="502"/>
                    </a:cubicBezTo>
                    <a:lnTo>
                      <a:pt x="316" y="502"/>
                    </a:lnTo>
                    <a:cubicBezTo>
                      <a:pt x="255" y="511"/>
                      <a:pt x="167" y="639"/>
                      <a:pt x="57" y="460"/>
                    </a:cubicBezTo>
                    <a:lnTo>
                      <a:pt x="57" y="460"/>
                    </a:lnTo>
                    <a:cubicBezTo>
                      <a:pt x="0" y="367"/>
                      <a:pt x="33" y="317"/>
                      <a:pt x="5" y="264"/>
                    </a:cubicBezTo>
                    <a:lnTo>
                      <a:pt x="5" y="264"/>
                    </a:lnTo>
                    <a:cubicBezTo>
                      <a:pt x="5" y="264"/>
                      <a:pt x="15" y="293"/>
                      <a:pt x="255" y="146"/>
                    </a:cubicBezTo>
                    <a:lnTo>
                      <a:pt x="255" y="146"/>
                    </a:lnTo>
                    <a:cubicBezTo>
                      <a:pt x="495" y="0"/>
                      <a:pt x="691" y="178"/>
                      <a:pt x="752" y="280"/>
                    </a:cubicBezTo>
                    <a:lnTo>
                      <a:pt x="752" y="280"/>
                    </a:lnTo>
                    <a:cubicBezTo>
                      <a:pt x="813" y="382"/>
                      <a:pt x="852" y="582"/>
                      <a:pt x="695" y="694"/>
                    </a:cubicBezTo>
                    <a:lnTo>
                      <a:pt x="695" y="694"/>
                    </a:lnTo>
                    <a:cubicBezTo>
                      <a:pt x="668" y="713"/>
                      <a:pt x="501" y="679"/>
                      <a:pt x="497" y="666"/>
                    </a:cubicBezTo>
                    <a:lnTo>
                      <a:pt x="497" y="666"/>
                    </a:lnTo>
                    <a:cubicBezTo>
                      <a:pt x="494" y="652"/>
                      <a:pt x="539" y="629"/>
                      <a:pt x="513" y="596"/>
                    </a:cubicBezTo>
                    <a:lnTo>
                      <a:pt x="513" y="596"/>
                    </a:lnTo>
                    <a:cubicBezTo>
                      <a:pt x="492" y="568"/>
                      <a:pt x="468" y="567"/>
                      <a:pt x="439" y="581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1" name="Freeform 390">
                <a:extLst>
                  <a:ext uri="{FF2B5EF4-FFF2-40B4-BE49-F238E27FC236}">
                    <a16:creationId xmlns:a16="http://schemas.microsoft.com/office/drawing/2014/main" id="{563D2FD8-39EF-CC4D-A211-10D5B334E4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8970" y="9144962"/>
                <a:ext cx="748226" cy="1042019"/>
              </a:xfrm>
              <a:custGeom>
                <a:avLst/>
                <a:gdLst>
                  <a:gd name="connsiteX0" fmla="*/ 0 w 748226"/>
                  <a:gd name="connsiteY0" fmla="*/ 0 h 1042019"/>
                  <a:gd name="connsiteX1" fmla="*/ 371502 w 748226"/>
                  <a:gd name="connsiteY1" fmla="*/ 522166 h 1042019"/>
                  <a:gd name="connsiteX2" fmla="*/ 748226 w 748226"/>
                  <a:gd name="connsiteY2" fmla="*/ 438724 h 1042019"/>
                  <a:gd name="connsiteX3" fmla="*/ 449516 w 748226"/>
                  <a:gd name="connsiteY3" fmla="*/ 535781 h 1042019"/>
                  <a:gd name="connsiteX4" fmla="*/ 745345 w 748226"/>
                  <a:gd name="connsiteY4" fmla="*/ 1042019 h 1042019"/>
                  <a:gd name="connsiteX5" fmla="*/ 419432 w 748226"/>
                  <a:gd name="connsiteY5" fmla="*/ 545556 h 1042019"/>
                  <a:gd name="connsiteX6" fmla="*/ 363014 w 748226"/>
                  <a:gd name="connsiteY6" fmla="*/ 563887 h 1042019"/>
                  <a:gd name="connsiteX7" fmla="*/ 327958 w 748226"/>
                  <a:gd name="connsiteY7" fmla="*/ 509433 h 1042019"/>
                  <a:gd name="connsiteX8" fmla="*/ 2880 w 748226"/>
                  <a:gd name="connsiteY8" fmla="*/ 618618 h 1042019"/>
                  <a:gd name="connsiteX9" fmla="*/ 310371 w 748226"/>
                  <a:gd name="connsiteY9" fmla="*/ 482113 h 1042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226" h="1042019">
                    <a:moveTo>
                      <a:pt x="0" y="0"/>
                    </a:moveTo>
                    <a:lnTo>
                      <a:pt x="371502" y="522166"/>
                    </a:lnTo>
                    <a:lnTo>
                      <a:pt x="748226" y="438724"/>
                    </a:lnTo>
                    <a:lnTo>
                      <a:pt x="449516" y="535781"/>
                    </a:lnTo>
                    <a:lnTo>
                      <a:pt x="745345" y="1042019"/>
                    </a:lnTo>
                    <a:lnTo>
                      <a:pt x="419432" y="545556"/>
                    </a:lnTo>
                    <a:lnTo>
                      <a:pt x="363014" y="563887"/>
                    </a:lnTo>
                    <a:lnTo>
                      <a:pt x="327958" y="509433"/>
                    </a:lnTo>
                    <a:lnTo>
                      <a:pt x="2880" y="618618"/>
                    </a:lnTo>
                    <a:lnTo>
                      <a:pt x="310371" y="482113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544FBCB4-5EF4-3144-A9B8-9A0C85F539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1589" y="8842530"/>
                <a:ext cx="377319" cy="504054"/>
              </a:xfrm>
              <a:custGeom>
                <a:avLst/>
                <a:gdLst>
                  <a:gd name="T0" fmla="*/ 575 w 576"/>
                  <a:gd name="T1" fmla="*/ 532 h 773"/>
                  <a:gd name="T2" fmla="*/ 575 w 576"/>
                  <a:gd name="T3" fmla="*/ 532 h 773"/>
                  <a:gd name="T4" fmla="*/ 296 w 576"/>
                  <a:gd name="T5" fmla="*/ 48 h 773"/>
                  <a:gd name="T6" fmla="*/ 296 w 576"/>
                  <a:gd name="T7" fmla="*/ 48 h 773"/>
                  <a:gd name="T8" fmla="*/ 103 w 576"/>
                  <a:gd name="T9" fmla="*/ 27 h 773"/>
                  <a:gd name="T10" fmla="*/ 103 w 576"/>
                  <a:gd name="T11" fmla="*/ 27 h 773"/>
                  <a:gd name="T12" fmla="*/ 99 w 576"/>
                  <a:gd name="T13" fmla="*/ 28 h 773"/>
                  <a:gd name="T14" fmla="*/ 99 w 576"/>
                  <a:gd name="T15" fmla="*/ 28 h 773"/>
                  <a:gd name="T16" fmla="*/ 98 w 576"/>
                  <a:gd name="T17" fmla="*/ 29 h 773"/>
                  <a:gd name="T18" fmla="*/ 0 w 576"/>
                  <a:gd name="T19" fmla="*/ 85 h 773"/>
                  <a:gd name="T20" fmla="*/ 46 w 576"/>
                  <a:gd name="T21" fmla="*/ 82 h 773"/>
                  <a:gd name="T22" fmla="*/ 46 w 576"/>
                  <a:gd name="T23" fmla="*/ 82 h 773"/>
                  <a:gd name="T24" fmla="*/ 17 w 576"/>
                  <a:gd name="T25" fmla="*/ 210 h 773"/>
                  <a:gd name="T26" fmla="*/ 17 w 576"/>
                  <a:gd name="T27" fmla="*/ 210 h 773"/>
                  <a:gd name="T28" fmla="*/ 296 w 576"/>
                  <a:gd name="T29" fmla="*/ 693 h 773"/>
                  <a:gd name="T30" fmla="*/ 296 w 576"/>
                  <a:gd name="T31" fmla="*/ 693 h 773"/>
                  <a:gd name="T32" fmla="*/ 410 w 576"/>
                  <a:gd name="T33" fmla="*/ 731 h 773"/>
                  <a:gd name="T34" fmla="*/ 410 w 576"/>
                  <a:gd name="T35" fmla="*/ 731 h 773"/>
                  <a:gd name="T36" fmla="*/ 389 w 576"/>
                  <a:gd name="T37" fmla="*/ 772 h 773"/>
                  <a:gd name="T38" fmla="*/ 490 w 576"/>
                  <a:gd name="T39" fmla="*/ 714 h 773"/>
                  <a:gd name="T40" fmla="*/ 490 w 576"/>
                  <a:gd name="T41" fmla="*/ 714 h 773"/>
                  <a:gd name="T42" fmla="*/ 496 w 576"/>
                  <a:gd name="T43" fmla="*/ 711 h 773"/>
                  <a:gd name="T44" fmla="*/ 501 w 576"/>
                  <a:gd name="T45" fmla="*/ 708 h 773"/>
                  <a:gd name="T46" fmla="*/ 500 w 576"/>
                  <a:gd name="T47" fmla="*/ 708 h 773"/>
                  <a:gd name="T48" fmla="*/ 500 w 576"/>
                  <a:gd name="T49" fmla="*/ 708 h 773"/>
                  <a:gd name="T50" fmla="*/ 575 w 576"/>
                  <a:gd name="T51" fmla="*/ 532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6" h="773">
                    <a:moveTo>
                      <a:pt x="575" y="532"/>
                    </a:moveTo>
                    <a:lnTo>
                      <a:pt x="575" y="532"/>
                    </a:lnTo>
                    <a:cubicBezTo>
                      <a:pt x="575" y="354"/>
                      <a:pt x="450" y="138"/>
                      <a:pt x="296" y="48"/>
                    </a:cubicBezTo>
                    <a:lnTo>
                      <a:pt x="296" y="48"/>
                    </a:lnTo>
                    <a:cubicBezTo>
                      <a:pt x="221" y="5"/>
                      <a:pt x="152" y="0"/>
                      <a:pt x="103" y="27"/>
                    </a:cubicBezTo>
                    <a:lnTo>
                      <a:pt x="103" y="27"/>
                    </a:lnTo>
                    <a:lnTo>
                      <a:pt x="99" y="28"/>
                    </a:lnTo>
                    <a:lnTo>
                      <a:pt x="99" y="28"/>
                    </a:lnTo>
                    <a:cubicBezTo>
                      <a:pt x="99" y="29"/>
                      <a:pt x="99" y="29"/>
                      <a:pt x="98" y="29"/>
                    </a:cubicBezTo>
                    <a:lnTo>
                      <a:pt x="0" y="85"/>
                    </a:lnTo>
                    <a:lnTo>
                      <a:pt x="46" y="82"/>
                    </a:lnTo>
                    <a:lnTo>
                      <a:pt x="46" y="82"/>
                    </a:lnTo>
                    <a:cubicBezTo>
                      <a:pt x="28" y="115"/>
                      <a:pt x="17" y="158"/>
                      <a:pt x="17" y="210"/>
                    </a:cubicBezTo>
                    <a:lnTo>
                      <a:pt x="17" y="210"/>
                    </a:lnTo>
                    <a:cubicBezTo>
                      <a:pt x="17" y="388"/>
                      <a:pt x="142" y="604"/>
                      <a:pt x="296" y="693"/>
                    </a:cubicBezTo>
                    <a:lnTo>
                      <a:pt x="296" y="693"/>
                    </a:lnTo>
                    <a:cubicBezTo>
                      <a:pt x="337" y="717"/>
                      <a:pt x="375" y="728"/>
                      <a:pt x="410" y="731"/>
                    </a:cubicBezTo>
                    <a:lnTo>
                      <a:pt x="410" y="731"/>
                    </a:lnTo>
                    <a:cubicBezTo>
                      <a:pt x="404" y="743"/>
                      <a:pt x="389" y="772"/>
                      <a:pt x="389" y="772"/>
                    </a:cubicBezTo>
                    <a:lnTo>
                      <a:pt x="490" y="714"/>
                    </a:lnTo>
                    <a:lnTo>
                      <a:pt x="490" y="714"/>
                    </a:lnTo>
                    <a:cubicBezTo>
                      <a:pt x="492" y="713"/>
                      <a:pt x="494" y="712"/>
                      <a:pt x="496" y="711"/>
                    </a:cubicBezTo>
                    <a:lnTo>
                      <a:pt x="501" y="708"/>
                    </a:lnTo>
                    <a:lnTo>
                      <a:pt x="500" y="708"/>
                    </a:lnTo>
                    <a:lnTo>
                      <a:pt x="500" y="708"/>
                    </a:lnTo>
                    <a:cubicBezTo>
                      <a:pt x="547" y="677"/>
                      <a:pt x="575" y="617"/>
                      <a:pt x="575" y="532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3" name="Freeform 541">
                <a:extLst>
                  <a:ext uri="{FF2B5EF4-FFF2-40B4-BE49-F238E27FC236}">
                    <a16:creationId xmlns:a16="http://schemas.microsoft.com/office/drawing/2014/main" id="{0079C14B-423B-BB4D-A118-D1335415B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6863" y="8854052"/>
                <a:ext cx="365799" cy="538617"/>
              </a:xfrm>
              <a:custGeom>
                <a:avLst/>
                <a:gdLst>
                  <a:gd name="T0" fmla="*/ 558 w 559"/>
                  <a:gd name="T1" fmla="*/ 572 h 824"/>
                  <a:gd name="T2" fmla="*/ 558 w 559"/>
                  <a:gd name="T3" fmla="*/ 572 h 824"/>
                  <a:gd name="T4" fmla="*/ 279 w 559"/>
                  <a:gd name="T5" fmla="*/ 733 h 824"/>
                  <a:gd name="T6" fmla="*/ 279 w 559"/>
                  <a:gd name="T7" fmla="*/ 733 h 824"/>
                  <a:gd name="T8" fmla="*/ 0 w 559"/>
                  <a:gd name="T9" fmla="*/ 250 h 824"/>
                  <a:gd name="T10" fmla="*/ 0 w 559"/>
                  <a:gd name="T11" fmla="*/ 250 h 824"/>
                  <a:gd name="T12" fmla="*/ 279 w 559"/>
                  <a:gd name="T13" fmla="*/ 89 h 824"/>
                  <a:gd name="T14" fmla="*/ 279 w 559"/>
                  <a:gd name="T15" fmla="*/ 89 h 824"/>
                  <a:gd name="T16" fmla="*/ 558 w 559"/>
                  <a:gd name="T17" fmla="*/ 572 h 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9" h="824">
                    <a:moveTo>
                      <a:pt x="558" y="572"/>
                    </a:moveTo>
                    <a:lnTo>
                      <a:pt x="558" y="572"/>
                    </a:lnTo>
                    <a:cubicBezTo>
                      <a:pt x="558" y="750"/>
                      <a:pt x="433" y="823"/>
                      <a:pt x="279" y="733"/>
                    </a:cubicBezTo>
                    <a:lnTo>
                      <a:pt x="279" y="733"/>
                    </a:lnTo>
                    <a:cubicBezTo>
                      <a:pt x="124" y="644"/>
                      <a:pt x="0" y="428"/>
                      <a:pt x="0" y="250"/>
                    </a:cubicBezTo>
                    <a:lnTo>
                      <a:pt x="0" y="250"/>
                    </a:lnTo>
                    <a:cubicBezTo>
                      <a:pt x="0" y="72"/>
                      <a:pt x="124" y="0"/>
                      <a:pt x="279" y="89"/>
                    </a:cubicBezTo>
                    <a:lnTo>
                      <a:pt x="279" y="89"/>
                    </a:lnTo>
                    <a:cubicBezTo>
                      <a:pt x="433" y="178"/>
                      <a:pt x="558" y="394"/>
                      <a:pt x="558" y="57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4" name="Freeform 542">
                <a:extLst>
                  <a:ext uri="{FF2B5EF4-FFF2-40B4-BE49-F238E27FC236}">
                    <a16:creationId xmlns:a16="http://schemas.microsoft.com/office/drawing/2014/main" id="{0BEDF41C-C9C4-C140-81DB-40F7515D1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3595" y="8977905"/>
                <a:ext cx="103691" cy="270748"/>
              </a:xfrm>
              <a:custGeom>
                <a:avLst/>
                <a:gdLst>
                  <a:gd name="T0" fmla="*/ 78 w 158"/>
                  <a:gd name="T1" fmla="*/ 398 h 413"/>
                  <a:gd name="T2" fmla="*/ 40 w 158"/>
                  <a:gd name="T3" fmla="*/ 369 h 413"/>
                  <a:gd name="T4" fmla="*/ 15 w 158"/>
                  <a:gd name="T5" fmla="*/ 334 h 413"/>
                  <a:gd name="T6" fmla="*/ 4 w 158"/>
                  <a:gd name="T7" fmla="*/ 293 h 413"/>
                  <a:gd name="T8" fmla="*/ 51 w 158"/>
                  <a:gd name="T9" fmla="*/ 277 h 413"/>
                  <a:gd name="T10" fmla="*/ 52 w 158"/>
                  <a:gd name="T11" fmla="*/ 301 h 413"/>
                  <a:gd name="T12" fmla="*/ 56 w 158"/>
                  <a:gd name="T13" fmla="*/ 322 h 413"/>
                  <a:gd name="T14" fmla="*/ 65 w 158"/>
                  <a:gd name="T15" fmla="*/ 340 h 413"/>
                  <a:gd name="T16" fmla="*/ 80 w 158"/>
                  <a:gd name="T17" fmla="*/ 353 h 413"/>
                  <a:gd name="T18" fmla="*/ 89 w 158"/>
                  <a:gd name="T19" fmla="*/ 356 h 413"/>
                  <a:gd name="T20" fmla="*/ 96 w 158"/>
                  <a:gd name="T21" fmla="*/ 355 h 413"/>
                  <a:gd name="T22" fmla="*/ 102 w 158"/>
                  <a:gd name="T23" fmla="*/ 349 h 413"/>
                  <a:gd name="T24" fmla="*/ 105 w 158"/>
                  <a:gd name="T25" fmla="*/ 339 h 413"/>
                  <a:gd name="T26" fmla="*/ 106 w 158"/>
                  <a:gd name="T27" fmla="*/ 325 h 413"/>
                  <a:gd name="T28" fmla="*/ 106 w 158"/>
                  <a:gd name="T29" fmla="*/ 309 h 413"/>
                  <a:gd name="T30" fmla="*/ 107 w 158"/>
                  <a:gd name="T31" fmla="*/ 290 h 413"/>
                  <a:gd name="T32" fmla="*/ 106 w 158"/>
                  <a:gd name="T33" fmla="*/ 268 h 413"/>
                  <a:gd name="T34" fmla="*/ 104 w 158"/>
                  <a:gd name="T35" fmla="*/ 248 h 413"/>
                  <a:gd name="T36" fmla="*/ 99 w 158"/>
                  <a:gd name="T37" fmla="*/ 231 h 413"/>
                  <a:gd name="T38" fmla="*/ 91 w 158"/>
                  <a:gd name="T39" fmla="*/ 217 h 413"/>
                  <a:gd name="T40" fmla="*/ 78 w 158"/>
                  <a:gd name="T41" fmla="*/ 207 h 413"/>
                  <a:gd name="T42" fmla="*/ 60 w 158"/>
                  <a:gd name="T43" fmla="*/ 204 h 413"/>
                  <a:gd name="T44" fmla="*/ 50 w 158"/>
                  <a:gd name="T45" fmla="*/ 221 h 413"/>
                  <a:gd name="T46" fmla="*/ 7 w 158"/>
                  <a:gd name="T47" fmla="*/ 0 h 413"/>
                  <a:gd name="T48" fmla="*/ 146 w 158"/>
                  <a:gd name="T49" fmla="*/ 135 h 413"/>
                  <a:gd name="T50" fmla="*/ 48 w 158"/>
                  <a:gd name="T51" fmla="*/ 163 h 413"/>
                  <a:gd name="T52" fmla="*/ 65 w 158"/>
                  <a:gd name="T53" fmla="*/ 160 h 413"/>
                  <a:gd name="T54" fmla="*/ 89 w 158"/>
                  <a:gd name="T55" fmla="*/ 168 h 413"/>
                  <a:gd name="T56" fmla="*/ 121 w 158"/>
                  <a:gd name="T57" fmla="*/ 193 h 413"/>
                  <a:gd name="T58" fmla="*/ 142 w 158"/>
                  <a:gd name="T59" fmla="*/ 227 h 413"/>
                  <a:gd name="T60" fmla="*/ 153 w 158"/>
                  <a:gd name="T61" fmla="*/ 268 h 413"/>
                  <a:gd name="T62" fmla="*/ 157 w 158"/>
                  <a:gd name="T63" fmla="*/ 315 h 413"/>
                  <a:gd name="T64" fmla="*/ 156 w 158"/>
                  <a:gd name="T65" fmla="*/ 355 h 413"/>
                  <a:gd name="T66" fmla="*/ 148 w 158"/>
                  <a:gd name="T67" fmla="*/ 386 h 413"/>
                  <a:gd name="T68" fmla="*/ 134 w 158"/>
                  <a:gd name="T69" fmla="*/ 407 h 413"/>
                  <a:gd name="T70" fmla="*/ 111 w 158"/>
                  <a:gd name="T71" fmla="*/ 411 h 413"/>
                  <a:gd name="T72" fmla="*/ 78 w 158"/>
                  <a:gd name="T73" fmla="*/ 398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413">
                    <a:moveTo>
                      <a:pt x="78" y="398"/>
                    </a:moveTo>
                    <a:lnTo>
                      <a:pt x="78" y="398"/>
                    </a:lnTo>
                    <a:cubicBezTo>
                      <a:pt x="62" y="390"/>
                      <a:pt x="50" y="380"/>
                      <a:pt x="40" y="369"/>
                    </a:cubicBezTo>
                    <a:lnTo>
                      <a:pt x="40" y="369"/>
                    </a:lnTo>
                    <a:cubicBezTo>
                      <a:pt x="30" y="358"/>
                      <a:pt x="21" y="346"/>
                      <a:pt x="15" y="334"/>
                    </a:cubicBezTo>
                    <a:lnTo>
                      <a:pt x="15" y="334"/>
                    </a:lnTo>
                    <a:cubicBezTo>
                      <a:pt x="10" y="320"/>
                      <a:pt x="6" y="307"/>
                      <a:pt x="4" y="293"/>
                    </a:cubicBezTo>
                    <a:lnTo>
                      <a:pt x="4" y="293"/>
                    </a:lnTo>
                    <a:cubicBezTo>
                      <a:pt x="1" y="279"/>
                      <a:pt x="0" y="264"/>
                      <a:pt x="0" y="247"/>
                    </a:cubicBezTo>
                    <a:lnTo>
                      <a:pt x="51" y="277"/>
                    </a:lnTo>
                    <a:lnTo>
                      <a:pt x="51" y="277"/>
                    </a:lnTo>
                    <a:cubicBezTo>
                      <a:pt x="51" y="286"/>
                      <a:pt x="52" y="294"/>
                      <a:pt x="52" y="301"/>
                    </a:cubicBezTo>
                    <a:lnTo>
                      <a:pt x="52" y="301"/>
                    </a:lnTo>
                    <a:cubicBezTo>
                      <a:pt x="53" y="308"/>
                      <a:pt x="54" y="315"/>
                      <a:pt x="56" y="322"/>
                    </a:cubicBezTo>
                    <a:lnTo>
                      <a:pt x="56" y="322"/>
                    </a:lnTo>
                    <a:cubicBezTo>
                      <a:pt x="58" y="329"/>
                      <a:pt x="61" y="335"/>
                      <a:pt x="65" y="340"/>
                    </a:cubicBezTo>
                    <a:lnTo>
                      <a:pt x="65" y="340"/>
                    </a:lnTo>
                    <a:cubicBezTo>
                      <a:pt x="68" y="345"/>
                      <a:pt x="73" y="350"/>
                      <a:pt x="80" y="353"/>
                    </a:cubicBezTo>
                    <a:lnTo>
                      <a:pt x="80" y="353"/>
                    </a:lnTo>
                    <a:cubicBezTo>
                      <a:pt x="83" y="355"/>
                      <a:pt x="86" y="356"/>
                      <a:pt x="89" y="356"/>
                    </a:cubicBezTo>
                    <a:lnTo>
                      <a:pt x="89" y="356"/>
                    </a:lnTo>
                    <a:cubicBezTo>
                      <a:pt x="92" y="357"/>
                      <a:pt x="95" y="356"/>
                      <a:pt x="96" y="355"/>
                    </a:cubicBezTo>
                    <a:lnTo>
                      <a:pt x="96" y="355"/>
                    </a:lnTo>
                    <a:cubicBezTo>
                      <a:pt x="99" y="355"/>
                      <a:pt x="101" y="352"/>
                      <a:pt x="102" y="349"/>
                    </a:cubicBezTo>
                    <a:lnTo>
                      <a:pt x="102" y="349"/>
                    </a:lnTo>
                    <a:cubicBezTo>
                      <a:pt x="103" y="345"/>
                      <a:pt x="104" y="342"/>
                      <a:pt x="105" y="339"/>
                    </a:cubicBezTo>
                    <a:lnTo>
                      <a:pt x="105" y="339"/>
                    </a:lnTo>
                    <a:cubicBezTo>
                      <a:pt x="105" y="336"/>
                      <a:pt x="106" y="331"/>
                      <a:pt x="106" y="325"/>
                    </a:cubicBezTo>
                    <a:lnTo>
                      <a:pt x="106" y="325"/>
                    </a:lnTo>
                    <a:cubicBezTo>
                      <a:pt x="106" y="319"/>
                      <a:pt x="106" y="314"/>
                      <a:pt x="106" y="309"/>
                    </a:cubicBezTo>
                    <a:lnTo>
                      <a:pt x="106" y="309"/>
                    </a:lnTo>
                    <a:cubicBezTo>
                      <a:pt x="107" y="305"/>
                      <a:pt x="107" y="299"/>
                      <a:pt x="107" y="290"/>
                    </a:cubicBezTo>
                    <a:lnTo>
                      <a:pt x="107" y="290"/>
                    </a:lnTo>
                    <a:cubicBezTo>
                      <a:pt x="107" y="281"/>
                      <a:pt x="106" y="274"/>
                      <a:pt x="106" y="268"/>
                    </a:cubicBezTo>
                    <a:lnTo>
                      <a:pt x="106" y="268"/>
                    </a:lnTo>
                    <a:cubicBezTo>
                      <a:pt x="106" y="262"/>
                      <a:pt x="105" y="255"/>
                      <a:pt x="104" y="248"/>
                    </a:cubicBezTo>
                    <a:lnTo>
                      <a:pt x="104" y="248"/>
                    </a:lnTo>
                    <a:cubicBezTo>
                      <a:pt x="103" y="241"/>
                      <a:pt x="102" y="235"/>
                      <a:pt x="99" y="231"/>
                    </a:cubicBezTo>
                    <a:lnTo>
                      <a:pt x="99" y="231"/>
                    </a:lnTo>
                    <a:cubicBezTo>
                      <a:pt x="98" y="226"/>
                      <a:pt x="95" y="222"/>
                      <a:pt x="91" y="217"/>
                    </a:cubicBezTo>
                    <a:lnTo>
                      <a:pt x="91" y="217"/>
                    </a:lnTo>
                    <a:cubicBezTo>
                      <a:pt x="88" y="213"/>
                      <a:pt x="83" y="209"/>
                      <a:pt x="78" y="207"/>
                    </a:cubicBezTo>
                    <a:lnTo>
                      <a:pt x="78" y="207"/>
                    </a:lnTo>
                    <a:cubicBezTo>
                      <a:pt x="71" y="203"/>
                      <a:pt x="65" y="202"/>
                      <a:pt x="60" y="204"/>
                    </a:cubicBezTo>
                    <a:lnTo>
                      <a:pt x="60" y="204"/>
                    </a:lnTo>
                    <a:cubicBezTo>
                      <a:pt x="55" y="207"/>
                      <a:pt x="52" y="213"/>
                      <a:pt x="50" y="221"/>
                    </a:cubicBezTo>
                    <a:lnTo>
                      <a:pt x="5" y="194"/>
                    </a:lnTo>
                    <a:lnTo>
                      <a:pt x="7" y="0"/>
                    </a:lnTo>
                    <a:lnTo>
                      <a:pt x="146" y="80"/>
                    </a:lnTo>
                    <a:lnTo>
                      <a:pt x="146" y="135"/>
                    </a:lnTo>
                    <a:lnTo>
                      <a:pt x="52" y="81"/>
                    </a:lnTo>
                    <a:lnTo>
                      <a:pt x="48" y="163"/>
                    </a:lnTo>
                    <a:lnTo>
                      <a:pt x="48" y="163"/>
                    </a:lnTo>
                    <a:cubicBezTo>
                      <a:pt x="52" y="160"/>
                      <a:pt x="58" y="158"/>
                      <a:pt x="65" y="160"/>
                    </a:cubicBezTo>
                    <a:lnTo>
                      <a:pt x="65" y="160"/>
                    </a:lnTo>
                    <a:cubicBezTo>
                      <a:pt x="72" y="161"/>
                      <a:pt x="81" y="163"/>
                      <a:pt x="89" y="168"/>
                    </a:cubicBezTo>
                    <a:lnTo>
                      <a:pt x="89" y="168"/>
                    </a:lnTo>
                    <a:cubicBezTo>
                      <a:pt x="101" y="174"/>
                      <a:pt x="112" y="183"/>
                      <a:pt x="121" y="193"/>
                    </a:cubicBezTo>
                    <a:lnTo>
                      <a:pt x="121" y="193"/>
                    </a:lnTo>
                    <a:cubicBezTo>
                      <a:pt x="129" y="203"/>
                      <a:pt x="136" y="214"/>
                      <a:pt x="142" y="227"/>
                    </a:cubicBezTo>
                    <a:lnTo>
                      <a:pt x="142" y="227"/>
                    </a:lnTo>
                    <a:cubicBezTo>
                      <a:pt x="147" y="239"/>
                      <a:pt x="151" y="253"/>
                      <a:pt x="153" y="268"/>
                    </a:cubicBezTo>
                    <a:lnTo>
                      <a:pt x="153" y="268"/>
                    </a:lnTo>
                    <a:cubicBezTo>
                      <a:pt x="156" y="282"/>
                      <a:pt x="157" y="298"/>
                      <a:pt x="157" y="315"/>
                    </a:cubicBezTo>
                    <a:lnTo>
                      <a:pt x="157" y="315"/>
                    </a:lnTo>
                    <a:cubicBezTo>
                      <a:pt x="157" y="330"/>
                      <a:pt x="157" y="344"/>
                      <a:pt x="156" y="355"/>
                    </a:cubicBezTo>
                    <a:lnTo>
                      <a:pt x="156" y="355"/>
                    </a:lnTo>
                    <a:cubicBezTo>
                      <a:pt x="154" y="367"/>
                      <a:pt x="152" y="377"/>
                      <a:pt x="148" y="386"/>
                    </a:cubicBezTo>
                    <a:lnTo>
                      <a:pt x="148" y="386"/>
                    </a:lnTo>
                    <a:cubicBezTo>
                      <a:pt x="145" y="396"/>
                      <a:pt x="140" y="403"/>
                      <a:pt x="134" y="407"/>
                    </a:cubicBezTo>
                    <a:lnTo>
                      <a:pt x="134" y="407"/>
                    </a:lnTo>
                    <a:cubicBezTo>
                      <a:pt x="129" y="410"/>
                      <a:pt x="121" y="412"/>
                      <a:pt x="111" y="411"/>
                    </a:cubicBezTo>
                    <a:lnTo>
                      <a:pt x="111" y="411"/>
                    </a:lnTo>
                    <a:cubicBezTo>
                      <a:pt x="102" y="410"/>
                      <a:pt x="91" y="406"/>
                      <a:pt x="78" y="39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id="{BA2C4A76-134E-5F43-9742-D91F0C1701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93967" y="5291118"/>
                <a:ext cx="1246517" cy="3803775"/>
              </a:xfrm>
              <a:custGeom>
                <a:avLst/>
                <a:gdLst>
                  <a:gd name="connsiteX0" fmla="*/ 1161738 w 1246517"/>
                  <a:gd name="connsiteY0" fmla="*/ 3643048 h 3803775"/>
                  <a:gd name="connsiteX1" fmla="*/ 1228909 w 1246517"/>
                  <a:gd name="connsiteY1" fmla="*/ 3682265 h 3803775"/>
                  <a:gd name="connsiteX2" fmla="*/ 1246517 w 1246517"/>
                  <a:gd name="connsiteY2" fmla="*/ 3716906 h 3803775"/>
                  <a:gd name="connsiteX3" fmla="*/ 1246517 w 1246517"/>
                  <a:gd name="connsiteY3" fmla="*/ 3788150 h 3803775"/>
                  <a:gd name="connsiteX4" fmla="*/ 1228909 w 1246517"/>
                  <a:gd name="connsiteY4" fmla="*/ 3801876 h 3803775"/>
                  <a:gd name="connsiteX5" fmla="*/ 1161738 w 1246517"/>
                  <a:gd name="connsiteY5" fmla="*/ 3762659 h 3803775"/>
                  <a:gd name="connsiteX6" fmla="*/ 1143478 w 1246517"/>
                  <a:gd name="connsiteY6" fmla="*/ 3728017 h 3803775"/>
                  <a:gd name="connsiteX7" fmla="*/ 1143478 w 1246517"/>
                  <a:gd name="connsiteY7" fmla="*/ 3656774 h 3803775"/>
                  <a:gd name="connsiteX8" fmla="*/ 1161738 w 1246517"/>
                  <a:gd name="connsiteY8" fmla="*/ 3643048 h 3803775"/>
                  <a:gd name="connsiteX9" fmla="*/ 847678 w 1246517"/>
                  <a:gd name="connsiteY9" fmla="*/ 3502076 h 3803775"/>
                  <a:gd name="connsiteX10" fmla="*/ 870963 w 1246517"/>
                  <a:gd name="connsiteY10" fmla="*/ 3504392 h 3803775"/>
                  <a:gd name="connsiteX11" fmla="*/ 903759 w 1246517"/>
                  <a:gd name="connsiteY11" fmla="*/ 3561959 h 3803775"/>
                  <a:gd name="connsiteX12" fmla="*/ 870963 w 1246517"/>
                  <a:gd name="connsiteY12" fmla="*/ 3580486 h 3803775"/>
                  <a:gd name="connsiteX13" fmla="*/ 838167 w 1246517"/>
                  <a:gd name="connsiteY13" fmla="*/ 3523581 h 3803775"/>
                  <a:gd name="connsiteX14" fmla="*/ 847678 w 1246517"/>
                  <a:gd name="connsiteY14" fmla="*/ 3502076 h 3803775"/>
                  <a:gd name="connsiteX15" fmla="*/ 732712 w 1246517"/>
                  <a:gd name="connsiteY15" fmla="*/ 3432949 h 3803775"/>
                  <a:gd name="connsiteX16" fmla="*/ 755751 w 1246517"/>
                  <a:gd name="connsiteY16" fmla="*/ 3435265 h 3803775"/>
                  <a:gd name="connsiteX17" fmla="*/ 788547 w 1246517"/>
                  <a:gd name="connsiteY17" fmla="*/ 3492170 h 3803775"/>
                  <a:gd name="connsiteX18" fmla="*/ 755751 w 1246517"/>
                  <a:gd name="connsiteY18" fmla="*/ 3511359 h 3803775"/>
                  <a:gd name="connsiteX19" fmla="*/ 722955 w 1246517"/>
                  <a:gd name="connsiteY19" fmla="*/ 3454454 h 3803775"/>
                  <a:gd name="connsiteX20" fmla="*/ 732712 w 1246517"/>
                  <a:gd name="connsiteY20" fmla="*/ 3432949 h 3803775"/>
                  <a:gd name="connsiteX21" fmla="*/ 617254 w 1246517"/>
                  <a:gd name="connsiteY21" fmla="*/ 3366648 h 3803775"/>
                  <a:gd name="connsiteX22" fmla="*/ 640539 w 1246517"/>
                  <a:gd name="connsiteY22" fmla="*/ 3368948 h 3803775"/>
                  <a:gd name="connsiteX23" fmla="*/ 673335 w 1246517"/>
                  <a:gd name="connsiteY23" fmla="*/ 3425471 h 3803775"/>
                  <a:gd name="connsiteX24" fmla="*/ 640539 w 1246517"/>
                  <a:gd name="connsiteY24" fmla="*/ 3444532 h 3803775"/>
                  <a:gd name="connsiteX25" fmla="*/ 607743 w 1246517"/>
                  <a:gd name="connsiteY25" fmla="*/ 3388008 h 3803775"/>
                  <a:gd name="connsiteX26" fmla="*/ 617254 w 1246517"/>
                  <a:gd name="connsiteY26" fmla="*/ 3366648 h 3803775"/>
                  <a:gd name="connsiteX27" fmla="*/ 1161738 w 1246517"/>
                  <a:gd name="connsiteY27" fmla="*/ 3164898 h 3803775"/>
                  <a:gd name="connsiteX28" fmla="*/ 1228909 w 1246517"/>
                  <a:gd name="connsiteY28" fmla="*/ 3203964 h 3803775"/>
                  <a:gd name="connsiteX29" fmla="*/ 1246517 w 1246517"/>
                  <a:gd name="connsiteY29" fmla="*/ 3238473 h 3803775"/>
                  <a:gd name="connsiteX30" fmla="*/ 1246517 w 1246517"/>
                  <a:gd name="connsiteY30" fmla="*/ 3309444 h 3803775"/>
                  <a:gd name="connsiteX31" fmla="*/ 1228909 w 1246517"/>
                  <a:gd name="connsiteY31" fmla="*/ 3323117 h 3803775"/>
                  <a:gd name="connsiteX32" fmla="*/ 1161738 w 1246517"/>
                  <a:gd name="connsiteY32" fmla="*/ 3284702 h 3803775"/>
                  <a:gd name="connsiteX33" fmla="*/ 1143478 w 1246517"/>
                  <a:gd name="connsiteY33" fmla="*/ 3249542 h 3803775"/>
                  <a:gd name="connsiteX34" fmla="*/ 1143478 w 1246517"/>
                  <a:gd name="connsiteY34" fmla="*/ 3179222 h 3803775"/>
                  <a:gd name="connsiteX35" fmla="*/ 1161738 w 1246517"/>
                  <a:gd name="connsiteY35" fmla="*/ 3164898 h 3803775"/>
                  <a:gd name="connsiteX36" fmla="*/ 8153 w 1246517"/>
                  <a:gd name="connsiteY36" fmla="*/ 3009898 h 3803775"/>
                  <a:gd name="connsiteX37" fmla="*/ 28048 w 1246517"/>
                  <a:gd name="connsiteY37" fmla="*/ 3010473 h 3803775"/>
                  <a:gd name="connsiteX38" fmla="*/ 226993 w 1246517"/>
                  <a:gd name="connsiteY38" fmla="*/ 3126116 h 3803775"/>
                  <a:gd name="connsiteX39" fmla="*/ 255694 w 1246517"/>
                  <a:gd name="connsiteY39" fmla="*/ 3180653 h 3803775"/>
                  <a:gd name="connsiteX40" fmla="*/ 226993 w 1246517"/>
                  <a:gd name="connsiteY40" fmla="*/ 3201679 h 3803775"/>
                  <a:gd name="connsiteX41" fmla="*/ 28048 w 1246517"/>
                  <a:gd name="connsiteY41" fmla="*/ 3086036 h 3803775"/>
                  <a:gd name="connsiteX42" fmla="*/ 0 w 1246517"/>
                  <a:gd name="connsiteY42" fmla="*/ 3031499 h 3803775"/>
                  <a:gd name="connsiteX43" fmla="*/ 8153 w 1246517"/>
                  <a:gd name="connsiteY43" fmla="*/ 3009898 h 3803775"/>
                  <a:gd name="connsiteX44" fmla="*/ 689261 w 1246517"/>
                  <a:gd name="connsiteY44" fmla="*/ 2925960 h 3803775"/>
                  <a:gd name="connsiteX45" fmla="*/ 712545 w 1246517"/>
                  <a:gd name="connsiteY45" fmla="*/ 2928261 h 3803775"/>
                  <a:gd name="connsiteX46" fmla="*/ 745340 w 1246517"/>
                  <a:gd name="connsiteY46" fmla="*/ 2985441 h 3803775"/>
                  <a:gd name="connsiteX47" fmla="*/ 712545 w 1246517"/>
                  <a:gd name="connsiteY47" fmla="*/ 3004502 h 3803775"/>
                  <a:gd name="connsiteX48" fmla="*/ 679750 w 1246517"/>
                  <a:gd name="connsiteY48" fmla="*/ 2947321 h 3803775"/>
                  <a:gd name="connsiteX49" fmla="*/ 689261 w 1246517"/>
                  <a:gd name="connsiteY49" fmla="*/ 2925960 h 3803775"/>
                  <a:gd name="connsiteX50" fmla="*/ 574049 w 1246517"/>
                  <a:gd name="connsiteY50" fmla="*/ 2859687 h 3803775"/>
                  <a:gd name="connsiteX51" fmla="*/ 597333 w 1246517"/>
                  <a:gd name="connsiteY51" fmla="*/ 2862086 h 3803775"/>
                  <a:gd name="connsiteX52" fmla="*/ 630128 w 1246517"/>
                  <a:gd name="connsiteY52" fmla="*/ 2918991 h 3803775"/>
                  <a:gd name="connsiteX53" fmla="*/ 597333 w 1246517"/>
                  <a:gd name="connsiteY53" fmla="*/ 2938180 h 3803775"/>
                  <a:gd name="connsiteX54" fmla="*/ 564538 w 1246517"/>
                  <a:gd name="connsiteY54" fmla="*/ 2880613 h 3803775"/>
                  <a:gd name="connsiteX55" fmla="*/ 574049 w 1246517"/>
                  <a:gd name="connsiteY55" fmla="*/ 2859687 h 3803775"/>
                  <a:gd name="connsiteX56" fmla="*/ 458837 w 1246517"/>
                  <a:gd name="connsiteY56" fmla="*/ 2790588 h 3803775"/>
                  <a:gd name="connsiteX57" fmla="*/ 482121 w 1246517"/>
                  <a:gd name="connsiteY57" fmla="*/ 2792888 h 3803775"/>
                  <a:gd name="connsiteX58" fmla="*/ 514916 w 1246517"/>
                  <a:gd name="connsiteY58" fmla="*/ 2850069 h 3803775"/>
                  <a:gd name="connsiteX59" fmla="*/ 482121 w 1246517"/>
                  <a:gd name="connsiteY59" fmla="*/ 2869129 h 3803775"/>
                  <a:gd name="connsiteX60" fmla="*/ 449326 w 1246517"/>
                  <a:gd name="connsiteY60" fmla="*/ 2811948 h 3803775"/>
                  <a:gd name="connsiteX61" fmla="*/ 458837 w 1246517"/>
                  <a:gd name="connsiteY61" fmla="*/ 2790588 h 3803775"/>
                  <a:gd name="connsiteX62" fmla="*/ 343856 w 1246517"/>
                  <a:gd name="connsiteY62" fmla="*/ 2724752 h 3803775"/>
                  <a:gd name="connsiteX63" fmla="*/ 367237 w 1246517"/>
                  <a:gd name="connsiteY63" fmla="*/ 2727298 h 3803775"/>
                  <a:gd name="connsiteX64" fmla="*/ 399711 w 1246517"/>
                  <a:gd name="connsiteY64" fmla="*/ 2783822 h 3803775"/>
                  <a:gd name="connsiteX65" fmla="*/ 367237 w 1246517"/>
                  <a:gd name="connsiteY65" fmla="*/ 2802882 h 3803775"/>
                  <a:gd name="connsiteX66" fmla="*/ 334114 w 1246517"/>
                  <a:gd name="connsiteY66" fmla="*/ 2746359 h 3803775"/>
                  <a:gd name="connsiteX67" fmla="*/ 343856 w 1246517"/>
                  <a:gd name="connsiteY67" fmla="*/ 2724752 h 3803775"/>
                  <a:gd name="connsiteX68" fmla="*/ 1161738 w 1246517"/>
                  <a:gd name="connsiteY68" fmla="*/ 2689648 h 3803775"/>
                  <a:gd name="connsiteX69" fmla="*/ 1228909 w 1246517"/>
                  <a:gd name="connsiteY69" fmla="*/ 2728714 h 3803775"/>
                  <a:gd name="connsiteX70" fmla="*/ 1246517 w 1246517"/>
                  <a:gd name="connsiteY70" fmla="*/ 2763222 h 3803775"/>
                  <a:gd name="connsiteX71" fmla="*/ 1246517 w 1246517"/>
                  <a:gd name="connsiteY71" fmla="*/ 2834192 h 3803775"/>
                  <a:gd name="connsiteX72" fmla="*/ 1228909 w 1246517"/>
                  <a:gd name="connsiteY72" fmla="*/ 2847865 h 3803775"/>
                  <a:gd name="connsiteX73" fmla="*/ 1161738 w 1246517"/>
                  <a:gd name="connsiteY73" fmla="*/ 2809450 h 3803775"/>
                  <a:gd name="connsiteX74" fmla="*/ 1143478 w 1246517"/>
                  <a:gd name="connsiteY74" fmla="*/ 2774291 h 3803775"/>
                  <a:gd name="connsiteX75" fmla="*/ 1143478 w 1246517"/>
                  <a:gd name="connsiteY75" fmla="*/ 2703972 h 3803775"/>
                  <a:gd name="connsiteX76" fmla="*/ 1161738 w 1246517"/>
                  <a:gd name="connsiteY76" fmla="*/ 2689648 h 3803775"/>
                  <a:gd name="connsiteX77" fmla="*/ 8153 w 1246517"/>
                  <a:gd name="connsiteY77" fmla="*/ 2531603 h 3803775"/>
                  <a:gd name="connsiteX78" fmla="*/ 28048 w 1246517"/>
                  <a:gd name="connsiteY78" fmla="*/ 2532343 h 3803775"/>
                  <a:gd name="connsiteX79" fmla="*/ 226993 w 1246517"/>
                  <a:gd name="connsiteY79" fmla="*/ 2647986 h 3803775"/>
                  <a:gd name="connsiteX80" fmla="*/ 255694 w 1246517"/>
                  <a:gd name="connsiteY80" fmla="*/ 2702523 h 3803775"/>
                  <a:gd name="connsiteX81" fmla="*/ 226993 w 1246517"/>
                  <a:gd name="connsiteY81" fmla="*/ 2724206 h 3803775"/>
                  <a:gd name="connsiteX82" fmla="*/ 28048 w 1246517"/>
                  <a:gd name="connsiteY82" fmla="*/ 2608562 h 3803775"/>
                  <a:gd name="connsiteX83" fmla="*/ 0 w 1246517"/>
                  <a:gd name="connsiteY83" fmla="*/ 2554026 h 3803775"/>
                  <a:gd name="connsiteX84" fmla="*/ 8153 w 1246517"/>
                  <a:gd name="connsiteY84" fmla="*/ 2531603 h 3803775"/>
                  <a:gd name="connsiteX85" fmla="*/ 689261 w 1246517"/>
                  <a:gd name="connsiteY85" fmla="*/ 2448241 h 3803775"/>
                  <a:gd name="connsiteX86" fmla="*/ 712545 w 1246517"/>
                  <a:gd name="connsiteY86" fmla="*/ 2450788 h 3803775"/>
                  <a:gd name="connsiteX87" fmla="*/ 745340 w 1246517"/>
                  <a:gd name="connsiteY87" fmla="*/ 2507311 h 3803775"/>
                  <a:gd name="connsiteX88" fmla="*/ 712545 w 1246517"/>
                  <a:gd name="connsiteY88" fmla="*/ 2526372 h 3803775"/>
                  <a:gd name="connsiteX89" fmla="*/ 679750 w 1246517"/>
                  <a:gd name="connsiteY89" fmla="*/ 2469848 h 3803775"/>
                  <a:gd name="connsiteX90" fmla="*/ 689261 w 1246517"/>
                  <a:gd name="connsiteY90" fmla="*/ 2448241 h 3803775"/>
                  <a:gd name="connsiteX91" fmla="*/ 574049 w 1246517"/>
                  <a:gd name="connsiteY91" fmla="*/ 2381913 h 3803775"/>
                  <a:gd name="connsiteX92" fmla="*/ 597333 w 1246517"/>
                  <a:gd name="connsiteY92" fmla="*/ 2384542 h 3803775"/>
                  <a:gd name="connsiteX93" fmla="*/ 630128 w 1246517"/>
                  <a:gd name="connsiteY93" fmla="*/ 2441065 h 3803775"/>
                  <a:gd name="connsiteX94" fmla="*/ 597333 w 1246517"/>
                  <a:gd name="connsiteY94" fmla="*/ 2460126 h 3803775"/>
                  <a:gd name="connsiteX95" fmla="*/ 564538 w 1246517"/>
                  <a:gd name="connsiteY95" fmla="*/ 2402945 h 3803775"/>
                  <a:gd name="connsiteX96" fmla="*/ 574049 w 1246517"/>
                  <a:gd name="connsiteY96" fmla="*/ 2381913 h 3803775"/>
                  <a:gd name="connsiteX97" fmla="*/ 458837 w 1246517"/>
                  <a:gd name="connsiteY97" fmla="*/ 2315446 h 3803775"/>
                  <a:gd name="connsiteX98" fmla="*/ 482121 w 1246517"/>
                  <a:gd name="connsiteY98" fmla="*/ 2318221 h 3803775"/>
                  <a:gd name="connsiteX99" fmla="*/ 514916 w 1246517"/>
                  <a:gd name="connsiteY99" fmla="*/ 2374368 h 3803775"/>
                  <a:gd name="connsiteX100" fmla="*/ 482121 w 1246517"/>
                  <a:gd name="connsiteY100" fmla="*/ 2393301 h 3803775"/>
                  <a:gd name="connsiteX101" fmla="*/ 449326 w 1246517"/>
                  <a:gd name="connsiteY101" fmla="*/ 2337154 h 3803775"/>
                  <a:gd name="connsiteX102" fmla="*/ 458837 w 1246517"/>
                  <a:gd name="connsiteY102" fmla="*/ 2315446 h 3803775"/>
                  <a:gd name="connsiteX103" fmla="*/ 343856 w 1246517"/>
                  <a:gd name="connsiteY103" fmla="*/ 2249065 h 3803775"/>
                  <a:gd name="connsiteX104" fmla="*/ 367237 w 1246517"/>
                  <a:gd name="connsiteY104" fmla="*/ 2251463 h 3803775"/>
                  <a:gd name="connsiteX105" fmla="*/ 399711 w 1246517"/>
                  <a:gd name="connsiteY105" fmla="*/ 2308369 h 3803775"/>
                  <a:gd name="connsiteX106" fmla="*/ 367237 w 1246517"/>
                  <a:gd name="connsiteY106" fmla="*/ 2327558 h 3803775"/>
                  <a:gd name="connsiteX107" fmla="*/ 334114 w 1246517"/>
                  <a:gd name="connsiteY107" fmla="*/ 2269991 h 3803775"/>
                  <a:gd name="connsiteX108" fmla="*/ 343856 w 1246517"/>
                  <a:gd name="connsiteY108" fmla="*/ 2249065 h 3803775"/>
                  <a:gd name="connsiteX109" fmla="*/ 1148940 w 1246517"/>
                  <a:gd name="connsiteY109" fmla="*/ 2211925 h 3803775"/>
                  <a:gd name="connsiteX110" fmla="*/ 1161738 w 1246517"/>
                  <a:gd name="connsiteY110" fmla="*/ 2212169 h 3803775"/>
                  <a:gd name="connsiteX111" fmla="*/ 1228909 w 1246517"/>
                  <a:gd name="connsiteY111" fmla="*/ 2250584 h 3803775"/>
                  <a:gd name="connsiteX112" fmla="*/ 1246517 w 1246517"/>
                  <a:gd name="connsiteY112" fmla="*/ 2285092 h 3803775"/>
                  <a:gd name="connsiteX113" fmla="*/ 1246517 w 1246517"/>
                  <a:gd name="connsiteY113" fmla="*/ 2356062 h 3803775"/>
                  <a:gd name="connsiteX114" fmla="*/ 1228909 w 1246517"/>
                  <a:gd name="connsiteY114" fmla="*/ 2369735 h 3803775"/>
                  <a:gd name="connsiteX115" fmla="*/ 1161738 w 1246517"/>
                  <a:gd name="connsiteY115" fmla="*/ 2331320 h 3803775"/>
                  <a:gd name="connsiteX116" fmla="*/ 1143478 w 1246517"/>
                  <a:gd name="connsiteY116" fmla="*/ 2296812 h 3803775"/>
                  <a:gd name="connsiteX117" fmla="*/ 1143478 w 1246517"/>
                  <a:gd name="connsiteY117" fmla="*/ 2225842 h 3803775"/>
                  <a:gd name="connsiteX118" fmla="*/ 1148940 w 1246517"/>
                  <a:gd name="connsiteY118" fmla="*/ 2211925 h 3803775"/>
                  <a:gd name="connsiteX119" fmla="*/ 8153 w 1246517"/>
                  <a:gd name="connsiteY119" fmla="*/ 2056571 h 3803775"/>
                  <a:gd name="connsiteX120" fmla="*/ 28048 w 1246517"/>
                  <a:gd name="connsiteY120" fmla="*/ 2057062 h 3803775"/>
                  <a:gd name="connsiteX121" fmla="*/ 226993 w 1246517"/>
                  <a:gd name="connsiteY121" fmla="*/ 2172346 h 3803775"/>
                  <a:gd name="connsiteX122" fmla="*/ 255694 w 1246517"/>
                  <a:gd name="connsiteY122" fmla="*/ 2226714 h 3803775"/>
                  <a:gd name="connsiteX123" fmla="*/ 226993 w 1246517"/>
                  <a:gd name="connsiteY123" fmla="*/ 2248329 h 3803775"/>
                  <a:gd name="connsiteX124" fmla="*/ 28048 w 1246517"/>
                  <a:gd name="connsiteY124" fmla="*/ 2133045 h 3803775"/>
                  <a:gd name="connsiteX125" fmla="*/ 0 w 1246517"/>
                  <a:gd name="connsiteY125" fmla="*/ 2078678 h 3803775"/>
                  <a:gd name="connsiteX126" fmla="*/ 8153 w 1246517"/>
                  <a:gd name="connsiteY126" fmla="*/ 2056571 h 3803775"/>
                  <a:gd name="connsiteX127" fmla="*/ 689261 w 1246517"/>
                  <a:gd name="connsiteY127" fmla="*/ 1972554 h 3803775"/>
                  <a:gd name="connsiteX128" fmla="*/ 712545 w 1246517"/>
                  <a:gd name="connsiteY128" fmla="*/ 1974953 h 3803775"/>
                  <a:gd name="connsiteX129" fmla="*/ 745340 w 1246517"/>
                  <a:gd name="connsiteY129" fmla="*/ 2031858 h 3803775"/>
                  <a:gd name="connsiteX130" fmla="*/ 712545 w 1246517"/>
                  <a:gd name="connsiteY130" fmla="*/ 2051047 h 3803775"/>
                  <a:gd name="connsiteX131" fmla="*/ 679750 w 1246517"/>
                  <a:gd name="connsiteY131" fmla="*/ 1993480 h 3803775"/>
                  <a:gd name="connsiteX132" fmla="*/ 689261 w 1246517"/>
                  <a:gd name="connsiteY132" fmla="*/ 1972554 h 3803775"/>
                  <a:gd name="connsiteX133" fmla="*/ 574049 w 1246517"/>
                  <a:gd name="connsiteY133" fmla="*/ 1903618 h 3803775"/>
                  <a:gd name="connsiteX134" fmla="*/ 597333 w 1246517"/>
                  <a:gd name="connsiteY134" fmla="*/ 1906411 h 3803775"/>
                  <a:gd name="connsiteX135" fmla="*/ 630128 w 1246517"/>
                  <a:gd name="connsiteY135" fmla="*/ 1962934 h 3803775"/>
                  <a:gd name="connsiteX136" fmla="*/ 597333 w 1246517"/>
                  <a:gd name="connsiteY136" fmla="*/ 1981995 h 3803775"/>
                  <a:gd name="connsiteX137" fmla="*/ 564538 w 1246517"/>
                  <a:gd name="connsiteY137" fmla="*/ 1925471 h 3803775"/>
                  <a:gd name="connsiteX138" fmla="*/ 574049 w 1246517"/>
                  <a:gd name="connsiteY138" fmla="*/ 1903618 h 3803775"/>
                  <a:gd name="connsiteX139" fmla="*/ 458837 w 1246517"/>
                  <a:gd name="connsiteY139" fmla="*/ 1837262 h 3803775"/>
                  <a:gd name="connsiteX140" fmla="*/ 482121 w 1246517"/>
                  <a:gd name="connsiteY140" fmla="*/ 1839578 h 3803775"/>
                  <a:gd name="connsiteX141" fmla="*/ 514916 w 1246517"/>
                  <a:gd name="connsiteY141" fmla="*/ 1897145 h 3803775"/>
                  <a:gd name="connsiteX142" fmla="*/ 482121 w 1246517"/>
                  <a:gd name="connsiteY142" fmla="*/ 1915673 h 3803775"/>
                  <a:gd name="connsiteX143" fmla="*/ 449326 w 1246517"/>
                  <a:gd name="connsiteY143" fmla="*/ 1858767 h 3803775"/>
                  <a:gd name="connsiteX144" fmla="*/ 458837 w 1246517"/>
                  <a:gd name="connsiteY144" fmla="*/ 1837262 h 3803775"/>
                  <a:gd name="connsiteX145" fmla="*/ 343856 w 1246517"/>
                  <a:gd name="connsiteY145" fmla="*/ 1771016 h 3803775"/>
                  <a:gd name="connsiteX146" fmla="*/ 367237 w 1246517"/>
                  <a:gd name="connsiteY146" fmla="*/ 1773332 h 3803775"/>
                  <a:gd name="connsiteX147" fmla="*/ 399711 w 1246517"/>
                  <a:gd name="connsiteY147" fmla="*/ 1830238 h 3803775"/>
                  <a:gd name="connsiteX148" fmla="*/ 367237 w 1246517"/>
                  <a:gd name="connsiteY148" fmla="*/ 1849427 h 3803775"/>
                  <a:gd name="connsiteX149" fmla="*/ 334114 w 1246517"/>
                  <a:gd name="connsiteY149" fmla="*/ 1792521 h 3803775"/>
                  <a:gd name="connsiteX150" fmla="*/ 343856 w 1246517"/>
                  <a:gd name="connsiteY150" fmla="*/ 1771016 h 3803775"/>
                  <a:gd name="connsiteX151" fmla="*/ 1148940 w 1246517"/>
                  <a:gd name="connsiteY151" fmla="*/ 1736675 h 3803775"/>
                  <a:gd name="connsiteX152" fmla="*/ 1161738 w 1246517"/>
                  <a:gd name="connsiteY152" fmla="*/ 1736919 h 3803775"/>
                  <a:gd name="connsiteX153" fmla="*/ 1228909 w 1246517"/>
                  <a:gd name="connsiteY153" fmla="*/ 1775334 h 3803775"/>
                  <a:gd name="connsiteX154" fmla="*/ 1246517 w 1246517"/>
                  <a:gd name="connsiteY154" fmla="*/ 1810494 h 3803775"/>
                  <a:gd name="connsiteX155" fmla="*/ 1246517 w 1246517"/>
                  <a:gd name="connsiteY155" fmla="*/ 1880813 h 3803775"/>
                  <a:gd name="connsiteX156" fmla="*/ 1228909 w 1246517"/>
                  <a:gd name="connsiteY156" fmla="*/ 1895138 h 3803775"/>
                  <a:gd name="connsiteX157" fmla="*/ 1161738 w 1246517"/>
                  <a:gd name="connsiteY157" fmla="*/ 1856071 h 3803775"/>
                  <a:gd name="connsiteX158" fmla="*/ 1143478 w 1246517"/>
                  <a:gd name="connsiteY158" fmla="*/ 1821563 h 3803775"/>
                  <a:gd name="connsiteX159" fmla="*/ 1143478 w 1246517"/>
                  <a:gd name="connsiteY159" fmla="*/ 1750592 h 3803775"/>
                  <a:gd name="connsiteX160" fmla="*/ 1148940 w 1246517"/>
                  <a:gd name="connsiteY160" fmla="*/ 1736675 h 3803775"/>
                  <a:gd name="connsiteX161" fmla="*/ 8153 w 1246517"/>
                  <a:gd name="connsiteY161" fmla="*/ 1578441 h 3803775"/>
                  <a:gd name="connsiteX162" fmla="*/ 28048 w 1246517"/>
                  <a:gd name="connsiteY162" fmla="*/ 1578932 h 3803775"/>
                  <a:gd name="connsiteX163" fmla="*/ 226993 w 1246517"/>
                  <a:gd name="connsiteY163" fmla="*/ 1694872 h 3803775"/>
                  <a:gd name="connsiteX164" fmla="*/ 255694 w 1246517"/>
                  <a:gd name="connsiteY164" fmla="*/ 1749239 h 3803775"/>
                  <a:gd name="connsiteX165" fmla="*/ 226993 w 1246517"/>
                  <a:gd name="connsiteY165" fmla="*/ 1770199 h 3803775"/>
                  <a:gd name="connsiteX166" fmla="*/ 28048 w 1246517"/>
                  <a:gd name="connsiteY166" fmla="*/ 1654915 h 3803775"/>
                  <a:gd name="connsiteX167" fmla="*/ 0 w 1246517"/>
                  <a:gd name="connsiteY167" fmla="*/ 1600548 h 3803775"/>
                  <a:gd name="connsiteX168" fmla="*/ 8153 w 1246517"/>
                  <a:gd name="connsiteY168" fmla="*/ 1578441 h 3803775"/>
                  <a:gd name="connsiteX169" fmla="*/ 689261 w 1246517"/>
                  <a:gd name="connsiteY169" fmla="*/ 1494506 h 3803775"/>
                  <a:gd name="connsiteX170" fmla="*/ 712545 w 1246517"/>
                  <a:gd name="connsiteY170" fmla="*/ 1496822 h 3803775"/>
                  <a:gd name="connsiteX171" fmla="*/ 745340 w 1246517"/>
                  <a:gd name="connsiteY171" fmla="*/ 1553727 h 3803775"/>
                  <a:gd name="connsiteX172" fmla="*/ 712545 w 1246517"/>
                  <a:gd name="connsiteY172" fmla="*/ 1572916 h 3803775"/>
                  <a:gd name="connsiteX173" fmla="*/ 679750 w 1246517"/>
                  <a:gd name="connsiteY173" fmla="*/ 1516011 h 3803775"/>
                  <a:gd name="connsiteX174" fmla="*/ 689261 w 1246517"/>
                  <a:gd name="connsiteY174" fmla="*/ 1494506 h 3803775"/>
                  <a:gd name="connsiteX175" fmla="*/ 574049 w 1246517"/>
                  <a:gd name="connsiteY175" fmla="*/ 1428203 h 3803775"/>
                  <a:gd name="connsiteX176" fmla="*/ 597333 w 1246517"/>
                  <a:gd name="connsiteY176" fmla="*/ 1430504 h 3803775"/>
                  <a:gd name="connsiteX177" fmla="*/ 630128 w 1246517"/>
                  <a:gd name="connsiteY177" fmla="*/ 1487027 h 3803775"/>
                  <a:gd name="connsiteX178" fmla="*/ 597333 w 1246517"/>
                  <a:gd name="connsiteY178" fmla="*/ 1506745 h 3803775"/>
                  <a:gd name="connsiteX179" fmla="*/ 564538 w 1246517"/>
                  <a:gd name="connsiteY179" fmla="*/ 1449564 h 3803775"/>
                  <a:gd name="connsiteX180" fmla="*/ 574049 w 1246517"/>
                  <a:gd name="connsiteY180" fmla="*/ 1428203 h 3803775"/>
                  <a:gd name="connsiteX181" fmla="*/ 458837 w 1246517"/>
                  <a:gd name="connsiteY181" fmla="*/ 1362013 h 3803775"/>
                  <a:gd name="connsiteX182" fmla="*/ 482121 w 1246517"/>
                  <a:gd name="connsiteY182" fmla="*/ 1364329 h 3803775"/>
                  <a:gd name="connsiteX183" fmla="*/ 514916 w 1246517"/>
                  <a:gd name="connsiteY183" fmla="*/ 1421896 h 3803775"/>
                  <a:gd name="connsiteX184" fmla="*/ 482121 w 1246517"/>
                  <a:gd name="connsiteY184" fmla="*/ 1440424 h 3803775"/>
                  <a:gd name="connsiteX185" fmla="*/ 449326 w 1246517"/>
                  <a:gd name="connsiteY185" fmla="*/ 1383518 h 3803775"/>
                  <a:gd name="connsiteX186" fmla="*/ 458837 w 1246517"/>
                  <a:gd name="connsiteY186" fmla="*/ 1362013 h 3803775"/>
                  <a:gd name="connsiteX187" fmla="*/ 343856 w 1246517"/>
                  <a:gd name="connsiteY187" fmla="*/ 1295711 h 3803775"/>
                  <a:gd name="connsiteX188" fmla="*/ 367237 w 1246517"/>
                  <a:gd name="connsiteY188" fmla="*/ 1298011 h 3803775"/>
                  <a:gd name="connsiteX189" fmla="*/ 399711 w 1246517"/>
                  <a:gd name="connsiteY189" fmla="*/ 1354535 h 3803775"/>
                  <a:gd name="connsiteX190" fmla="*/ 367237 w 1246517"/>
                  <a:gd name="connsiteY190" fmla="*/ 1374252 h 3803775"/>
                  <a:gd name="connsiteX191" fmla="*/ 334114 w 1246517"/>
                  <a:gd name="connsiteY191" fmla="*/ 1317071 h 3803775"/>
                  <a:gd name="connsiteX192" fmla="*/ 343856 w 1246517"/>
                  <a:gd name="connsiteY192" fmla="*/ 1295711 h 3803775"/>
                  <a:gd name="connsiteX193" fmla="*/ 1148940 w 1246517"/>
                  <a:gd name="connsiteY193" fmla="*/ 1258545 h 3803775"/>
                  <a:gd name="connsiteX194" fmla="*/ 1161738 w 1246517"/>
                  <a:gd name="connsiteY194" fmla="*/ 1258789 h 3803775"/>
                  <a:gd name="connsiteX195" fmla="*/ 1228909 w 1246517"/>
                  <a:gd name="connsiteY195" fmla="*/ 1297855 h 3803775"/>
                  <a:gd name="connsiteX196" fmla="*/ 1246517 w 1246517"/>
                  <a:gd name="connsiteY196" fmla="*/ 1332364 h 3803775"/>
                  <a:gd name="connsiteX197" fmla="*/ 1246517 w 1246517"/>
                  <a:gd name="connsiteY197" fmla="*/ 1402683 h 3803775"/>
                  <a:gd name="connsiteX198" fmla="*/ 1228909 w 1246517"/>
                  <a:gd name="connsiteY198" fmla="*/ 1416357 h 3803775"/>
                  <a:gd name="connsiteX199" fmla="*/ 1161738 w 1246517"/>
                  <a:gd name="connsiteY199" fmla="*/ 1377941 h 3803775"/>
                  <a:gd name="connsiteX200" fmla="*/ 1143478 w 1246517"/>
                  <a:gd name="connsiteY200" fmla="*/ 1343433 h 3803775"/>
                  <a:gd name="connsiteX201" fmla="*/ 1143478 w 1246517"/>
                  <a:gd name="connsiteY201" fmla="*/ 1272462 h 3803775"/>
                  <a:gd name="connsiteX202" fmla="*/ 1148940 w 1246517"/>
                  <a:gd name="connsiteY202" fmla="*/ 1258545 h 3803775"/>
                  <a:gd name="connsiteX203" fmla="*/ 8153 w 1246517"/>
                  <a:gd name="connsiteY203" fmla="*/ 1102720 h 3803775"/>
                  <a:gd name="connsiteX204" fmla="*/ 28048 w 1246517"/>
                  <a:gd name="connsiteY204" fmla="*/ 1102964 h 3803775"/>
                  <a:gd name="connsiteX205" fmla="*/ 226993 w 1246517"/>
                  <a:gd name="connsiteY205" fmla="*/ 1217382 h 3803775"/>
                  <a:gd name="connsiteX206" fmla="*/ 255694 w 1246517"/>
                  <a:gd name="connsiteY206" fmla="*/ 1270690 h 3803775"/>
                  <a:gd name="connsiteX207" fmla="*/ 226993 w 1246517"/>
                  <a:gd name="connsiteY207" fmla="*/ 1292143 h 3803775"/>
                  <a:gd name="connsiteX208" fmla="*/ 28048 w 1246517"/>
                  <a:gd name="connsiteY208" fmla="*/ 1178376 h 3803775"/>
                  <a:gd name="connsiteX209" fmla="*/ 0 w 1246517"/>
                  <a:gd name="connsiteY209" fmla="*/ 1124417 h 3803775"/>
                  <a:gd name="connsiteX210" fmla="*/ 8153 w 1246517"/>
                  <a:gd name="connsiteY210" fmla="*/ 1102720 h 3803775"/>
                  <a:gd name="connsiteX211" fmla="*/ 689261 w 1246517"/>
                  <a:gd name="connsiteY211" fmla="*/ 1019201 h 3803775"/>
                  <a:gd name="connsiteX212" fmla="*/ 712545 w 1246517"/>
                  <a:gd name="connsiteY212" fmla="*/ 1021501 h 3803775"/>
                  <a:gd name="connsiteX213" fmla="*/ 745340 w 1246517"/>
                  <a:gd name="connsiteY213" fmla="*/ 1078025 h 3803775"/>
                  <a:gd name="connsiteX214" fmla="*/ 712545 w 1246517"/>
                  <a:gd name="connsiteY214" fmla="*/ 1097742 h 3803775"/>
                  <a:gd name="connsiteX215" fmla="*/ 679750 w 1246517"/>
                  <a:gd name="connsiteY215" fmla="*/ 1040561 h 3803775"/>
                  <a:gd name="connsiteX216" fmla="*/ 689261 w 1246517"/>
                  <a:gd name="connsiteY216" fmla="*/ 1019201 h 3803775"/>
                  <a:gd name="connsiteX217" fmla="*/ 574049 w 1246517"/>
                  <a:gd name="connsiteY217" fmla="*/ 952956 h 3803775"/>
                  <a:gd name="connsiteX218" fmla="*/ 597333 w 1246517"/>
                  <a:gd name="connsiteY218" fmla="*/ 955256 h 3803775"/>
                  <a:gd name="connsiteX219" fmla="*/ 630128 w 1246517"/>
                  <a:gd name="connsiteY219" fmla="*/ 1012437 h 3803775"/>
                  <a:gd name="connsiteX220" fmla="*/ 597333 w 1246517"/>
                  <a:gd name="connsiteY220" fmla="*/ 1031497 h 3803775"/>
                  <a:gd name="connsiteX221" fmla="*/ 564538 w 1246517"/>
                  <a:gd name="connsiteY221" fmla="*/ 974316 h 3803775"/>
                  <a:gd name="connsiteX222" fmla="*/ 574049 w 1246517"/>
                  <a:gd name="connsiteY222" fmla="*/ 952956 h 3803775"/>
                  <a:gd name="connsiteX223" fmla="*/ 458837 w 1246517"/>
                  <a:gd name="connsiteY223" fmla="*/ 886708 h 3803775"/>
                  <a:gd name="connsiteX224" fmla="*/ 482121 w 1246517"/>
                  <a:gd name="connsiteY224" fmla="*/ 889008 h 3803775"/>
                  <a:gd name="connsiteX225" fmla="*/ 514916 w 1246517"/>
                  <a:gd name="connsiteY225" fmla="*/ 946189 h 3803775"/>
                  <a:gd name="connsiteX226" fmla="*/ 482121 w 1246517"/>
                  <a:gd name="connsiteY226" fmla="*/ 964592 h 3803775"/>
                  <a:gd name="connsiteX227" fmla="*/ 449326 w 1246517"/>
                  <a:gd name="connsiteY227" fmla="*/ 908068 h 3803775"/>
                  <a:gd name="connsiteX228" fmla="*/ 458837 w 1246517"/>
                  <a:gd name="connsiteY228" fmla="*/ 886708 h 3803775"/>
                  <a:gd name="connsiteX229" fmla="*/ 343856 w 1246517"/>
                  <a:gd name="connsiteY229" fmla="*/ 820462 h 3803775"/>
                  <a:gd name="connsiteX230" fmla="*/ 367237 w 1246517"/>
                  <a:gd name="connsiteY230" fmla="*/ 822762 h 3803775"/>
                  <a:gd name="connsiteX231" fmla="*/ 399711 w 1246517"/>
                  <a:gd name="connsiteY231" fmla="*/ 879943 h 3803775"/>
                  <a:gd name="connsiteX232" fmla="*/ 367237 w 1246517"/>
                  <a:gd name="connsiteY232" fmla="*/ 899003 h 3803775"/>
                  <a:gd name="connsiteX233" fmla="*/ 334114 w 1246517"/>
                  <a:gd name="connsiteY233" fmla="*/ 841822 h 3803775"/>
                  <a:gd name="connsiteX234" fmla="*/ 343856 w 1246517"/>
                  <a:gd name="connsiteY234" fmla="*/ 820462 h 3803775"/>
                  <a:gd name="connsiteX235" fmla="*/ 1161738 w 1246517"/>
                  <a:gd name="connsiteY235" fmla="*/ 782888 h 3803775"/>
                  <a:gd name="connsiteX236" fmla="*/ 1228909 w 1246517"/>
                  <a:gd name="connsiteY236" fmla="*/ 821954 h 3803775"/>
                  <a:gd name="connsiteX237" fmla="*/ 1246517 w 1246517"/>
                  <a:gd name="connsiteY237" fmla="*/ 856462 h 3803775"/>
                  <a:gd name="connsiteX238" fmla="*/ 1246517 w 1246517"/>
                  <a:gd name="connsiteY238" fmla="*/ 927432 h 3803775"/>
                  <a:gd name="connsiteX239" fmla="*/ 1228909 w 1246517"/>
                  <a:gd name="connsiteY239" fmla="*/ 941105 h 3803775"/>
                  <a:gd name="connsiteX240" fmla="*/ 1161738 w 1246517"/>
                  <a:gd name="connsiteY240" fmla="*/ 902039 h 3803775"/>
                  <a:gd name="connsiteX241" fmla="*/ 1143478 w 1246517"/>
                  <a:gd name="connsiteY241" fmla="*/ 867531 h 3803775"/>
                  <a:gd name="connsiteX242" fmla="*/ 1143478 w 1246517"/>
                  <a:gd name="connsiteY242" fmla="*/ 797212 h 3803775"/>
                  <a:gd name="connsiteX243" fmla="*/ 1161738 w 1246517"/>
                  <a:gd name="connsiteY243" fmla="*/ 782888 h 3803775"/>
                  <a:gd name="connsiteX244" fmla="*/ 8153 w 1246517"/>
                  <a:gd name="connsiteY244" fmla="*/ 627557 h 3803775"/>
                  <a:gd name="connsiteX245" fmla="*/ 28048 w 1246517"/>
                  <a:gd name="connsiteY245" fmla="*/ 627804 h 3803775"/>
                  <a:gd name="connsiteX246" fmla="*/ 226993 w 1246517"/>
                  <a:gd name="connsiteY246" fmla="*/ 744105 h 3803775"/>
                  <a:gd name="connsiteX247" fmla="*/ 255694 w 1246517"/>
                  <a:gd name="connsiteY247" fmla="*/ 798642 h 3803775"/>
                  <a:gd name="connsiteX248" fmla="*/ 226993 w 1246517"/>
                  <a:gd name="connsiteY248" fmla="*/ 819669 h 3803775"/>
                  <a:gd name="connsiteX249" fmla="*/ 28048 w 1246517"/>
                  <a:gd name="connsiteY249" fmla="*/ 704024 h 3803775"/>
                  <a:gd name="connsiteX250" fmla="*/ 0 w 1246517"/>
                  <a:gd name="connsiteY250" fmla="*/ 649487 h 3803775"/>
                  <a:gd name="connsiteX251" fmla="*/ 8153 w 1246517"/>
                  <a:gd name="connsiteY251" fmla="*/ 627557 h 3803775"/>
                  <a:gd name="connsiteX252" fmla="*/ 689261 w 1246517"/>
                  <a:gd name="connsiteY252" fmla="*/ 541070 h 3803775"/>
                  <a:gd name="connsiteX253" fmla="*/ 712545 w 1246517"/>
                  <a:gd name="connsiteY253" fmla="*/ 543370 h 3803775"/>
                  <a:gd name="connsiteX254" fmla="*/ 745340 w 1246517"/>
                  <a:gd name="connsiteY254" fmla="*/ 600551 h 3803775"/>
                  <a:gd name="connsiteX255" fmla="*/ 712545 w 1246517"/>
                  <a:gd name="connsiteY255" fmla="*/ 619611 h 3803775"/>
                  <a:gd name="connsiteX256" fmla="*/ 679750 w 1246517"/>
                  <a:gd name="connsiteY256" fmla="*/ 562430 h 3803775"/>
                  <a:gd name="connsiteX257" fmla="*/ 689261 w 1246517"/>
                  <a:gd name="connsiteY257" fmla="*/ 541070 h 3803775"/>
                  <a:gd name="connsiteX258" fmla="*/ 574049 w 1246517"/>
                  <a:gd name="connsiteY258" fmla="*/ 474825 h 3803775"/>
                  <a:gd name="connsiteX259" fmla="*/ 597333 w 1246517"/>
                  <a:gd name="connsiteY259" fmla="*/ 477125 h 3803775"/>
                  <a:gd name="connsiteX260" fmla="*/ 630128 w 1246517"/>
                  <a:gd name="connsiteY260" fmla="*/ 534306 h 3803775"/>
                  <a:gd name="connsiteX261" fmla="*/ 597333 w 1246517"/>
                  <a:gd name="connsiteY261" fmla="*/ 553366 h 3803775"/>
                  <a:gd name="connsiteX262" fmla="*/ 564538 w 1246517"/>
                  <a:gd name="connsiteY262" fmla="*/ 496185 h 3803775"/>
                  <a:gd name="connsiteX263" fmla="*/ 574049 w 1246517"/>
                  <a:gd name="connsiteY263" fmla="*/ 474825 h 3803775"/>
                  <a:gd name="connsiteX264" fmla="*/ 458837 w 1246517"/>
                  <a:gd name="connsiteY264" fmla="*/ 408577 h 3803775"/>
                  <a:gd name="connsiteX265" fmla="*/ 482121 w 1246517"/>
                  <a:gd name="connsiteY265" fmla="*/ 410877 h 3803775"/>
                  <a:gd name="connsiteX266" fmla="*/ 514916 w 1246517"/>
                  <a:gd name="connsiteY266" fmla="*/ 468058 h 3803775"/>
                  <a:gd name="connsiteX267" fmla="*/ 482121 w 1246517"/>
                  <a:gd name="connsiteY267" fmla="*/ 487118 h 3803775"/>
                  <a:gd name="connsiteX268" fmla="*/ 449326 w 1246517"/>
                  <a:gd name="connsiteY268" fmla="*/ 429937 h 3803775"/>
                  <a:gd name="connsiteX269" fmla="*/ 458837 w 1246517"/>
                  <a:gd name="connsiteY269" fmla="*/ 408577 h 3803775"/>
                  <a:gd name="connsiteX270" fmla="*/ 343856 w 1246517"/>
                  <a:gd name="connsiteY270" fmla="*/ 342413 h 3803775"/>
                  <a:gd name="connsiteX271" fmla="*/ 367237 w 1246517"/>
                  <a:gd name="connsiteY271" fmla="*/ 345288 h 3803775"/>
                  <a:gd name="connsiteX272" fmla="*/ 399711 w 1246517"/>
                  <a:gd name="connsiteY272" fmla="*/ 401812 h 3803775"/>
                  <a:gd name="connsiteX273" fmla="*/ 367237 w 1246517"/>
                  <a:gd name="connsiteY273" fmla="*/ 420872 h 3803775"/>
                  <a:gd name="connsiteX274" fmla="*/ 334114 w 1246517"/>
                  <a:gd name="connsiteY274" fmla="*/ 363691 h 3803775"/>
                  <a:gd name="connsiteX275" fmla="*/ 343856 w 1246517"/>
                  <a:gd name="connsiteY275" fmla="*/ 342413 h 3803775"/>
                  <a:gd name="connsiteX276" fmla="*/ 8153 w 1246517"/>
                  <a:gd name="connsiteY276" fmla="*/ 149592 h 3803775"/>
                  <a:gd name="connsiteX277" fmla="*/ 28048 w 1246517"/>
                  <a:gd name="connsiteY277" fmla="*/ 150331 h 3803775"/>
                  <a:gd name="connsiteX278" fmla="*/ 226993 w 1246517"/>
                  <a:gd name="connsiteY278" fmla="*/ 265975 h 3803775"/>
                  <a:gd name="connsiteX279" fmla="*/ 255694 w 1246517"/>
                  <a:gd name="connsiteY279" fmla="*/ 320512 h 3803775"/>
                  <a:gd name="connsiteX280" fmla="*/ 226993 w 1246517"/>
                  <a:gd name="connsiteY280" fmla="*/ 342196 h 3803775"/>
                  <a:gd name="connsiteX281" fmla="*/ 28048 w 1246517"/>
                  <a:gd name="connsiteY281" fmla="*/ 226551 h 3803775"/>
                  <a:gd name="connsiteX282" fmla="*/ 0 w 1246517"/>
                  <a:gd name="connsiteY282" fmla="*/ 172014 h 3803775"/>
                  <a:gd name="connsiteX283" fmla="*/ 8153 w 1246517"/>
                  <a:gd name="connsiteY283" fmla="*/ 149592 h 3803775"/>
                  <a:gd name="connsiteX284" fmla="*/ 633666 w 1246517"/>
                  <a:gd name="connsiteY284" fmla="*/ 0 h 3803775"/>
                  <a:gd name="connsiteX285" fmla="*/ 684846 w 1246517"/>
                  <a:gd name="connsiteY285" fmla="*/ 0 h 3803775"/>
                  <a:gd name="connsiteX286" fmla="*/ 684846 w 1246517"/>
                  <a:gd name="connsiteY286" fmla="*/ 77174 h 3803775"/>
                  <a:gd name="connsiteX287" fmla="*/ 633666 w 1246517"/>
                  <a:gd name="connsiteY287" fmla="*/ 80472 h 380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246517" h="3803775">
                    <a:moveTo>
                      <a:pt x="1161738" y="3643048"/>
                    </a:moveTo>
                    <a:lnTo>
                      <a:pt x="1228909" y="3682265"/>
                    </a:lnTo>
                    <a:cubicBezTo>
                      <a:pt x="1238691" y="3688147"/>
                      <a:pt x="1246517" y="3703180"/>
                      <a:pt x="1246517" y="3716906"/>
                    </a:cubicBezTo>
                    <a:lnTo>
                      <a:pt x="1246517" y="3788150"/>
                    </a:lnTo>
                    <a:cubicBezTo>
                      <a:pt x="1246517" y="3801222"/>
                      <a:pt x="1238691" y="3807104"/>
                      <a:pt x="1228909" y="3801876"/>
                    </a:cubicBezTo>
                    <a:lnTo>
                      <a:pt x="1161738" y="3762659"/>
                    </a:lnTo>
                    <a:cubicBezTo>
                      <a:pt x="1151956" y="3756776"/>
                      <a:pt x="1143478" y="3741743"/>
                      <a:pt x="1143478" y="3728017"/>
                    </a:cubicBezTo>
                    <a:lnTo>
                      <a:pt x="1143478" y="3656774"/>
                    </a:lnTo>
                    <a:cubicBezTo>
                      <a:pt x="1143478" y="3643702"/>
                      <a:pt x="1151956" y="3637819"/>
                      <a:pt x="1161738" y="3643048"/>
                    </a:cubicBezTo>
                    <a:close/>
                    <a:moveTo>
                      <a:pt x="847678" y="3502076"/>
                    </a:moveTo>
                    <a:cubicBezTo>
                      <a:pt x="853581" y="3498602"/>
                      <a:pt x="861780" y="3499098"/>
                      <a:pt x="870963" y="3504392"/>
                    </a:cubicBezTo>
                    <a:cubicBezTo>
                      <a:pt x="888673" y="3514979"/>
                      <a:pt x="903759" y="3540123"/>
                      <a:pt x="903759" y="3561959"/>
                    </a:cubicBezTo>
                    <a:cubicBezTo>
                      <a:pt x="903759" y="3582471"/>
                      <a:pt x="888673" y="3591073"/>
                      <a:pt x="870963" y="3580486"/>
                    </a:cubicBezTo>
                    <a:cubicBezTo>
                      <a:pt x="852597" y="3570561"/>
                      <a:pt x="838167" y="3544093"/>
                      <a:pt x="838167" y="3523581"/>
                    </a:cubicBezTo>
                    <a:cubicBezTo>
                      <a:pt x="838167" y="3512994"/>
                      <a:pt x="841775" y="3505550"/>
                      <a:pt x="847678" y="3502076"/>
                    </a:cubicBezTo>
                    <a:close/>
                    <a:moveTo>
                      <a:pt x="732712" y="3432949"/>
                    </a:moveTo>
                    <a:cubicBezTo>
                      <a:pt x="738697" y="3429475"/>
                      <a:pt x="746896" y="3429972"/>
                      <a:pt x="755751" y="3435265"/>
                    </a:cubicBezTo>
                    <a:cubicBezTo>
                      <a:pt x="774117" y="3445852"/>
                      <a:pt x="788547" y="3471658"/>
                      <a:pt x="788547" y="3492170"/>
                    </a:cubicBezTo>
                    <a:cubicBezTo>
                      <a:pt x="788547" y="3513344"/>
                      <a:pt x="774117" y="3521946"/>
                      <a:pt x="755751" y="3511359"/>
                    </a:cubicBezTo>
                    <a:cubicBezTo>
                      <a:pt x="738041" y="3500772"/>
                      <a:pt x="722955" y="3475628"/>
                      <a:pt x="722955" y="3454454"/>
                    </a:cubicBezTo>
                    <a:cubicBezTo>
                      <a:pt x="722955" y="3443867"/>
                      <a:pt x="726727" y="3436423"/>
                      <a:pt x="732712" y="3432949"/>
                    </a:cubicBezTo>
                    <a:close/>
                    <a:moveTo>
                      <a:pt x="617254" y="3366648"/>
                    </a:moveTo>
                    <a:cubicBezTo>
                      <a:pt x="623157" y="3363197"/>
                      <a:pt x="631356" y="3363690"/>
                      <a:pt x="640539" y="3368948"/>
                    </a:cubicBezTo>
                    <a:cubicBezTo>
                      <a:pt x="658249" y="3379464"/>
                      <a:pt x="673335" y="3404439"/>
                      <a:pt x="673335" y="3425471"/>
                    </a:cubicBezTo>
                    <a:cubicBezTo>
                      <a:pt x="673335" y="3447161"/>
                      <a:pt x="658249" y="3455705"/>
                      <a:pt x="640539" y="3444532"/>
                    </a:cubicBezTo>
                    <a:cubicBezTo>
                      <a:pt x="622173" y="3434016"/>
                      <a:pt x="607743" y="3409040"/>
                      <a:pt x="607743" y="3388008"/>
                    </a:cubicBezTo>
                    <a:cubicBezTo>
                      <a:pt x="607743" y="3377492"/>
                      <a:pt x="611351" y="3370098"/>
                      <a:pt x="617254" y="3366648"/>
                    </a:cubicBezTo>
                    <a:close/>
                    <a:moveTo>
                      <a:pt x="1161738" y="3164898"/>
                    </a:moveTo>
                    <a:lnTo>
                      <a:pt x="1228909" y="3203964"/>
                    </a:lnTo>
                    <a:cubicBezTo>
                      <a:pt x="1238691" y="3209824"/>
                      <a:pt x="1246517" y="3225451"/>
                      <a:pt x="1246517" y="3238473"/>
                    </a:cubicBezTo>
                    <a:lnTo>
                      <a:pt x="1246517" y="3309444"/>
                    </a:lnTo>
                    <a:cubicBezTo>
                      <a:pt x="1246517" y="3322466"/>
                      <a:pt x="1238691" y="3328977"/>
                      <a:pt x="1228909" y="3323117"/>
                    </a:cubicBezTo>
                    <a:lnTo>
                      <a:pt x="1161738" y="3284702"/>
                    </a:lnTo>
                    <a:cubicBezTo>
                      <a:pt x="1151956" y="3278191"/>
                      <a:pt x="1143478" y="3263215"/>
                      <a:pt x="1143478" y="3249542"/>
                    </a:cubicBezTo>
                    <a:lnTo>
                      <a:pt x="1143478" y="3179222"/>
                    </a:lnTo>
                    <a:cubicBezTo>
                      <a:pt x="1143478" y="3165549"/>
                      <a:pt x="1151956" y="3159689"/>
                      <a:pt x="1161738" y="3164898"/>
                    </a:cubicBezTo>
                    <a:close/>
                    <a:moveTo>
                      <a:pt x="8153" y="3009898"/>
                    </a:moveTo>
                    <a:cubicBezTo>
                      <a:pt x="13209" y="3006038"/>
                      <a:pt x="20221" y="3005874"/>
                      <a:pt x="28048" y="3010473"/>
                    </a:cubicBezTo>
                    <a:lnTo>
                      <a:pt x="226993" y="3126116"/>
                    </a:lnTo>
                    <a:cubicBezTo>
                      <a:pt x="242648" y="3135315"/>
                      <a:pt x="255694" y="3159627"/>
                      <a:pt x="255694" y="3180653"/>
                    </a:cubicBezTo>
                    <a:cubicBezTo>
                      <a:pt x="255694" y="3201679"/>
                      <a:pt x="242648" y="3210878"/>
                      <a:pt x="226993" y="3201679"/>
                    </a:cubicBezTo>
                    <a:lnTo>
                      <a:pt x="28048" y="3086036"/>
                    </a:lnTo>
                    <a:cubicBezTo>
                      <a:pt x="12393" y="3077494"/>
                      <a:pt x="0" y="3053182"/>
                      <a:pt x="0" y="3031499"/>
                    </a:cubicBezTo>
                    <a:cubicBezTo>
                      <a:pt x="0" y="3021315"/>
                      <a:pt x="3098" y="3013759"/>
                      <a:pt x="8153" y="3009898"/>
                    </a:cubicBezTo>
                    <a:close/>
                    <a:moveTo>
                      <a:pt x="689261" y="2925960"/>
                    </a:moveTo>
                    <a:cubicBezTo>
                      <a:pt x="695164" y="2922510"/>
                      <a:pt x="703363" y="2923003"/>
                      <a:pt x="712545" y="2928261"/>
                    </a:cubicBezTo>
                    <a:cubicBezTo>
                      <a:pt x="730254" y="2938777"/>
                      <a:pt x="745340" y="2964409"/>
                      <a:pt x="745340" y="2985441"/>
                    </a:cubicBezTo>
                    <a:cubicBezTo>
                      <a:pt x="745340" y="3006473"/>
                      <a:pt x="730254" y="3015018"/>
                      <a:pt x="712545" y="3004502"/>
                    </a:cubicBezTo>
                    <a:cubicBezTo>
                      <a:pt x="694180" y="2993986"/>
                      <a:pt x="679750" y="2968353"/>
                      <a:pt x="679750" y="2947321"/>
                    </a:cubicBezTo>
                    <a:cubicBezTo>
                      <a:pt x="679750" y="2936805"/>
                      <a:pt x="683358" y="2929411"/>
                      <a:pt x="689261" y="2925960"/>
                    </a:cubicBezTo>
                    <a:close/>
                    <a:moveTo>
                      <a:pt x="574049" y="2859687"/>
                    </a:moveTo>
                    <a:cubicBezTo>
                      <a:pt x="579952" y="2856296"/>
                      <a:pt x="588151" y="2856792"/>
                      <a:pt x="597333" y="2862086"/>
                    </a:cubicBezTo>
                    <a:cubicBezTo>
                      <a:pt x="615042" y="2872011"/>
                      <a:pt x="630128" y="2897817"/>
                      <a:pt x="630128" y="2918991"/>
                    </a:cubicBezTo>
                    <a:cubicBezTo>
                      <a:pt x="630128" y="2940165"/>
                      <a:pt x="615042" y="2948767"/>
                      <a:pt x="597333" y="2938180"/>
                    </a:cubicBezTo>
                    <a:cubicBezTo>
                      <a:pt x="578968" y="2927593"/>
                      <a:pt x="564538" y="2901787"/>
                      <a:pt x="564538" y="2880613"/>
                    </a:cubicBezTo>
                    <a:cubicBezTo>
                      <a:pt x="564538" y="2870357"/>
                      <a:pt x="568146" y="2863078"/>
                      <a:pt x="574049" y="2859687"/>
                    </a:cubicBezTo>
                    <a:close/>
                    <a:moveTo>
                      <a:pt x="458837" y="2790588"/>
                    </a:moveTo>
                    <a:cubicBezTo>
                      <a:pt x="464740" y="2787137"/>
                      <a:pt x="472939" y="2787630"/>
                      <a:pt x="482121" y="2792888"/>
                    </a:cubicBezTo>
                    <a:cubicBezTo>
                      <a:pt x="499830" y="2803404"/>
                      <a:pt x="514916" y="2829037"/>
                      <a:pt x="514916" y="2850069"/>
                    </a:cubicBezTo>
                    <a:cubicBezTo>
                      <a:pt x="514916" y="2871101"/>
                      <a:pt x="499830" y="2879645"/>
                      <a:pt x="482121" y="2869129"/>
                    </a:cubicBezTo>
                    <a:cubicBezTo>
                      <a:pt x="463756" y="2858613"/>
                      <a:pt x="449326" y="2832980"/>
                      <a:pt x="449326" y="2811948"/>
                    </a:cubicBezTo>
                    <a:cubicBezTo>
                      <a:pt x="449326" y="2801432"/>
                      <a:pt x="452934" y="2794038"/>
                      <a:pt x="458837" y="2790588"/>
                    </a:cubicBezTo>
                    <a:close/>
                    <a:moveTo>
                      <a:pt x="343856" y="2724752"/>
                    </a:moveTo>
                    <a:cubicBezTo>
                      <a:pt x="349864" y="2721219"/>
                      <a:pt x="358145" y="2721712"/>
                      <a:pt x="367237" y="2727298"/>
                    </a:cubicBezTo>
                    <a:cubicBezTo>
                      <a:pt x="384773" y="2737157"/>
                      <a:pt x="399711" y="2762790"/>
                      <a:pt x="399711" y="2783822"/>
                    </a:cubicBezTo>
                    <a:cubicBezTo>
                      <a:pt x="399711" y="2804854"/>
                      <a:pt x="384773" y="2813398"/>
                      <a:pt x="367237" y="2802882"/>
                    </a:cubicBezTo>
                    <a:cubicBezTo>
                      <a:pt x="349052" y="2792366"/>
                      <a:pt x="334114" y="2766733"/>
                      <a:pt x="334114" y="2746359"/>
                    </a:cubicBezTo>
                    <a:cubicBezTo>
                      <a:pt x="334114" y="2735843"/>
                      <a:pt x="337849" y="2728284"/>
                      <a:pt x="343856" y="2724752"/>
                    </a:cubicBezTo>
                    <a:close/>
                    <a:moveTo>
                      <a:pt x="1161738" y="2689648"/>
                    </a:moveTo>
                    <a:lnTo>
                      <a:pt x="1228909" y="2728714"/>
                    </a:lnTo>
                    <a:cubicBezTo>
                      <a:pt x="1238691" y="2734573"/>
                      <a:pt x="1246517" y="2750200"/>
                      <a:pt x="1246517" y="2763222"/>
                    </a:cubicBezTo>
                    <a:lnTo>
                      <a:pt x="1246517" y="2834192"/>
                    </a:lnTo>
                    <a:cubicBezTo>
                      <a:pt x="1246517" y="2847214"/>
                      <a:pt x="1238691" y="2853725"/>
                      <a:pt x="1228909" y="2847865"/>
                    </a:cubicBezTo>
                    <a:lnTo>
                      <a:pt x="1161738" y="2809450"/>
                    </a:lnTo>
                    <a:cubicBezTo>
                      <a:pt x="1151956" y="2803590"/>
                      <a:pt x="1143478" y="2787964"/>
                      <a:pt x="1143478" y="2774291"/>
                    </a:cubicBezTo>
                    <a:lnTo>
                      <a:pt x="1143478" y="2703972"/>
                    </a:lnTo>
                    <a:cubicBezTo>
                      <a:pt x="1143478" y="2690299"/>
                      <a:pt x="1151956" y="2684439"/>
                      <a:pt x="1161738" y="2689648"/>
                    </a:cubicBezTo>
                    <a:close/>
                    <a:moveTo>
                      <a:pt x="8153" y="2531603"/>
                    </a:moveTo>
                    <a:cubicBezTo>
                      <a:pt x="13209" y="2527743"/>
                      <a:pt x="20221" y="2527743"/>
                      <a:pt x="28048" y="2532343"/>
                    </a:cubicBezTo>
                    <a:lnTo>
                      <a:pt x="226993" y="2647986"/>
                    </a:lnTo>
                    <a:cubicBezTo>
                      <a:pt x="242648" y="2657185"/>
                      <a:pt x="255694" y="2681497"/>
                      <a:pt x="255694" y="2702523"/>
                    </a:cubicBezTo>
                    <a:cubicBezTo>
                      <a:pt x="255694" y="2723549"/>
                      <a:pt x="242648" y="2732748"/>
                      <a:pt x="226993" y="2724206"/>
                    </a:cubicBezTo>
                    <a:lnTo>
                      <a:pt x="28048" y="2608562"/>
                    </a:lnTo>
                    <a:cubicBezTo>
                      <a:pt x="12393" y="2598706"/>
                      <a:pt x="0" y="2575052"/>
                      <a:pt x="0" y="2554026"/>
                    </a:cubicBezTo>
                    <a:cubicBezTo>
                      <a:pt x="0" y="2543184"/>
                      <a:pt x="3098" y="2535464"/>
                      <a:pt x="8153" y="2531603"/>
                    </a:cubicBezTo>
                    <a:close/>
                    <a:moveTo>
                      <a:pt x="689261" y="2448241"/>
                    </a:moveTo>
                    <a:cubicBezTo>
                      <a:pt x="695164" y="2444708"/>
                      <a:pt x="703363" y="2445201"/>
                      <a:pt x="712545" y="2450788"/>
                    </a:cubicBezTo>
                    <a:cubicBezTo>
                      <a:pt x="730254" y="2460647"/>
                      <a:pt x="745340" y="2486279"/>
                      <a:pt x="745340" y="2507311"/>
                    </a:cubicBezTo>
                    <a:cubicBezTo>
                      <a:pt x="745340" y="2528343"/>
                      <a:pt x="730254" y="2536888"/>
                      <a:pt x="712545" y="2526372"/>
                    </a:cubicBezTo>
                    <a:cubicBezTo>
                      <a:pt x="694180" y="2515856"/>
                      <a:pt x="679750" y="2490223"/>
                      <a:pt x="679750" y="2469848"/>
                    </a:cubicBezTo>
                    <a:cubicBezTo>
                      <a:pt x="679750" y="2459332"/>
                      <a:pt x="683358" y="2451774"/>
                      <a:pt x="689261" y="2448241"/>
                    </a:cubicBezTo>
                    <a:close/>
                    <a:moveTo>
                      <a:pt x="574049" y="2381913"/>
                    </a:moveTo>
                    <a:cubicBezTo>
                      <a:pt x="579952" y="2378462"/>
                      <a:pt x="588151" y="2378955"/>
                      <a:pt x="597333" y="2384542"/>
                    </a:cubicBezTo>
                    <a:cubicBezTo>
                      <a:pt x="615042" y="2394401"/>
                      <a:pt x="630128" y="2420033"/>
                      <a:pt x="630128" y="2441065"/>
                    </a:cubicBezTo>
                    <a:cubicBezTo>
                      <a:pt x="630128" y="2462097"/>
                      <a:pt x="615042" y="2470642"/>
                      <a:pt x="597333" y="2460126"/>
                    </a:cubicBezTo>
                    <a:cubicBezTo>
                      <a:pt x="578968" y="2449610"/>
                      <a:pt x="564538" y="2424634"/>
                      <a:pt x="564538" y="2402945"/>
                    </a:cubicBezTo>
                    <a:cubicBezTo>
                      <a:pt x="564538" y="2392758"/>
                      <a:pt x="568146" y="2385364"/>
                      <a:pt x="574049" y="2381913"/>
                    </a:cubicBezTo>
                    <a:close/>
                    <a:moveTo>
                      <a:pt x="458837" y="2315446"/>
                    </a:moveTo>
                    <a:cubicBezTo>
                      <a:pt x="464740" y="2312019"/>
                      <a:pt x="472939" y="2312671"/>
                      <a:pt x="482121" y="2318221"/>
                    </a:cubicBezTo>
                    <a:cubicBezTo>
                      <a:pt x="499830" y="2328667"/>
                      <a:pt x="514916" y="2353476"/>
                      <a:pt x="514916" y="2374368"/>
                    </a:cubicBezTo>
                    <a:cubicBezTo>
                      <a:pt x="514916" y="2395259"/>
                      <a:pt x="499830" y="2404399"/>
                      <a:pt x="482121" y="2393301"/>
                    </a:cubicBezTo>
                    <a:cubicBezTo>
                      <a:pt x="463756" y="2382855"/>
                      <a:pt x="449326" y="2357393"/>
                      <a:pt x="449326" y="2337154"/>
                    </a:cubicBezTo>
                    <a:cubicBezTo>
                      <a:pt x="449326" y="2326382"/>
                      <a:pt x="452934" y="2318874"/>
                      <a:pt x="458837" y="2315446"/>
                    </a:cubicBezTo>
                    <a:close/>
                    <a:moveTo>
                      <a:pt x="343856" y="2249065"/>
                    </a:moveTo>
                    <a:cubicBezTo>
                      <a:pt x="349864" y="2245673"/>
                      <a:pt x="358145" y="2246170"/>
                      <a:pt x="367237" y="2251463"/>
                    </a:cubicBezTo>
                    <a:cubicBezTo>
                      <a:pt x="384773" y="2261389"/>
                      <a:pt x="399711" y="2287194"/>
                      <a:pt x="399711" y="2308369"/>
                    </a:cubicBezTo>
                    <a:cubicBezTo>
                      <a:pt x="399711" y="2329543"/>
                      <a:pt x="384773" y="2338145"/>
                      <a:pt x="367237" y="2327558"/>
                    </a:cubicBezTo>
                    <a:cubicBezTo>
                      <a:pt x="349052" y="2317632"/>
                      <a:pt x="334114" y="2291826"/>
                      <a:pt x="334114" y="2269991"/>
                    </a:cubicBezTo>
                    <a:cubicBezTo>
                      <a:pt x="334114" y="2259734"/>
                      <a:pt x="337849" y="2252456"/>
                      <a:pt x="343856" y="2249065"/>
                    </a:cubicBezTo>
                    <a:close/>
                    <a:moveTo>
                      <a:pt x="1148940" y="2211925"/>
                    </a:moveTo>
                    <a:cubicBezTo>
                      <a:pt x="1152282" y="2209402"/>
                      <a:pt x="1156847" y="2209239"/>
                      <a:pt x="1161738" y="2212169"/>
                    </a:cubicBezTo>
                    <a:lnTo>
                      <a:pt x="1228909" y="2250584"/>
                    </a:lnTo>
                    <a:cubicBezTo>
                      <a:pt x="1238691" y="2256443"/>
                      <a:pt x="1246517" y="2272070"/>
                      <a:pt x="1246517" y="2285092"/>
                    </a:cubicBezTo>
                    <a:lnTo>
                      <a:pt x="1246517" y="2356062"/>
                    </a:lnTo>
                    <a:cubicBezTo>
                      <a:pt x="1246517" y="2369084"/>
                      <a:pt x="1238691" y="2375595"/>
                      <a:pt x="1228909" y="2369735"/>
                    </a:cubicBezTo>
                    <a:lnTo>
                      <a:pt x="1161738" y="2331320"/>
                    </a:lnTo>
                    <a:cubicBezTo>
                      <a:pt x="1151956" y="2325460"/>
                      <a:pt x="1143478" y="2309834"/>
                      <a:pt x="1143478" y="2296812"/>
                    </a:cubicBezTo>
                    <a:lnTo>
                      <a:pt x="1143478" y="2225842"/>
                    </a:lnTo>
                    <a:cubicBezTo>
                      <a:pt x="1143478" y="2219331"/>
                      <a:pt x="1145598" y="2214448"/>
                      <a:pt x="1148940" y="2211925"/>
                    </a:cubicBezTo>
                    <a:close/>
                    <a:moveTo>
                      <a:pt x="8153" y="2056571"/>
                    </a:moveTo>
                    <a:cubicBezTo>
                      <a:pt x="13209" y="2052641"/>
                      <a:pt x="20221" y="2052477"/>
                      <a:pt x="28048" y="2057062"/>
                    </a:cubicBezTo>
                    <a:lnTo>
                      <a:pt x="226993" y="2172346"/>
                    </a:lnTo>
                    <a:cubicBezTo>
                      <a:pt x="242648" y="2181517"/>
                      <a:pt x="255694" y="2205753"/>
                      <a:pt x="255694" y="2226714"/>
                    </a:cubicBezTo>
                    <a:cubicBezTo>
                      <a:pt x="255694" y="2247674"/>
                      <a:pt x="242648" y="2257500"/>
                      <a:pt x="226993" y="2248329"/>
                    </a:cubicBezTo>
                    <a:lnTo>
                      <a:pt x="28048" y="2133045"/>
                    </a:lnTo>
                    <a:cubicBezTo>
                      <a:pt x="12393" y="2123875"/>
                      <a:pt x="0" y="2099639"/>
                      <a:pt x="0" y="2078678"/>
                    </a:cubicBezTo>
                    <a:cubicBezTo>
                      <a:pt x="0" y="2068197"/>
                      <a:pt x="3098" y="2060501"/>
                      <a:pt x="8153" y="2056571"/>
                    </a:cubicBezTo>
                    <a:close/>
                    <a:moveTo>
                      <a:pt x="689261" y="1972554"/>
                    </a:moveTo>
                    <a:cubicBezTo>
                      <a:pt x="695164" y="1969163"/>
                      <a:pt x="703363" y="1969659"/>
                      <a:pt x="712545" y="1974953"/>
                    </a:cubicBezTo>
                    <a:cubicBezTo>
                      <a:pt x="730254" y="1984878"/>
                      <a:pt x="745340" y="2010684"/>
                      <a:pt x="745340" y="2031858"/>
                    </a:cubicBezTo>
                    <a:cubicBezTo>
                      <a:pt x="745340" y="2053032"/>
                      <a:pt x="730254" y="2061634"/>
                      <a:pt x="712545" y="2051047"/>
                    </a:cubicBezTo>
                    <a:cubicBezTo>
                      <a:pt x="694180" y="2041122"/>
                      <a:pt x="679750" y="2015316"/>
                      <a:pt x="679750" y="1993480"/>
                    </a:cubicBezTo>
                    <a:cubicBezTo>
                      <a:pt x="679750" y="1983224"/>
                      <a:pt x="683358" y="1975945"/>
                      <a:pt x="689261" y="1972554"/>
                    </a:cubicBezTo>
                    <a:close/>
                    <a:moveTo>
                      <a:pt x="574049" y="1903618"/>
                    </a:moveTo>
                    <a:cubicBezTo>
                      <a:pt x="579952" y="1900167"/>
                      <a:pt x="588151" y="1900824"/>
                      <a:pt x="597333" y="1906411"/>
                    </a:cubicBezTo>
                    <a:cubicBezTo>
                      <a:pt x="615042" y="1916927"/>
                      <a:pt x="630128" y="1942560"/>
                      <a:pt x="630128" y="1962934"/>
                    </a:cubicBezTo>
                    <a:cubicBezTo>
                      <a:pt x="630128" y="1983966"/>
                      <a:pt x="615042" y="1992511"/>
                      <a:pt x="597333" y="1981995"/>
                    </a:cubicBezTo>
                    <a:cubicBezTo>
                      <a:pt x="578968" y="1971479"/>
                      <a:pt x="564538" y="1946503"/>
                      <a:pt x="564538" y="1925471"/>
                    </a:cubicBezTo>
                    <a:cubicBezTo>
                      <a:pt x="564538" y="1914627"/>
                      <a:pt x="568146" y="1907068"/>
                      <a:pt x="574049" y="1903618"/>
                    </a:cubicBezTo>
                    <a:close/>
                    <a:moveTo>
                      <a:pt x="458837" y="1837262"/>
                    </a:moveTo>
                    <a:cubicBezTo>
                      <a:pt x="464740" y="1833789"/>
                      <a:pt x="472939" y="1834285"/>
                      <a:pt x="482121" y="1839578"/>
                    </a:cubicBezTo>
                    <a:cubicBezTo>
                      <a:pt x="499830" y="1850165"/>
                      <a:pt x="514916" y="1875309"/>
                      <a:pt x="514916" y="1897145"/>
                    </a:cubicBezTo>
                    <a:cubicBezTo>
                      <a:pt x="514916" y="1917658"/>
                      <a:pt x="499830" y="1926260"/>
                      <a:pt x="482121" y="1915673"/>
                    </a:cubicBezTo>
                    <a:cubicBezTo>
                      <a:pt x="463756" y="1905747"/>
                      <a:pt x="449326" y="1879280"/>
                      <a:pt x="449326" y="1858767"/>
                    </a:cubicBezTo>
                    <a:cubicBezTo>
                      <a:pt x="449326" y="1848180"/>
                      <a:pt x="452934" y="1840736"/>
                      <a:pt x="458837" y="1837262"/>
                    </a:cubicBezTo>
                    <a:close/>
                    <a:moveTo>
                      <a:pt x="343856" y="1771016"/>
                    </a:moveTo>
                    <a:cubicBezTo>
                      <a:pt x="349864" y="1767543"/>
                      <a:pt x="358145" y="1768039"/>
                      <a:pt x="367237" y="1773332"/>
                    </a:cubicBezTo>
                    <a:cubicBezTo>
                      <a:pt x="384773" y="1783919"/>
                      <a:pt x="399711" y="1809725"/>
                      <a:pt x="399711" y="1830238"/>
                    </a:cubicBezTo>
                    <a:cubicBezTo>
                      <a:pt x="399711" y="1851412"/>
                      <a:pt x="384773" y="1860014"/>
                      <a:pt x="367237" y="1849427"/>
                    </a:cubicBezTo>
                    <a:cubicBezTo>
                      <a:pt x="349052" y="1838840"/>
                      <a:pt x="334114" y="1813695"/>
                      <a:pt x="334114" y="1792521"/>
                    </a:cubicBezTo>
                    <a:cubicBezTo>
                      <a:pt x="334114" y="1781934"/>
                      <a:pt x="337849" y="1774490"/>
                      <a:pt x="343856" y="1771016"/>
                    </a:cubicBezTo>
                    <a:close/>
                    <a:moveTo>
                      <a:pt x="1148940" y="1736675"/>
                    </a:moveTo>
                    <a:cubicBezTo>
                      <a:pt x="1152282" y="1734152"/>
                      <a:pt x="1156847" y="1733989"/>
                      <a:pt x="1161738" y="1736919"/>
                    </a:cubicBezTo>
                    <a:lnTo>
                      <a:pt x="1228909" y="1775334"/>
                    </a:lnTo>
                    <a:cubicBezTo>
                      <a:pt x="1238691" y="1781194"/>
                      <a:pt x="1246517" y="1796821"/>
                      <a:pt x="1246517" y="1810494"/>
                    </a:cubicBezTo>
                    <a:lnTo>
                      <a:pt x="1246517" y="1880813"/>
                    </a:lnTo>
                    <a:cubicBezTo>
                      <a:pt x="1246517" y="1894487"/>
                      <a:pt x="1238691" y="1900347"/>
                      <a:pt x="1228909" y="1895138"/>
                    </a:cubicBezTo>
                    <a:lnTo>
                      <a:pt x="1161738" y="1856071"/>
                    </a:lnTo>
                    <a:cubicBezTo>
                      <a:pt x="1151956" y="1850211"/>
                      <a:pt x="1143478" y="1834585"/>
                      <a:pt x="1143478" y="1821563"/>
                    </a:cubicBezTo>
                    <a:lnTo>
                      <a:pt x="1143478" y="1750592"/>
                    </a:lnTo>
                    <a:cubicBezTo>
                      <a:pt x="1143478" y="1744081"/>
                      <a:pt x="1145598" y="1739198"/>
                      <a:pt x="1148940" y="1736675"/>
                    </a:cubicBezTo>
                    <a:close/>
                    <a:moveTo>
                      <a:pt x="8153" y="1578441"/>
                    </a:moveTo>
                    <a:cubicBezTo>
                      <a:pt x="13209" y="1574511"/>
                      <a:pt x="20221" y="1574347"/>
                      <a:pt x="28048" y="1578932"/>
                    </a:cubicBezTo>
                    <a:lnTo>
                      <a:pt x="226993" y="1694872"/>
                    </a:lnTo>
                    <a:cubicBezTo>
                      <a:pt x="242648" y="1703387"/>
                      <a:pt x="255694" y="1727623"/>
                      <a:pt x="255694" y="1749239"/>
                    </a:cubicBezTo>
                    <a:cubicBezTo>
                      <a:pt x="255694" y="1769544"/>
                      <a:pt x="242648" y="1779370"/>
                      <a:pt x="226993" y="1770199"/>
                    </a:cubicBezTo>
                    <a:lnTo>
                      <a:pt x="28048" y="1654915"/>
                    </a:lnTo>
                    <a:cubicBezTo>
                      <a:pt x="12393" y="1645745"/>
                      <a:pt x="0" y="1621509"/>
                      <a:pt x="0" y="1600548"/>
                    </a:cubicBezTo>
                    <a:cubicBezTo>
                      <a:pt x="0" y="1590068"/>
                      <a:pt x="3098" y="1582371"/>
                      <a:pt x="8153" y="1578441"/>
                    </a:cubicBezTo>
                    <a:close/>
                    <a:moveTo>
                      <a:pt x="689261" y="1494506"/>
                    </a:moveTo>
                    <a:cubicBezTo>
                      <a:pt x="695164" y="1491032"/>
                      <a:pt x="703363" y="1491528"/>
                      <a:pt x="712545" y="1496822"/>
                    </a:cubicBezTo>
                    <a:cubicBezTo>
                      <a:pt x="730254" y="1507409"/>
                      <a:pt x="745340" y="1533215"/>
                      <a:pt x="745340" y="1553727"/>
                    </a:cubicBezTo>
                    <a:cubicBezTo>
                      <a:pt x="745340" y="1574901"/>
                      <a:pt x="730254" y="1583503"/>
                      <a:pt x="712545" y="1572916"/>
                    </a:cubicBezTo>
                    <a:cubicBezTo>
                      <a:pt x="694180" y="1562329"/>
                      <a:pt x="679750" y="1537185"/>
                      <a:pt x="679750" y="1516011"/>
                    </a:cubicBezTo>
                    <a:cubicBezTo>
                      <a:pt x="679750" y="1505424"/>
                      <a:pt x="683358" y="1497980"/>
                      <a:pt x="689261" y="1494506"/>
                    </a:cubicBezTo>
                    <a:close/>
                    <a:moveTo>
                      <a:pt x="574049" y="1428203"/>
                    </a:moveTo>
                    <a:cubicBezTo>
                      <a:pt x="579952" y="1424753"/>
                      <a:pt x="588151" y="1425246"/>
                      <a:pt x="597333" y="1430504"/>
                    </a:cubicBezTo>
                    <a:cubicBezTo>
                      <a:pt x="615042" y="1441020"/>
                      <a:pt x="630128" y="1466652"/>
                      <a:pt x="630128" y="1487027"/>
                    </a:cubicBezTo>
                    <a:cubicBezTo>
                      <a:pt x="630128" y="1508716"/>
                      <a:pt x="615042" y="1517261"/>
                      <a:pt x="597333" y="1506745"/>
                    </a:cubicBezTo>
                    <a:cubicBezTo>
                      <a:pt x="578968" y="1495571"/>
                      <a:pt x="564538" y="1470596"/>
                      <a:pt x="564538" y="1449564"/>
                    </a:cubicBezTo>
                    <a:cubicBezTo>
                      <a:pt x="564538" y="1439048"/>
                      <a:pt x="568146" y="1431654"/>
                      <a:pt x="574049" y="1428203"/>
                    </a:cubicBezTo>
                    <a:close/>
                    <a:moveTo>
                      <a:pt x="458837" y="1362013"/>
                    </a:moveTo>
                    <a:cubicBezTo>
                      <a:pt x="464740" y="1358540"/>
                      <a:pt x="472939" y="1359036"/>
                      <a:pt x="482121" y="1364329"/>
                    </a:cubicBezTo>
                    <a:cubicBezTo>
                      <a:pt x="499830" y="1374916"/>
                      <a:pt x="514916" y="1400722"/>
                      <a:pt x="514916" y="1421896"/>
                    </a:cubicBezTo>
                    <a:cubicBezTo>
                      <a:pt x="514916" y="1442409"/>
                      <a:pt x="499830" y="1451011"/>
                      <a:pt x="482121" y="1440424"/>
                    </a:cubicBezTo>
                    <a:cubicBezTo>
                      <a:pt x="463756" y="1430498"/>
                      <a:pt x="449326" y="1404692"/>
                      <a:pt x="449326" y="1383518"/>
                    </a:cubicBezTo>
                    <a:cubicBezTo>
                      <a:pt x="449326" y="1372931"/>
                      <a:pt x="452934" y="1365487"/>
                      <a:pt x="458837" y="1362013"/>
                    </a:cubicBezTo>
                    <a:close/>
                    <a:moveTo>
                      <a:pt x="343856" y="1295711"/>
                    </a:moveTo>
                    <a:cubicBezTo>
                      <a:pt x="349864" y="1292260"/>
                      <a:pt x="358145" y="1292753"/>
                      <a:pt x="367237" y="1298011"/>
                    </a:cubicBezTo>
                    <a:cubicBezTo>
                      <a:pt x="384773" y="1308527"/>
                      <a:pt x="399711" y="1334160"/>
                      <a:pt x="399711" y="1354535"/>
                    </a:cubicBezTo>
                    <a:cubicBezTo>
                      <a:pt x="399711" y="1376224"/>
                      <a:pt x="384773" y="1384768"/>
                      <a:pt x="367237" y="1374252"/>
                    </a:cubicBezTo>
                    <a:cubicBezTo>
                      <a:pt x="349052" y="1363079"/>
                      <a:pt x="334114" y="1338103"/>
                      <a:pt x="334114" y="1317071"/>
                    </a:cubicBezTo>
                    <a:cubicBezTo>
                      <a:pt x="334114" y="1306555"/>
                      <a:pt x="337849" y="1299161"/>
                      <a:pt x="343856" y="1295711"/>
                    </a:cubicBezTo>
                    <a:close/>
                    <a:moveTo>
                      <a:pt x="1148940" y="1258545"/>
                    </a:moveTo>
                    <a:cubicBezTo>
                      <a:pt x="1152282" y="1256022"/>
                      <a:pt x="1156847" y="1255859"/>
                      <a:pt x="1161738" y="1258789"/>
                    </a:cubicBezTo>
                    <a:lnTo>
                      <a:pt x="1228909" y="1297855"/>
                    </a:lnTo>
                    <a:cubicBezTo>
                      <a:pt x="1238691" y="1303715"/>
                      <a:pt x="1246517" y="1318691"/>
                      <a:pt x="1246517" y="1332364"/>
                    </a:cubicBezTo>
                    <a:lnTo>
                      <a:pt x="1246517" y="1402683"/>
                    </a:lnTo>
                    <a:cubicBezTo>
                      <a:pt x="1246517" y="1416357"/>
                      <a:pt x="1238691" y="1422217"/>
                      <a:pt x="1228909" y="1416357"/>
                    </a:cubicBezTo>
                    <a:lnTo>
                      <a:pt x="1161738" y="1377941"/>
                    </a:lnTo>
                    <a:cubicBezTo>
                      <a:pt x="1151956" y="1372081"/>
                      <a:pt x="1143478" y="1356455"/>
                      <a:pt x="1143478" y="1343433"/>
                    </a:cubicBezTo>
                    <a:lnTo>
                      <a:pt x="1143478" y="1272462"/>
                    </a:lnTo>
                    <a:cubicBezTo>
                      <a:pt x="1143478" y="1265951"/>
                      <a:pt x="1145598" y="1261068"/>
                      <a:pt x="1148940" y="1258545"/>
                    </a:cubicBezTo>
                    <a:close/>
                    <a:moveTo>
                      <a:pt x="8153" y="1102720"/>
                    </a:moveTo>
                    <a:cubicBezTo>
                      <a:pt x="13209" y="1098901"/>
                      <a:pt x="20221" y="1098739"/>
                      <a:pt x="28048" y="1102964"/>
                    </a:cubicBezTo>
                    <a:lnTo>
                      <a:pt x="226993" y="1217382"/>
                    </a:lnTo>
                    <a:cubicBezTo>
                      <a:pt x="242648" y="1226483"/>
                      <a:pt x="255694" y="1250537"/>
                      <a:pt x="255694" y="1270690"/>
                    </a:cubicBezTo>
                    <a:cubicBezTo>
                      <a:pt x="255694" y="1292143"/>
                      <a:pt x="242648" y="1301245"/>
                      <a:pt x="226993" y="1292143"/>
                    </a:cubicBezTo>
                    <a:lnTo>
                      <a:pt x="28048" y="1178376"/>
                    </a:lnTo>
                    <a:cubicBezTo>
                      <a:pt x="12393" y="1169274"/>
                      <a:pt x="0" y="1145221"/>
                      <a:pt x="0" y="1124417"/>
                    </a:cubicBezTo>
                    <a:cubicBezTo>
                      <a:pt x="0" y="1114016"/>
                      <a:pt x="3098" y="1106540"/>
                      <a:pt x="8153" y="1102720"/>
                    </a:cubicBezTo>
                    <a:close/>
                    <a:moveTo>
                      <a:pt x="689261" y="1019201"/>
                    </a:moveTo>
                    <a:cubicBezTo>
                      <a:pt x="695164" y="1015750"/>
                      <a:pt x="703362" y="1016243"/>
                      <a:pt x="712545" y="1021501"/>
                    </a:cubicBezTo>
                    <a:cubicBezTo>
                      <a:pt x="730254" y="1032017"/>
                      <a:pt x="745340" y="1057650"/>
                      <a:pt x="745340" y="1078025"/>
                    </a:cubicBezTo>
                    <a:cubicBezTo>
                      <a:pt x="745340" y="1099714"/>
                      <a:pt x="730254" y="1108258"/>
                      <a:pt x="712545" y="1097742"/>
                    </a:cubicBezTo>
                    <a:cubicBezTo>
                      <a:pt x="694180" y="1086569"/>
                      <a:pt x="679750" y="1061593"/>
                      <a:pt x="679750" y="1040561"/>
                    </a:cubicBezTo>
                    <a:cubicBezTo>
                      <a:pt x="679750" y="1030045"/>
                      <a:pt x="683357" y="1022651"/>
                      <a:pt x="689261" y="1019201"/>
                    </a:cubicBezTo>
                    <a:close/>
                    <a:moveTo>
                      <a:pt x="574049" y="952956"/>
                    </a:moveTo>
                    <a:cubicBezTo>
                      <a:pt x="579952" y="949505"/>
                      <a:pt x="588151" y="949998"/>
                      <a:pt x="597333" y="955256"/>
                    </a:cubicBezTo>
                    <a:cubicBezTo>
                      <a:pt x="615042" y="965772"/>
                      <a:pt x="630128" y="990748"/>
                      <a:pt x="630128" y="1012437"/>
                    </a:cubicBezTo>
                    <a:cubicBezTo>
                      <a:pt x="630128" y="1032812"/>
                      <a:pt x="615042" y="1042013"/>
                      <a:pt x="597333" y="1031497"/>
                    </a:cubicBezTo>
                    <a:cubicBezTo>
                      <a:pt x="578968" y="1020981"/>
                      <a:pt x="564538" y="995348"/>
                      <a:pt x="564538" y="974316"/>
                    </a:cubicBezTo>
                    <a:cubicBezTo>
                      <a:pt x="564538" y="963800"/>
                      <a:pt x="568146" y="956406"/>
                      <a:pt x="574049" y="952956"/>
                    </a:cubicBezTo>
                    <a:close/>
                    <a:moveTo>
                      <a:pt x="458837" y="886708"/>
                    </a:moveTo>
                    <a:cubicBezTo>
                      <a:pt x="464740" y="883257"/>
                      <a:pt x="472939" y="883750"/>
                      <a:pt x="482121" y="889008"/>
                    </a:cubicBezTo>
                    <a:cubicBezTo>
                      <a:pt x="499830" y="899524"/>
                      <a:pt x="514916" y="925157"/>
                      <a:pt x="514916" y="946189"/>
                    </a:cubicBezTo>
                    <a:cubicBezTo>
                      <a:pt x="514916" y="967221"/>
                      <a:pt x="499830" y="975765"/>
                      <a:pt x="482121" y="964592"/>
                    </a:cubicBezTo>
                    <a:cubicBezTo>
                      <a:pt x="463756" y="954076"/>
                      <a:pt x="449326" y="929100"/>
                      <a:pt x="449326" y="908068"/>
                    </a:cubicBezTo>
                    <a:cubicBezTo>
                      <a:pt x="449326" y="897552"/>
                      <a:pt x="452934" y="890158"/>
                      <a:pt x="458837" y="886708"/>
                    </a:cubicBezTo>
                    <a:close/>
                    <a:moveTo>
                      <a:pt x="343856" y="820462"/>
                    </a:moveTo>
                    <a:cubicBezTo>
                      <a:pt x="349864" y="817011"/>
                      <a:pt x="358145" y="817504"/>
                      <a:pt x="367237" y="822762"/>
                    </a:cubicBezTo>
                    <a:cubicBezTo>
                      <a:pt x="384773" y="833278"/>
                      <a:pt x="399711" y="858911"/>
                      <a:pt x="399711" y="879943"/>
                    </a:cubicBezTo>
                    <a:cubicBezTo>
                      <a:pt x="399711" y="900975"/>
                      <a:pt x="384773" y="909519"/>
                      <a:pt x="367237" y="899003"/>
                    </a:cubicBezTo>
                    <a:cubicBezTo>
                      <a:pt x="349052" y="888487"/>
                      <a:pt x="334114" y="862854"/>
                      <a:pt x="334114" y="841822"/>
                    </a:cubicBezTo>
                    <a:cubicBezTo>
                      <a:pt x="334114" y="831306"/>
                      <a:pt x="337849" y="823912"/>
                      <a:pt x="343856" y="820462"/>
                    </a:cubicBezTo>
                    <a:close/>
                    <a:moveTo>
                      <a:pt x="1161738" y="782888"/>
                    </a:moveTo>
                    <a:lnTo>
                      <a:pt x="1228909" y="821954"/>
                    </a:lnTo>
                    <a:cubicBezTo>
                      <a:pt x="1238691" y="827162"/>
                      <a:pt x="1246517" y="843440"/>
                      <a:pt x="1246517" y="856462"/>
                    </a:cubicBezTo>
                    <a:lnTo>
                      <a:pt x="1246517" y="927432"/>
                    </a:lnTo>
                    <a:cubicBezTo>
                      <a:pt x="1246517" y="940454"/>
                      <a:pt x="1238691" y="946965"/>
                      <a:pt x="1228909" y="941105"/>
                    </a:cubicBezTo>
                    <a:lnTo>
                      <a:pt x="1161738" y="902039"/>
                    </a:lnTo>
                    <a:cubicBezTo>
                      <a:pt x="1151956" y="896179"/>
                      <a:pt x="1143478" y="881204"/>
                      <a:pt x="1143478" y="867531"/>
                    </a:cubicBezTo>
                    <a:lnTo>
                      <a:pt x="1143478" y="797212"/>
                    </a:lnTo>
                    <a:cubicBezTo>
                      <a:pt x="1143478" y="783539"/>
                      <a:pt x="1151956" y="777679"/>
                      <a:pt x="1161738" y="782888"/>
                    </a:cubicBezTo>
                    <a:close/>
                    <a:moveTo>
                      <a:pt x="8153" y="627557"/>
                    </a:moveTo>
                    <a:cubicBezTo>
                      <a:pt x="13209" y="623697"/>
                      <a:pt x="20221" y="623533"/>
                      <a:pt x="28048" y="627804"/>
                    </a:cubicBezTo>
                    <a:lnTo>
                      <a:pt x="226993" y="744105"/>
                    </a:lnTo>
                    <a:cubicBezTo>
                      <a:pt x="242648" y="753304"/>
                      <a:pt x="255694" y="777616"/>
                      <a:pt x="255694" y="798642"/>
                    </a:cubicBezTo>
                    <a:cubicBezTo>
                      <a:pt x="255694" y="819669"/>
                      <a:pt x="242648" y="828868"/>
                      <a:pt x="226993" y="819669"/>
                    </a:cubicBezTo>
                    <a:lnTo>
                      <a:pt x="28048" y="704024"/>
                    </a:lnTo>
                    <a:cubicBezTo>
                      <a:pt x="12393" y="694825"/>
                      <a:pt x="0" y="671170"/>
                      <a:pt x="0" y="649487"/>
                    </a:cubicBezTo>
                    <a:cubicBezTo>
                      <a:pt x="0" y="638974"/>
                      <a:pt x="3098" y="631418"/>
                      <a:pt x="8153" y="627557"/>
                    </a:cubicBezTo>
                    <a:close/>
                    <a:moveTo>
                      <a:pt x="689261" y="541070"/>
                    </a:moveTo>
                    <a:cubicBezTo>
                      <a:pt x="695164" y="537619"/>
                      <a:pt x="703362" y="538112"/>
                      <a:pt x="712545" y="543370"/>
                    </a:cubicBezTo>
                    <a:cubicBezTo>
                      <a:pt x="730254" y="553886"/>
                      <a:pt x="745340" y="579519"/>
                      <a:pt x="745340" y="600551"/>
                    </a:cubicBezTo>
                    <a:cubicBezTo>
                      <a:pt x="745340" y="621583"/>
                      <a:pt x="730254" y="630127"/>
                      <a:pt x="712545" y="619611"/>
                    </a:cubicBezTo>
                    <a:cubicBezTo>
                      <a:pt x="694180" y="609095"/>
                      <a:pt x="679750" y="583462"/>
                      <a:pt x="679750" y="562430"/>
                    </a:cubicBezTo>
                    <a:cubicBezTo>
                      <a:pt x="679750" y="551914"/>
                      <a:pt x="683357" y="544520"/>
                      <a:pt x="689261" y="541070"/>
                    </a:cubicBezTo>
                    <a:close/>
                    <a:moveTo>
                      <a:pt x="574049" y="474825"/>
                    </a:moveTo>
                    <a:cubicBezTo>
                      <a:pt x="579952" y="471374"/>
                      <a:pt x="588151" y="471867"/>
                      <a:pt x="597333" y="477125"/>
                    </a:cubicBezTo>
                    <a:cubicBezTo>
                      <a:pt x="615042" y="487641"/>
                      <a:pt x="630128" y="513274"/>
                      <a:pt x="630128" y="534306"/>
                    </a:cubicBezTo>
                    <a:cubicBezTo>
                      <a:pt x="630128" y="554681"/>
                      <a:pt x="615042" y="563882"/>
                      <a:pt x="597333" y="553366"/>
                    </a:cubicBezTo>
                    <a:cubicBezTo>
                      <a:pt x="578968" y="542850"/>
                      <a:pt x="564538" y="517217"/>
                      <a:pt x="564538" y="496185"/>
                    </a:cubicBezTo>
                    <a:cubicBezTo>
                      <a:pt x="564538" y="485669"/>
                      <a:pt x="568146" y="478275"/>
                      <a:pt x="574049" y="474825"/>
                    </a:cubicBezTo>
                    <a:close/>
                    <a:moveTo>
                      <a:pt x="458837" y="408577"/>
                    </a:moveTo>
                    <a:cubicBezTo>
                      <a:pt x="464740" y="405126"/>
                      <a:pt x="472939" y="405619"/>
                      <a:pt x="482121" y="410877"/>
                    </a:cubicBezTo>
                    <a:cubicBezTo>
                      <a:pt x="499830" y="421393"/>
                      <a:pt x="514916" y="447026"/>
                      <a:pt x="514916" y="468058"/>
                    </a:cubicBezTo>
                    <a:cubicBezTo>
                      <a:pt x="514916" y="489090"/>
                      <a:pt x="499830" y="497634"/>
                      <a:pt x="482121" y="487118"/>
                    </a:cubicBezTo>
                    <a:cubicBezTo>
                      <a:pt x="463756" y="476602"/>
                      <a:pt x="449326" y="450969"/>
                      <a:pt x="449326" y="429937"/>
                    </a:cubicBezTo>
                    <a:cubicBezTo>
                      <a:pt x="449326" y="419421"/>
                      <a:pt x="452934" y="412027"/>
                      <a:pt x="458837" y="408577"/>
                    </a:cubicBezTo>
                    <a:close/>
                    <a:moveTo>
                      <a:pt x="343856" y="342413"/>
                    </a:moveTo>
                    <a:cubicBezTo>
                      <a:pt x="349864" y="339045"/>
                      <a:pt x="358145" y="339702"/>
                      <a:pt x="367237" y="345288"/>
                    </a:cubicBezTo>
                    <a:cubicBezTo>
                      <a:pt x="384773" y="355147"/>
                      <a:pt x="399711" y="380780"/>
                      <a:pt x="399711" y="401812"/>
                    </a:cubicBezTo>
                    <a:cubicBezTo>
                      <a:pt x="399711" y="422844"/>
                      <a:pt x="384773" y="431388"/>
                      <a:pt x="367237" y="420872"/>
                    </a:cubicBezTo>
                    <a:cubicBezTo>
                      <a:pt x="349052" y="410356"/>
                      <a:pt x="334114" y="384723"/>
                      <a:pt x="334114" y="363691"/>
                    </a:cubicBezTo>
                    <a:cubicBezTo>
                      <a:pt x="334114" y="353175"/>
                      <a:pt x="337849" y="345781"/>
                      <a:pt x="343856" y="342413"/>
                    </a:cubicBezTo>
                    <a:close/>
                    <a:moveTo>
                      <a:pt x="8153" y="149592"/>
                    </a:moveTo>
                    <a:cubicBezTo>
                      <a:pt x="13209" y="145731"/>
                      <a:pt x="20221" y="145731"/>
                      <a:pt x="28048" y="150331"/>
                    </a:cubicBezTo>
                    <a:lnTo>
                      <a:pt x="226993" y="265975"/>
                    </a:lnTo>
                    <a:cubicBezTo>
                      <a:pt x="242648" y="275174"/>
                      <a:pt x="255694" y="299486"/>
                      <a:pt x="255694" y="320512"/>
                    </a:cubicBezTo>
                    <a:cubicBezTo>
                      <a:pt x="255694" y="341539"/>
                      <a:pt x="242648" y="350738"/>
                      <a:pt x="226993" y="342196"/>
                    </a:cubicBezTo>
                    <a:lnTo>
                      <a:pt x="28048" y="226551"/>
                    </a:lnTo>
                    <a:cubicBezTo>
                      <a:pt x="12393" y="216695"/>
                      <a:pt x="0" y="192383"/>
                      <a:pt x="0" y="172014"/>
                    </a:cubicBezTo>
                    <a:cubicBezTo>
                      <a:pt x="0" y="161173"/>
                      <a:pt x="3098" y="153452"/>
                      <a:pt x="8153" y="149592"/>
                    </a:cubicBezTo>
                    <a:close/>
                    <a:moveTo>
                      <a:pt x="633666" y="0"/>
                    </a:moveTo>
                    <a:lnTo>
                      <a:pt x="684846" y="0"/>
                    </a:lnTo>
                    <a:lnTo>
                      <a:pt x="684846" y="77174"/>
                    </a:lnTo>
                    <a:cubicBezTo>
                      <a:pt x="669559" y="84430"/>
                      <a:pt x="648289" y="85749"/>
                      <a:pt x="633666" y="80472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id="{60AF1079-F29D-D342-8868-F71788A0B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83392" y="8830262"/>
                <a:ext cx="2567585" cy="910308"/>
              </a:xfrm>
              <a:custGeom>
                <a:avLst/>
                <a:gdLst>
                  <a:gd name="connsiteX0" fmla="*/ 2527516 w 2567585"/>
                  <a:gd name="connsiteY0" fmla="*/ 833676 h 910308"/>
                  <a:gd name="connsiteX1" fmla="*/ 2547049 w 2567585"/>
                  <a:gd name="connsiteY1" fmla="*/ 838637 h 910308"/>
                  <a:gd name="connsiteX2" fmla="*/ 2566913 w 2567585"/>
                  <a:gd name="connsiteY2" fmla="*/ 892209 h 910308"/>
                  <a:gd name="connsiteX3" fmla="*/ 2536455 w 2567585"/>
                  <a:gd name="connsiteY3" fmla="*/ 904115 h 910308"/>
                  <a:gd name="connsiteX4" fmla="*/ 2515929 w 2567585"/>
                  <a:gd name="connsiteY4" fmla="*/ 850542 h 910308"/>
                  <a:gd name="connsiteX5" fmla="*/ 2527516 w 2567585"/>
                  <a:gd name="connsiteY5" fmla="*/ 833676 h 910308"/>
                  <a:gd name="connsiteX6" fmla="*/ 40788 w 2567585"/>
                  <a:gd name="connsiteY6" fmla="*/ 0 h 910308"/>
                  <a:gd name="connsiteX7" fmla="*/ 68773 w 2567585"/>
                  <a:gd name="connsiteY7" fmla="*/ 6398 h 910308"/>
                  <a:gd name="connsiteX8" fmla="*/ 68773 w 2567585"/>
                  <a:gd name="connsiteY8" fmla="*/ 39212 h 910308"/>
                  <a:gd name="connsiteX9" fmla="*/ 12311 w 2567585"/>
                  <a:gd name="connsiteY9" fmla="*/ 39212 h 910308"/>
                  <a:gd name="connsiteX10" fmla="*/ 12311 w 2567585"/>
                  <a:gd name="connsiteY10" fmla="*/ 6398 h 910308"/>
                  <a:gd name="connsiteX11" fmla="*/ 40788 w 2567585"/>
                  <a:gd name="connsiteY11" fmla="*/ 0 h 910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67585" h="910308">
                    <a:moveTo>
                      <a:pt x="2527516" y="833676"/>
                    </a:moveTo>
                    <a:cubicBezTo>
                      <a:pt x="2533144" y="831527"/>
                      <a:pt x="2540097" y="833015"/>
                      <a:pt x="2547049" y="838637"/>
                    </a:cubicBezTo>
                    <a:cubicBezTo>
                      <a:pt x="2560954" y="850542"/>
                      <a:pt x="2570224" y="874352"/>
                      <a:pt x="2566913" y="892209"/>
                    </a:cubicBezTo>
                    <a:cubicBezTo>
                      <a:pt x="2564265" y="910067"/>
                      <a:pt x="2550360" y="916020"/>
                      <a:pt x="2536455" y="904115"/>
                    </a:cubicBezTo>
                    <a:cubicBezTo>
                      <a:pt x="2522550" y="892209"/>
                      <a:pt x="2513280" y="869061"/>
                      <a:pt x="2515929" y="850542"/>
                    </a:cubicBezTo>
                    <a:cubicBezTo>
                      <a:pt x="2517584" y="841613"/>
                      <a:pt x="2521888" y="835826"/>
                      <a:pt x="2527516" y="833676"/>
                    </a:cubicBezTo>
                    <a:close/>
                    <a:moveTo>
                      <a:pt x="40788" y="0"/>
                    </a:moveTo>
                    <a:cubicBezTo>
                      <a:pt x="51047" y="0"/>
                      <a:pt x="61223" y="2133"/>
                      <a:pt x="68773" y="6398"/>
                    </a:cubicBezTo>
                    <a:cubicBezTo>
                      <a:pt x="84530" y="16242"/>
                      <a:pt x="84530" y="30680"/>
                      <a:pt x="68773" y="39212"/>
                    </a:cubicBezTo>
                    <a:cubicBezTo>
                      <a:pt x="53016" y="49056"/>
                      <a:pt x="27411" y="49056"/>
                      <a:pt x="12311" y="39212"/>
                    </a:cubicBezTo>
                    <a:cubicBezTo>
                      <a:pt x="-4103" y="30024"/>
                      <a:pt x="-4103" y="15586"/>
                      <a:pt x="12311" y="6398"/>
                    </a:cubicBezTo>
                    <a:cubicBezTo>
                      <a:pt x="20190" y="2133"/>
                      <a:pt x="30530" y="0"/>
                      <a:pt x="40788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18E58412-3F1F-E84C-B615-D987029F474F}"/>
                </a:ext>
              </a:extLst>
            </p:cNvPr>
            <p:cNvGrpSpPr/>
            <p:nvPr/>
          </p:nvGrpSpPr>
          <p:grpSpPr>
            <a:xfrm>
              <a:off x="8901173" y="2045864"/>
              <a:ext cx="983921" cy="723627"/>
              <a:chOff x="6067960" y="798756"/>
              <a:chExt cx="10409636" cy="12249016"/>
            </a:xfrm>
          </p:grpSpPr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id="{4AC33326-5F36-A845-BF40-BBB618E4F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7960" y="798756"/>
                <a:ext cx="9562175" cy="12231080"/>
              </a:xfrm>
              <a:custGeom>
                <a:avLst/>
                <a:gdLst>
                  <a:gd name="connsiteX0" fmla="*/ 3600848 w 9562175"/>
                  <a:gd name="connsiteY0" fmla="*/ 0 h 12231080"/>
                  <a:gd name="connsiteX1" fmla="*/ 4496122 w 9562175"/>
                  <a:gd name="connsiteY1" fmla="*/ 627521 h 12231080"/>
                  <a:gd name="connsiteX2" fmla="*/ 5998308 w 9562175"/>
                  <a:gd name="connsiteY2" fmla="*/ 1595633 h 12231080"/>
                  <a:gd name="connsiteX3" fmla="*/ 8062832 w 9562175"/>
                  <a:gd name="connsiteY3" fmla="*/ 1176249 h 12231080"/>
                  <a:gd name="connsiteX4" fmla="*/ 8116388 w 9562175"/>
                  <a:gd name="connsiteY4" fmla="*/ 3999583 h 12231080"/>
                  <a:gd name="connsiteX5" fmla="*/ 8937365 w 9562175"/>
                  <a:gd name="connsiteY5" fmla="*/ 8352169 h 12231080"/>
                  <a:gd name="connsiteX6" fmla="*/ 8559246 w 9562175"/>
                  <a:gd name="connsiteY6" fmla="*/ 8559315 h 12231080"/>
                  <a:gd name="connsiteX7" fmla="*/ 8508054 w 9562175"/>
                  <a:gd name="connsiteY7" fmla="*/ 8582243 h 12231080"/>
                  <a:gd name="connsiteX8" fmla="*/ 8593241 w 9562175"/>
                  <a:gd name="connsiteY8" fmla="*/ 8631261 h 12231080"/>
                  <a:gd name="connsiteX9" fmla="*/ 8591281 w 9562175"/>
                  <a:gd name="connsiteY9" fmla="*/ 8822646 h 12231080"/>
                  <a:gd name="connsiteX10" fmla="*/ 6429098 w 9562175"/>
                  <a:gd name="connsiteY10" fmla="*/ 10120278 h 12231080"/>
                  <a:gd name="connsiteX11" fmla="*/ 6498497 w 9562175"/>
                  <a:gd name="connsiteY11" fmla="*/ 10129969 h 12231080"/>
                  <a:gd name="connsiteX12" fmla="*/ 7420314 w 9562175"/>
                  <a:gd name="connsiteY12" fmla="*/ 10546695 h 12231080"/>
                  <a:gd name="connsiteX13" fmla="*/ 7447440 w 9562175"/>
                  <a:gd name="connsiteY13" fmla="*/ 10580981 h 12231080"/>
                  <a:gd name="connsiteX14" fmla="*/ 7527912 w 9562175"/>
                  <a:gd name="connsiteY14" fmla="*/ 10564954 h 12231080"/>
                  <a:gd name="connsiteX15" fmla="*/ 7994178 w 9562175"/>
                  <a:gd name="connsiteY15" fmla="*/ 10526594 h 12231080"/>
                  <a:gd name="connsiteX16" fmla="*/ 9562175 w 9562175"/>
                  <a:gd name="connsiteY16" fmla="*/ 11379490 h 12231080"/>
                  <a:gd name="connsiteX17" fmla="*/ 7994178 w 9562175"/>
                  <a:gd name="connsiteY17" fmla="*/ 12231080 h 12231080"/>
                  <a:gd name="connsiteX18" fmla="*/ 6693976 w 9562175"/>
                  <a:gd name="connsiteY18" fmla="*/ 11855571 h 12231080"/>
                  <a:gd name="connsiteX19" fmla="*/ 6580039 w 9562175"/>
                  <a:gd name="connsiteY19" fmla="*/ 11741570 h 12231080"/>
                  <a:gd name="connsiteX20" fmla="*/ 6498497 w 9562175"/>
                  <a:gd name="connsiteY20" fmla="*/ 11757799 h 12231080"/>
                  <a:gd name="connsiteX21" fmla="*/ 6032037 w 9562175"/>
                  <a:gd name="connsiteY21" fmla="*/ 11796155 h 12231080"/>
                  <a:gd name="connsiteX22" fmla="*/ 4587855 w 9562175"/>
                  <a:gd name="connsiteY22" fmla="*/ 11275442 h 12231080"/>
                  <a:gd name="connsiteX23" fmla="*/ 4563810 w 9562175"/>
                  <a:gd name="connsiteY23" fmla="*/ 11239729 h 12231080"/>
                  <a:gd name="connsiteX24" fmla="*/ 3250582 w 9562175"/>
                  <a:gd name="connsiteY24" fmla="*/ 12027861 h 12231080"/>
                  <a:gd name="connsiteX25" fmla="*/ 2978190 w 9562175"/>
                  <a:gd name="connsiteY25" fmla="*/ 12023942 h 12231080"/>
                  <a:gd name="connsiteX26" fmla="*/ 234027 w 9562175"/>
                  <a:gd name="connsiteY26" fmla="*/ 10500044 h 12231080"/>
                  <a:gd name="connsiteX27" fmla="*/ 236640 w 9562175"/>
                  <a:gd name="connsiteY27" fmla="*/ 10309312 h 12231080"/>
                  <a:gd name="connsiteX28" fmla="*/ 1618263 w 9562175"/>
                  <a:gd name="connsiteY28" fmla="*/ 9455658 h 12231080"/>
                  <a:gd name="connsiteX29" fmla="*/ 1409994 w 9562175"/>
                  <a:gd name="connsiteY29" fmla="*/ 9246116 h 12231080"/>
                  <a:gd name="connsiteX30" fmla="*/ 971866 w 9562175"/>
                  <a:gd name="connsiteY30" fmla="*/ 6535488 h 12231080"/>
                  <a:gd name="connsiteX31" fmla="*/ 870631 w 9562175"/>
                  <a:gd name="connsiteY31" fmla="*/ 3083730 h 12231080"/>
                  <a:gd name="connsiteX32" fmla="*/ 1780433 w 9562175"/>
                  <a:gd name="connsiteY32" fmla="*/ 1610005 h 12231080"/>
                  <a:gd name="connsiteX33" fmla="*/ 3600848 w 9562175"/>
                  <a:gd name="connsiteY33" fmla="*/ 0 h 1223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9562175" h="12231080">
                    <a:moveTo>
                      <a:pt x="3600848" y="0"/>
                    </a:moveTo>
                    <a:cubicBezTo>
                      <a:pt x="3949565" y="-170"/>
                      <a:pt x="4274060" y="178210"/>
                      <a:pt x="4496122" y="627521"/>
                    </a:cubicBezTo>
                    <a:cubicBezTo>
                      <a:pt x="5130959" y="1913112"/>
                      <a:pt x="5333427" y="1941854"/>
                      <a:pt x="5998308" y="1595633"/>
                    </a:cubicBezTo>
                    <a:cubicBezTo>
                      <a:pt x="6662534" y="1248759"/>
                      <a:pt x="7098821" y="736613"/>
                      <a:pt x="8062832" y="1176249"/>
                    </a:cubicBezTo>
                    <a:cubicBezTo>
                      <a:pt x="8816537" y="1519857"/>
                      <a:pt x="9399777" y="3049762"/>
                      <a:pt x="8116388" y="3999583"/>
                    </a:cubicBezTo>
                    <a:cubicBezTo>
                      <a:pt x="7626545" y="4362135"/>
                      <a:pt x="9662986" y="7833490"/>
                      <a:pt x="8937365" y="8352169"/>
                    </a:cubicBezTo>
                    <a:cubicBezTo>
                      <a:pt x="8848867" y="8415371"/>
                      <a:pt x="8719732" y="8485095"/>
                      <a:pt x="8559246" y="8559315"/>
                    </a:cubicBezTo>
                    <a:lnTo>
                      <a:pt x="8508054" y="8582243"/>
                    </a:lnTo>
                    <a:lnTo>
                      <a:pt x="8593241" y="8631261"/>
                    </a:lnTo>
                    <a:cubicBezTo>
                      <a:pt x="8666401" y="8674372"/>
                      <a:pt x="8665094" y="8780189"/>
                      <a:pt x="8591281" y="8822646"/>
                    </a:cubicBezTo>
                    <a:lnTo>
                      <a:pt x="6429098" y="10120278"/>
                    </a:lnTo>
                    <a:lnTo>
                      <a:pt x="6498497" y="10129969"/>
                    </a:lnTo>
                    <a:cubicBezTo>
                      <a:pt x="6897586" y="10197385"/>
                      <a:pt x="7228358" y="10349036"/>
                      <a:pt x="7420314" y="10546695"/>
                    </a:cubicBezTo>
                    <a:lnTo>
                      <a:pt x="7447440" y="10580981"/>
                    </a:lnTo>
                    <a:lnTo>
                      <a:pt x="7527912" y="10564954"/>
                    </a:lnTo>
                    <a:cubicBezTo>
                      <a:pt x="7675206" y="10540025"/>
                      <a:pt x="7831811" y="10526594"/>
                      <a:pt x="7994178" y="10526594"/>
                    </a:cubicBezTo>
                    <a:cubicBezTo>
                      <a:pt x="8860788" y="10526594"/>
                      <a:pt x="9562175" y="10908634"/>
                      <a:pt x="9562175" y="11379490"/>
                    </a:cubicBezTo>
                    <a:cubicBezTo>
                      <a:pt x="9562175" y="11849693"/>
                      <a:pt x="8860788" y="12231080"/>
                      <a:pt x="7994178" y="12231080"/>
                    </a:cubicBezTo>
                    <a:cubicBezTo>
                      <a:pt x="7452954" y="12231080"/>
                      <a:pt x="6975761" y="12082101"/>
                      <a:pt x="6693976" y="11855571"/>
                    </a:cubicBezTo>
                    <a:lnTo>
                      <a:pt x="6580039" y="11741570"/>
                    </a:lnTo>
                    <a:lnTo>
                      <a:pt x="6498497" y="11757799"/>
                    </a:lnTo>
                    <a:cubicBezTo>
                      <a:pt x="6351141" y="11782724"/>
                      <a:pt x="6194472" y="11796155"/>
                      <a:pt x="6032037" y="11796155"/>
                    </a:cubicBezTo>
                    <a:cubicBezTo>
                      <a:pt x="5382787" y="11796155"/>
                      <a:pt x="4825781" y="11581257"/>
                      <a:pt x="4587855" y="11275442"/>
                    </a:cubicBezTo>
                    <a:lnTo>
                      <a:pt x="4563810" y="11239729"/>
                    </a:lnTo>
                    <a:lnTo>
                      <a:pt x="3250582" y="12027861"/>
                    </a:lnTo>
                    <a:cubicBezTo>
                      <a:pt x="3165663" y="12075544"/>
                      <a:pt x="3061149" y="12074238"/>
                      <a:pt x="2978190" y="12023942"/>
                    </a:cubicBezTo>
                    <a:lnTo>
                      <a:pt x="234027" y="10500044"/>
                    </a:lnTo>
                    <a:cubicBezTo>
                      <a:pt x="161520" y="10456280"/>
                      <a:pt x="162827" y="10351116"/>
                      <a:pt x="236640" y="10309312"/>
                    </a:cubicBezTo>
                    <a:lnTo>
                      <a:pt x="1618263" y="9455658"/>
                    </a:lnTo>
                    <a:lnTo>
                      <a:pt x="1409994" y="9246116"/>
                    </a:lnTo>
                    <a:cubicBezTo>
                      <a:pt x="900484" y="8658575"/>
                      <a:pt x="629833" y="7767268"/>
                      <a:pt x="971866" y="6535488"/>
                    </a:cubicBezTo>
                    <a:cubicBezTo>
                      <a:pt x="1173028" y="5812997"/>
                      <a:pt x="-1238306" y="4253696"/>
                      <a:pt x="870631" y="3083730"/>
                    </a:cubicBezTo>
                    <a:cubicBezTo>
                      <a:pt x="1429705" y="2773438"/>
                      <a:pt x="1611274" y="2356666"/>
                      <a:pt x="1780433" y="1610005"/>
                    </a:cubicBezTo>
                    <a:cubicBezTo>
                      <a:pt x="1949266" y="864936"/>
                      <a:pt x="2833672" y="376"/>
                      <a:pt x="360084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id="{B2C9BFA5-AAC8-4C47-AC21-4CB541526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4671" y="8113815"/>
                <a:ext cx="1716660" cy="4496151"/>
              </a:xfrm>
              <a:custGeom>
                <a:avLst/>
                <a:gdLst>
                  <a:gd name="T0" fmla="*/ 1355 w 2628"/>
                  <a:gd name="T1" fmla="*/ 434 h 6882"/>
                  <a:gd name="T2" fmla="*/ 2627 w 2628"/>
                  <a:gd name="T3" fmla="*/ 0 h 6882"/>
                  <a:gd name="T4" fmla="*/ 385 w 2628"/>
                  <a:gd name="T5" fmla="*/ 6657 h 6882"/>
                  <a:gd name="T6" fmla="*/ 0 w 2628"/>
                  <a:gd name="T7" fmla="*/ 6881 h 6882"/>
                  <a:gd name="T8" fmla="*/ 1355 w 2628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8" h="6882">
                    <a:moveTo>
                      <a:pt x="1355" y="434"/>
                    </a:moveTo>
                    <a:lnTo>
                      <a:pt x="2627" y="0"/>
                    </a:lnTo>
                    <a:lnTo>
                      <a:pt x="385" y="6657"/>
                    </a:lnTo>
                    <a:lnTo>
                      <a:pt x="0" y="6881"/>
                    </a:lnTo>
                    <a:lnTo>
                      <a:pt x="1355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1" name="Freeform 5">
                <a:extLst>
                  <a:ext uri="{FF2B5EF4-FFF2-40B4-BE49-F238E27FC236}">
                    <a16:creationId xmlns:a16="http://schemas.microsoft.com/office/drawing/2014/main" id="{62516364-5945-EB4C-83D7-6ABACC573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47486" y="6855121"/>
                <a:ext cx="1716660" cy="4496153"/>
              </a:xfrm>
              <a:custGeom>
                <a:avLst/>
                <a:gdLst>
                  <a:gd name="T0" fmla="*/ 1354 w 2627"/>
                  <a:gd name="T1" fmla="*/ 434 h 6882"/>
                  <a:gd name="T2" fmla="*/ 2626 w 2627"/>
                  <a:gd name="T3" fmla="*/ 0 h 6882"/>
                  <a:gd name="T4" fmla="*/ 384 w 2627"/>
                  <a:gd name="T5" fmla="*/ 6657 h 6882"/>
                  <a:gd name="T6" fmla="*/ 0 w 2627"/>
                  <a:gd name="T7" fmla="*/ 6881 h 6882"/>
                  <a:gd name="T8" fmla="*/ 1354 w 2627"/>
                  <a:gd name="T9" fmla="*/ 434 h 6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7" h="6882">
                    <a:moveTo>
                      <a:pt x="1354" y="434"/>
                    </a:moveTo>
                    <a:lnTo>
                      <a:pt x="2626" y="0"/>
                    </a:lnTo>
                    <a:lnTo>
                      <a:pt x="384" y="6657"/>
                    </a:lnTo>
                    <a:lnTo>
                      <a:pt x="0" y="6881"/>
                    </a:lnTo>
                    <a:lnTo>
                      <a:pt x="1354" y="434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2" name="Freeform 8">
                <a:extLst>
                  <a:ext uri="{FF2B5EF4-FFF2-40B4-BE49-F238E27FC236}">
                    <a16:creationId xmlns:a16="http://schemas.microsoft.com/office/drawing/2014/main" id="{DB27356B-3853-CC40-B073-2AACE6744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3686" y="4061227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7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7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3" name="Freeform 9">
                <a:extLst>
                  <a:ext uri="{FF2B5EF4-FFF2-40B4-BE49-F238E27FC236}">
                    <a16:creationId xmlns:a16="http://schemas.microsoft.com/office/drawing/2014/main" id="{3B655155-06B4-074C-AF18-88E9D8FED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7062" y="4041066"/>
                <a:ext cx="1486236" cy="2373369"/>
              </a:xfrm>
              <a:custGeom>
                <a:avLst/>
                <a:gdLst>
                  <a:gd name="T0" fmla="*/ 1999 w 2275"/>
                  <a:gd name="T1" fmla="*/ 2319 h 3635"/>
                  <a:gd name="T2" fmla="*/ 119 w 2275"/>
                  <a:gd name="T3" fmla="*/ 3602 h 3635"/>
                  <a:gd name="T4" fmla="*/ 119 w 2275"/>
                  <a:gd name="T5" fmla="*/ 3602 h 3635"/>
                  <a:gd name="T6" fmla="*/ 0 w 2275"/>
                  <a:gd name="T7" fmla="*/ 3534 h 3635"/>
                  <a:gd name="T8" fmla="*/ 0 w 2275"/>
                  <a:gd name="T9" fmla="*/ 1428 h 3635"/>
                  <a:gd name="T10" fmla="*/ 0 w 2275"/>
                  <a:gd name="T11" fmla="*/ 1428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117 w 2275"/>
                  <a:gd name="T21" fmla="*/ 2113 h 3635"/>
                  <a:gd name="T22" fmla="*/ 2117 w 2275"/>
                  <a:gd name="T23" fmla="*/ 2113 h 3635"/>
                  <a:gd name="T24" fmla="*/ 1999 w 2275"/>
                  <a:gd name="T25" fmla="*/ 2319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1999" y="2319"/>
                    </a:moveTo>
                    <a:lnTo>
                      <a:pt x="119" y="3602"/>
                    </a:lnTo>
                    <a:lnTo>
                      <a:pt x="119" y="3602"/>
                    </a:lnTo>
                    <a:cubicBezTo>
                      <a:pt x="66" y="3634"/>
                      <a:pt x="0" y="3596"/>
                      <a:pt x="0" y="353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7" y="2113"/>
                    </a:lnTo>
                    <a:lnTo>
                      <a:pt x="2117" y="2113"/>
                    </a:lnTo>
                    <a:cubicBezTo>
                      <a:pt x="2117" y="2198"/>
                      <a:pt x="2072" y="2276"/>
                      <a:pt x="1999" y="2319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4" name="Freeform 10">
                <a:extLst>
                  <a:ext uri="{FF2B5EF4-FFF2-40B4-BE49-F238E27FC236}">
                    <a16:creationId xmlns:a16="http://schemas.microsoft.com/office/drawing/2014/main" id="{089C4303-D725-1349-B64E-0DF3B0120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77549" y="4078509"/>
                <a:ext cx="1486236" cy="2373369"/>
              </a:xfrm>
              <a:custGeom>
                <a:avLst/>
                <a:gdLst>
                  <a:gd name="T0" fmla="*/ 2156 w 2275"/>
                  <a:gd name="T1" fmla="*/ 2412 h 3635"/>
                  <a:gd name="T2" fmla="*/ 119 w 2275"/>
                  <a:gd name="T3" fmla="*/ 3603 h 3635"/>
                  <a:gd name="T4" fmla="*/ 119 w 2275"/>
                  <a:gd name="T5" fmla="*/ 3603 h 3635"/>
                  <a:gd name="T6" fmla="*/ 0 w 2275"/>
                  <a:gd name="T7" fmla="*/ 3535 h 3635"/>
                  <a:gd name="T8" fmla="*/ 0 w 2275"/>
                  <a:gd name="T9" fmla="*/ 1429 h 3635"/>
                  <a:gd name="T10" fmla="*/ 0 w 2275"/>
                  <a:gd name="T11" fmla="*/ 1429 h 3635"/>
                  <a:gd name="T12" fmla="*/ 118 w 2275"/>
                  <a:gd name="T13" fmla="*/ 1222 h 3635"/>
                  <a:gd name="T14" fmla="*/ 2155 w 2275"/>
                  <a:gd name="T15" fmla="*/ 31 h 3635"/>
                  <a:gd name="T16" fmla="*/ 2155 w 2275"/>
                  <a:gd name="T17" fmla="*/ 31 h 3635"/>
                  <a:gd name="T18" fmla="*/ 2274 w 2275"/>
                  <a:gd name="T19" fmla="*/ 99 h 3635"/>
                  <a:gd name="T20" fmla="*/ 2274 w 2275"/>
                  <a:gd name="T21" fmla="*/ 2206 h 3635"/>
                  <a:gd name="T22" fmla="*/ 2274 w 2275"/>
                  <a:gd name="T23" fmla="*/ 2206 h 3635"/>
                  <a:gd name="T24" fmla="*/ 2156 w 2275"/>
                  <a:gd name="T25" fmla="*/ 2412 h 3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635">
                    <a:moveTo>
                      <a:pt x="2156" y="2412"/>
                    </a:moveTo>
                    <a:lnTo>
                      <a:pt x="119" y="3603"/>
                    </a:lnTo>
                    <a:lnTo>
                      <a:pt x="119" y="3603"/>
                    </a:lnTo>
                    <a:cubicBezTo>
                      <a:pt x="67" y="3634"/>
                      <a:pt x="0" y="3597"/>
                      <a:pt x="0" y="3535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4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274" y="2206"/>
                    </a:lnTo>
                    <a:lnTo>
                      <a:pt x="2274" y="2206"/>
                    </a:lnTo>
                    <a:cubicBezTo>
                      <a:pt x="2274" y="2291"/>
                      <a:pt x="2229" y="2369"/>
                      <a:pt x="2156" y="241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5" name="Freeform 11">
                <a:extLst>
                  <a:ext uri="{FF2B5EF4-FFF2-40B4-BE49-F238E27FC236}">
                    <a16:creationId xmlns:a16="http://schemas.microsoft.com/office/drawing/2014/main" id="{2DBF7626-EABA-1042-BA89-E615607E8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003088"/>
                <a:ext cx="1163642" cy="751758"/>
              </a:xfrm>
              <a:custGeom>
                <a:avLst/>
                <a:gdLst>
                  <a:gd name="T0" fmla="*/ 1748 w 1781"/>
                  <a:gd name="T1" fmla="*/ 157 h 1149"/>
                  <a:gd name="T2" fmla="*/ 51 w 1781"/>
                  <a:gd name="T3" fmla="*/ 1135 h 1149"/>
                  <a:gd name="T4" fmla="*/ 51 w 1781"/>
                  <a:gd name="T5" fmla="*/ 1135 h 1149"/>
                  <a:gd name="T6" fmla="*/ 0 w 1781"/>
                  <a:gd name="T7" fmla="*/ 1107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1" y="1135"/>
                    </a:lnTo>
                    <a:lnTo>
                      <a:pt x="51" y="1135"/>
                    </a:lnTo>
                    <a:cubicBezTo>
                      <a:pt x="28" y="1148"/>
                      <a:pt x="0" y="1132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5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6" name="Freeform 12">
                <a:extLst>
                  <a:ext uri="{FF2B5EF4-FFF2-40B4-BE49-F238E27FC236}">
                    <a16:creationId xmlns:a16="http://schemas.microsoft.com/office/drawing/2014/main" id="{8B990897-DF24-E348-BE44-1674FFD4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201827"/>
                <a:ext cx="1163642" cy="751760"/>
              </a:xfrm>
              <a:custGeom>
                <a:avLst/>
                <a:gdLst>
                  <a:gd name="T0" fmla="*/ 1748 w 1781"/>
                  <a:gd name="T1" fmla="*/ 158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8 h 1150"/>
                  <a:gd name="T10" fmla="*/ 0 w 1781"/>
                  <a:gd name="T11" fmla="*/ 1058 h 1150"/>
                  <a:gd name="T12" fmla="*/ 41 w 1781"/>
                  <a:gd name="T13" fmla="*/ 985 h 1150"/>
                  <a:gd name="T14" fmla="*/ 1727 w 1781"/>
                  <a:gd name="T15" fmla="*/ 15 h 1150"/>
                  <a:gd name="T16" fmla="*/ 1727 w 1781"/>
                  <a:gd name="T17" fmla="*/ 15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8"/>
                    </a:lnTo>
                    <a:lnTo>
                      <a:pt x="0" y="1058"/>
                    </a:lnTo>
                    <a:cubicBezTo>
                      <a:pt x="0" y="1028"/>
                      <a:pt x="16" y="1001"/>
                      <a:pt x="41" y="985"/>
                    </a:cubicBezTo>
                    <a:lnTo>
                      <a:pt x="1727" y="15"/>
                    </a:lnTo>
                    <a:lnTo>
                      <a:pt x="1727" y="15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7" name="Freeform 13">
                <a:extLst>
                  <a:ext uri="{FF2B5EF4-FFF2-40B4-BE49-F238E27FC236}">
                    <a16:creationId xmlns:a16="http://schemas.microsoft.com/office/drawing/2014/main" id="{43F87289-6C4D-2441-981C-F7BABAA304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9007" y="5397688"/>
                <a:ext cx="1163642" cy="751760"/>
              </a:xfrm>
              <a:custGeom>
                <a:avLst/>
                <a:gdLst>
                  <a:gd name="T0" fmla="*/ 1748 w 1781"/>
                  <a:gd name="T1" fmla="*/ 157 h 1150"/>
                  <a:gd name="T2" fmla="*/ 51 w 1781"/>
                  <a:gd name="T3" fmla="*/ 1136 h 1150"/>
                  <a:gd name="T4" fmla="*/ 51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5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7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7"/>
                    </a:moveTo>
                    <a:lnTo>
                      <a:pt x="51" y="1136"/>
                    </a:lnTo>
                    <a:lnTo>
                      <a:pt x="51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8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7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8" name="Freeform 14">
                <a:extLst>
                  <a:ext uri="{FF2B5EF4-FFF2-40B4-BE49-F238E27FC236}">
                    <a16:creationId xmlns:a16="http://schemas.microsoft.com/office/drawing/2014/main" id="{174D30BC-0D15-3843-9A0F-9152AFDBB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98728" y="2802536"/>
                <a:ext cx="63367" cy="241945"/>
              </a:xfrm>
              <a:custGeom>
                <a:avLst/>
                <a:gdLst>
                  <a:gd name="T0" fmla="*/ 96 w 97"/>
                  <a:gd name="T1" fmla="*/ 371 h 372"/>
                  <a:gd name="T2" fmla="*/ 0 w 97"/>
                  <a:gd name="T3" fmla="*/ 312 h 372"/>
                  <a:gd name="T4" fmla="*/ 0 w 97"/>
                  <a:gd name="T5" fmla="*/ 0 h 372"/>
                  <a:gd name="T6" fmla="*/ 96 w 97"/>
                  <a:gd name="T7" fmla="*/ 58 h 372"/>
                  <a:gd name="T8" fmla="*/ 96 w 97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372">
                    <a:moveTo>
                      <a:pt x="96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6" y="58"/>
                    </a:lnTo>
                    <a:lnTo>
                      <a:pt x="96" y="371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19" name="Freeform 15">
                <a:extLst>
                  <a:ext uri="{FF2B5EF4-FFF2-40B4-BE49-F238E27FC236}">
                    <a16:creationId xmlns:a16="http://schemas.microsoft.com/office/drawing/2014/main" id="{79CD22D0-6348-EA44-B84E-7C3EE0ABD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26546" y="904417"/>
                <a:ext cx="167058" cy="285151"/>
              </a:xfrm>
              <a:custGeom>
                <a:avLst/>
                <a:gdLst>
                  <a:gd name="T0" fmla="*/ 254 w 255"/>
                  <a:gd name="T1" fmla="*/ 434 h 435"/>
                  <a:gd name="T2" fmla="*/ 0 w 255"/>
                  <a:gd name="T3" fmla="*/ 219 h 435"/>
                  <a:gd name="T4" fmla="*/ 158 w 255"/>
                  <a:gd name="T5" fmla="*/ 0 h 435"/>
                  <a:gd name="T6" fmla="*/ 254 w 255"/>
                  <a:gd name="T7" fmla="*/ 58 h 435"/>
                  <a:gd name="T8" fmla="*/ 254 w 255"/>
                  <a:gd name="T9" fmla="*/ 434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35">
                    <a:moveTo>
                      <a:pt x="254" y="434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4" y="58"/>
                    </a:lnTo>
                    <a:lnTo>
                      <a:pt x="254" y="434"/>
                    </a:lnTo>
                  </a:path>
                </a:pathLst>
              </a:custGeom>
              <a:solidFill>
                <a:srgbClr val="CD50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0" name="Freeform 16">
                <a:extLst>
                  <a:ext uri="{FF2B5EF4-FFF2-40B4-BE49-F238E27FC236}">
                    <a16:creationId xmlns:a16="http://schemas.microsoft.com/office/drawing/2014/main" id="{C8F5E741-5EF2-A84E-9E18-25A1A44CA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72803" y="884255"/>
                <a:ext cx="1486236" cy="2142945"/>
              </a:xfrm>
              <a:custGeom>
                <a:avLst/>
                <a:gdLst>
                  <a:gd name="T0" fmla="*/ 1998 w 2275"/>
                  <a:gd name="T1" fmla="*/ 1963 h 3279"/>
                  <a:gd name="T2" fmla="*/ 118 w 2275"/>
                  <a:gd name="T3" fmla="*/ 3247 h 3279"/>
                  <a:gd name="T4" fmla="*/ 118 w 2275"/>
                  <a:gd name="T5" fmla="*/ 3247 h 3279"/>
                  <a:gd name="T6" fmla="*/ 0 w 2275"/>
                  <a:gd name="T7" fmla="*/ 3179 h 3279"/>
                  <a:gd name="T8" fmla="*/ 0 w 2275"/>
                  <a:gd name="T9" fmla="*/ 1429 h 3279"/>
                  <a:gd name="T10" fmla="*/ 0 w 2275"/>
                  <a:gd name="T11" fmla="*/ 1429 h 3279"/>
                  <a:gd name="T12" fmla="*/ 117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116 w 2275"/>
                  <a:gd name="T21" fmla="*/ 1757 h 3279"/>
                  <a:gd name="T22" fmla="*/ 2116 w 2275"/>
                  <a:gd name="T23" fmla="*/ 1757 h 3279"/>
                  <a:gd name="T24" fmla="*/ 1998 w 2275"/>
                  <a:gd name="T25" fmla="*/ 1963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1998" y="1963"/>
                    </a:moveTo>
                    <a:lnTo>
                      <a:pt x="118" y="3247"/>
                    </a:lnTo>
                    <a:lnTo>
                      <a:pt x="118" y="3247"/>
                    </a:lnTo>
                    <a:cubicBezTo>
                      <a:pt x="66" y="3278"/>
                      <a:pt x="0" y="3240"/>
                      <a:pt x="0" y="3179"/>
                    </a:cubicBezTo>
                    <a:lnTo>
                      <a:pt x="0" y="1429"/>
                    </a:lnTo>
                    <a:lnTo>
                      <a:pt x="0" y="1429"/>
                    </a:lnTo>
                    <a:cubicBezTo>
                      <a:pt x="0" y="1343"/>
                      <a:pt x="44" y="1265"/>
                      <a:pt x="117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116" y="1757"/>
                    </a:lnTo>
                    <a:lnTo>
                      <a:pt x="2116" y="1757"/>
                    </a:lnTo>
                    <a:cubicBezTo>
                      <a:pt x="2116" y="1842"/>
                      <a:pt x="2071" y="1920"/>
                      <a:pt x="1998" y="1963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1" name="Freeform 17">
                <a:extLst>
                  <a:ext uri="{FF2B5EF4-FFF2-40B4-BE49-F238E27FC236}">
                    <a16:creationId xmlns:a16="http://schemas.microsoft.com/office/drawing/2014/main" id="{BDBD6D69-A545-5545-B1A4-B0E0A63DB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3291" y="921698"/>
                <a:ext cx="1486236" cy="2142945"/>
              </a:xfrm>
              <a:custGeom>
                <a:avLst/>
                <a:gdLst>
                  <a:gd name="T0" fmla="*/ 2156 w 2275"/>
                  <a:gd name="T1" fmla="*/ 2055 h 3279"/>
                  <a:gd name="T2" fmla="*/ 119 w 2275"/>
                  <a:gd name="T3" fmla="*/ 3247 h 3279"/>
                  <a:gd name="T4" fmla="*/ 119 w 2275"/>
                  <a:gd name="T5" fmla="*/ 3247 h 3279"/>
                  <a:gd name="T6" fmla="*/ 0 w 2275"/>
                  <a:gd name="T7" fmla="*/ 3178 h 3279"/>
                  <a:gd name="T8" fmla="*/ 0 w 2275"/>
                  <a:gd name="T9" fmla="*/ 1428 h 3279"/>
                  <a:gd name="T10" fmla="*/ 0 w 2275"/>
                  <a:gd name="T11" fmla="*/ 1428 h 3279"/>
                  <a:gd name="T12" fmla="*/ 118 w 2275"/>
                  <a:gd name="T13" fmla="*/ 1222 h 3279"/>
                  <a:gd name="T14" fmla="*/ 2154 w 2275"/>
                  <a:gd name="T15" fmla="*/ 31 h 3279"/>
                  <a:gd name="T16" fmla="*/ 2154 w 2275"/>
                  <a:gd name="T17" fmla="*/ 31 h 3279"/>
                  <a:gd name="T18" fmla="*/ 2274 w 2275"/>
                  <a:gd name="T19" fmla="*/ 99 h 3279"/>
                  <a:gd name="T20" fmla="*/ 2274 w 2275"/>
                  <a:gd name="T21" fmla="*/ 1849 h 3279"/>
                  <a:gd name="T22" fmla="*/ 2274 w 2275"/>
                  <a:gd name="T23" fmla="*/ 1849 h 3279"/>
                  <a:gd name="T24" fmla="*/ 2156 w 2275"/>
                  <a:gd name="T25" fmla="*/ 2055 h 3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3279">
                    <a:moveTo>
                      <a:pt x="2156" y="2055"/>
                    </a:moveTo>
                    <a:lnTo>
                      <a:pt x="119" y="3247"/>
                    </a:lnTo>
                    <a:lnTo>
                      <a:pt x="119" y="3247"/>
                    </a:lnTo>
                    <a:cubicBezTo>
                      <a:pt x="66" y="3278"/>
                      <a:pt x="0" y="3239"/>
                      <a:pt x="0" y="3178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4"/>
                      <a:pt x="44" y="1265"/>
                      <a:pt x="118" y="1222"/>
                    </a:cubicBezTo>
                    <a:lnTo>
                      <a:pt x="2154" y="31"/>
                    </a:lnTo>
                    <a:lnTo>
                      <a:pt x="2154" y="31"/>
                    </a:lnTo>
                    <a:cubicBezTo>
                      <a:pt x="2207" y="0"/>
                      <a:pt x="2274" y="38"/>
                      <a:pt x="2274" y="99"/>
                    </a:cubicBezTo>
                    <a:lnTo>
                      <a:pt x="2274" y="1849"/>
                    </a:lnTo>
                    <a:lnTo>
                      <a:pt x="2274" y="1849"/>
                    </a:lnTo>
                    <a:cubicBezTo>
                      <a:pt x="2274" y="1934"/>
                      <a:pt x="2229" y="2012"/>
                      <a:pt x="2156" y="2055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id="{54DABF68-F30C-9545-9EDA-980F36188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4748" y="1224265"/>
                <a:ext cx="1162990" cy="1528941"/>
              </a:xfrm>
              <a:custGeom>
                <a:avLst/>
                <a:gdLst>
                  <a:gd name="connsiteX0" fmla="*/ 811619 w 1162990"/>
                  <a:gd name="connsiteY0" fmla="*/ 988059 h 1528941"/>
                  <a:gd name="connsiteX1" fmla="*/ 823115 w 1162990"/>
                  <a:gd name="connsiteY1" fmla="*/ 1007877 h 1528941"/>
                  <a:gd name="connsiteX2" fmla="*/ 823115 w 1162990"/>
                  <a:gd name="connsiteY2" fmla="*/ 1045720 h 1528941"/>
                  <a:gd name="connsiteX3" fmla="*/ 802243 w 1162990"/>
                  <a:gd name="connsiteY3" fmla="*/ 1081606 h 1528941"/>
                  <a:gd name="connsiteX4" fmla="*/ 32612 w 1162990"/>
                  <a:gd name="connsiteY4" fmla="*/ 1525932 h 1528941"/>
                  <a:gd name="connsiteX5" fmla="*/ 1 w 1162990"/>
                  <a:gd name="connsiteY5" fmla="*/ 1507010 h 1528941"/>
                  <a:gd name="connsiteX6" fmla="*/ 1 w 1162990"/>
                  <a:gd name="connsiteY6" fmla="*/ 1475040 h 1528941"/>
                  <a:gd name="connsiteX7" fmla="*/ 26742 w 1162990"/>
                  <a:gd name="connsiteY7" fmla="*/ 1427410 h 1528941"/>
                  <a:gd name="connsiteX8" fmla="*/ 787894 w 1162990"/>
                  <a:gd name="connsiteY8" fmla="*/ 988304 h 1528941"/>
                  <a:gd name="connsiteX9" fmla="*/ 811619 w 1162990"/>
                  <a:gd name="connsiteY9" fmla="*/ 988059 h 1528941"/>
                  <a:gd name="connsiteX10" fmla="*/ 327960 w 1162990"/>
                  <a:gd name="connsiteY10" fmla="*/ 861188 h 1528941"/>
                  <a:gd name="connsiteX11" fmla="*/ 350746 w 1162990"/>
                  <a:gd name="connsiteY11" fmla="*/ 884679 h 1528941"/>
                  <a:gd name="connsiteX12" fmla="*/ 350746 w 1162990"/>
                  <a:gd name="connsiteY12" fmla="*/ 921872 h 1528941"/>
                  <a:gd name="connsiteX13" fmla="*/ 329923 w 1162990"/>
                  <a:gd name="connsiteY13" fmla="*/ 957761 h 1528941"/>
                  <a:gd name="connsiteX14" fmla="*/ 32537 w 1162990"/>
                  <a:gd name="connsiteY14" fmla="*/ 1130678 h 1528941"/>
                  <a:gd name="connsiteX15" fmla="*/ 0 w 1162990"/>
                  <a:gd name="connsiteY15" fmla="*/ 1111755 h 1528941"/>
                  <a:gd name="connsiteX16" fmla="*/ 0 w 1162990"/>
                  <a:gd name="connsiteY16" fmla="*/ 1079782 h 1528941"/>
                  <a:gd name="connsiteX17" fmla="*/ 26680 w 1162990"/>
                  <a:gd name="connsiteY17" fmla="*/ 1032800 h 1528941"/>
                  <a:gd name="connsiteX18" fmla="*/ 316257 w 1162990"/>
                  <a:gd name="connsiteY18" fmla="*/ 864450 h 1528941"/>
                  <a:gd name="connsiteX19" fmla="*/ 327960 w 1162990"/>
                  <a:gd name="connsiteY19" fmla="*/ 861188 h 1528941"/>
                  <a:gd name="connsiteX20" fmla="*/ 1128457 w 1162990"/>
                  <a:gd name="connsiteY20" fmla="*/ 780271 h 1528941"/>
                  <a:gd name="connsiteX21" fmla="*/ 1162990 w 1162990"/>
                  <a:gd name="connsiteY21" fmla="*/ 800504 h 1528941"/>
                  <a:gd name="connsiteX22" fmla="*/ 1162990 w 1162990"/>
                  <a:gd name="connsiteY22" fmla="*/ 838359 h 1528941"/>
                  <a:gd name="connsiteX23" fmla="*/ 1142140 w 1162990"/>
                  <a:gd name="connsiteY23" fmla="*/ 874257 h 1528941"/>
                  <a:gd name="connsiteX24" fmla="*/ 888681 w 1162990"/>
                  <a:gd name="connsiteY24" fmla="*/ 1027637 h 1528941"/>
                  <a:gd name="connsiteX25" fmla="*/ 855451 w 1162990"/>
                  <a:gd name="connsiteY25" fmla="*/ 1008709 h 1528941"/>
                  <a:gd name="connsiteX26" fmla="*/ 855451 w 1162990"/>
                  <a:gd name="connsiteY26" fmla="*/ 976075 h 1528941"/>
                  <a:gd name="connsiteX27" fmla="*/ 882165 w 1162990"/>
                  <a:gd name="connsiteY27" fmla="*/ 929082 h 1528941"/>
                  <a:gd name="connsiteX28" fmla="*/ 1128341 w 1162990"/>
                  <a:gd name="connsiteY28" fmla="*/ 595954 h 1528941"/>
                  <a:gd name="connsiteX29" fmla="*/ 1162988 w 1162990"/>
                  <a:gd name="connsiteY29" fmla="*/ 616236 h 1528941"/>
                  <a:gd name="connsiteX30" fmla="*/ 1162988 w 1162990"/>
                  <a:gd name="connsiteY30" fmla="*/ 654184 h 1528941"/>
                  <a:gd name="connsiteX31" fmla="*/ 1142723 w 1162990"/>
                  <a:gd name="connsiteY31" fmla="*/ 690169 h 1528941"/>
                  <a:gd name="connsiteX32" fmla="*/ 32687 w 1162990"/>
                  <a:gd name="connsiteY32" fmla="*/ 1330046 h 1528941"/>
                  <a:gd name="connsiteX33" fmla="*/ 0 w 1162990"/>
                  <a:gd name="connsiteY33" fmla="*/ 1311072 h 1528941"/>
                  <a:gd name="connsiteX34" fmla="*/ 0 w 1162990"/>
                  <a:gd name="connsiteY34" fmla="*/ 1278359 h 1528941"/>
                  <a:gd name="connsiteX35" fmla="*/ 26803 w 1162990"/>
                  <a:gd name="connsiteY35" fmla="*/ 1231906 h 1528941"/>
                  <a:gd name="connsiteX36" fmla="*/ 823212 w 1162990"/>
                  <a:gd name="connsiteY36" fmla="*/ 581796 h 1528941"/>
                  <a:gd name="connsiteX37" fmla="*/ 846153 w 1162990"/>
                  <a:gd name="connsiteY37" fmla="*/ 604675 h 1528941"/>
                  <a:gd name="connsiteX38" fmla="*/ 846153 w 1162990"/>
                  <a:gd name="connsiteY38" fmla="*/ 642570 h 1528941"/>
                  <a:gd name="connsiteX39" fmla="*/ 825187 w 1162990"/>
                  <a:gd name="connsiteY39" fmla="*/ 678506 h 1528941"/>
                  <a:gd name="connsiteX40" fmla="*/ 421600 w 1162990"/>
                  <a:gd name="connsiteY40" fmla="*/ 912415 h 1528941"/>
                  <a:gd name="connsiteX41" fmla="*/ 388841 w 1162990"/>
                  <a:gd name="connsiteY41" fmla="*/ 893467 h 1528941"/>
                  <a:gd name="connsiteX42" fmla="*/ 388841 w 1162990"/>
                  <a:gd name="connsiteY42" fmla="*/ 860798 h 1528941"/>
                  <a:gd name="connsiteX43" fmla="*/ 415703 w 1162990"/>
                  <a:gd name="connsiteY43" fmla="*/ 814408 h 1528941"/>
                  <a:gd name="connsiteX44" fmla="*/ 811429 w 1162990"/>
                  <a:gd name="connsiteY44" fmla="*/ 585073 h 1528941"/>
                  <a:gd name="connsiteX45" fmla="*/ 823212 w 1162990"/>
                  <a:gd name="connsiteY45" fmla="*/ 581796 h 1528941"/>
                  <a:gd name="connsiteX46" fmla="*/ 1134380 w 1162990"/>
                  <a:gd name="connsiteY46" fmla="*/ 400324 h 1528941"/>
                  <a:gd name="connsiteX47" fmla="*/ 1157229 w 1162990"/>
                  <a:gd name="connsiteY47" fmla="*/ 423149 h 1528941"/>
                  <a:gd name="connsiteX48" fmla="*/ 1157229 w 1162990"/>
                  <a:gd name="connsiteY48" fmla="*/ 460957 h 1528941"/>
                  <a:gd name="connsiteX49" fmla="*/ 1136348 w 1162990"/>
                  <a:gd name="connsiteY49" fmla="*/ 496809 h 1528941"/>
                  <a:gd name="connsiteX50" fmla="*/ 905358 w 1162990"/>
                  <a:gd name="connsiteY50" fmla="*/ 633047 h 1528941"/>
                  <a:gd name="connsiteX51" fmla="*/ 872732 w 1162990"/>
                  <a:gd name="connsiteY51" fmla="*/ 614143 h 1528941"/>
                  <a:gd name="connsiteX52" fmla="*/ 872732 w 1162990"/>
                  <a:gd name="connsiteY52" fmla="*/ 581550 h 1528941"/>
                  <a:gd name="connsiteX53" fmla="*/ 898833 w 1162990"/>
                  <a:gd name="connsiteY53" fmla="*/ 535268 h 1528941"/>
                  <a:gd name="connsiteX54" fmla="*/ 1122645 w 1162990"/>
                  <a:gd name="connsiteY54" fmla="*/ 403593 h 1528941"/>
                  <a:gd name="connsiteX55" fmla="*/ 1134380 w 1162990"/>
                  <a:gd name="connsiteY55" fmla="*/ 400324 h 1528941"/>
                  <a:gd name="connsiteX56" fmla="*/ 523986 w 1162990"/>
                  <a:gd name="connsiteY56" fmla="*/ 360306 h 1528941"/>
                  <a:gd name="connsiteX57" fmla="*/ 546604 w 1162990"/>
                  <a:gd name="connsiteY57" fmla="*/ 383581 h 1528941"/>
                  <a:gd name="connsiteX58" fmla="*/ 546604 w 1162990"/>
                  <a:gd name="connsiteY58" fmla="*/ 420869 h 1528941"/>
                  <a:gd name="connsiteX59" fmla="*/ 525682 w 1162990"/>
                  <a:gd name="connsiteY59" fmla="*/ 456850 h 1528941"/>
                  <a:gd name="connsiteX60" fmla="*/ 32693 w 1162990"/>
                  <a:gd name="connsiteY60" fmla="*/ 744692 h 1528941"/>
                  <a:gd name="connsiteX61" fmla="*/ 1 w 1162990"/>
                  <a:gd name="connsiteY61" fmla="*/ 725721 h 1528941"/>
                  <a:gd name="connsiteX62" fmla="*/ 1 w 1162990"/>
                  <a:gd name="connsiteY62" fmla="*/ 693666 h 1528941"/>
                  <a:gd name="connsiteX63" fmla="*/ 26808 w 1162990"/>
                  <a:gd name="connsiteY63" fmla="*/ 646564 h 1528941"/>
                  <a:gd name="connsiteX64" fmla="*/ 511951 w 1162990"/>
                  <a:gd name="connsiteY64" fmla="*/ 363955 h 1528941"/>
                  <a:gd name="connsiteX65" fmla="*/ 523986 w 1162990"/>
                  <a:gd name="connsiteY65" fmla="*/ 360306 h 1528941"/>
                  <a:gd name="connsiteX66" fmla="*/ 1140373 w 1162990"/>
                  <a:gd name="connsiteY66" fmla="*/ 201610 h 1528941"/>
                  <a:gd name="connsiteX67" fmla="*/ 1162988 w 1162990"/>
                  <a:gd name="connsiteY67" fmla="*/ 225144 h 1528941"/>
                  <a:gd name="connsiteX68" fmla="*/ 1162988 w 1162990"/>
                  <a:gd name="connsiteY68" fmla="*/ 262405 h 1528941"/>
                  <a:gd name="connsiteX69" fmla="*/ 1142723 w 1162990"/>
                  <a:gd name="connsiteY69" fmla="*/ 298358 h 1528941"/>
                  <a:gd name="connsiteX70" fmla="*/ 32687 w 1162990"/>
                  <a:gd name="connsiteY70" fmla="*/ 938333 h 1528941"/>
                  <a:gd name="connsiteX71" fmla="*/ 0 w 1162990"/>
                  <a:gd name="connsiteY71" fmla="*/ 919376 h 1528941"/>
                  <a:gd name="connsiteX72" fmla="*/ 0 w 1162990"/>
                  <a:gd name="connsiteY72" fmla="*/ 886691 h 1528941"/>
                  <a:gd name="connsiteX73" fmla="*/ 26803 w 1162990"/>
                  <a:gd name="connsiteY73" fmla="*/ 840278 h 1528941"/>
                  <a:gd name="connsiteX74" fmla="*/ 1128341 w 1162990"/>
                  <a:gd name="connsiteY74" fmla="*/ 204879 h 1528941"/>
                  <a:gd name="connsiteX75" fmla="*/ 1140373 w 1162990"/>
                  <a:gd name="connsiteY75" fmla="*/ 201610 h 1528941"/>
                  <a:gd name="connsiteX76" fmla="*/ 1131532 w 1162990"/>
                  <a:gd name="connsiteY76" fmla="*/ 1 h 1528941"/>
                  <a:gd name="connsiteX77" fmla="*/ 1154350 w 1162990"/>
                  <a:gd name="connsiteY77" fmla="*/ 23582 h 1528941"/>
                  <a:gd name="connsiteX78" fmla="*/ 1154350 w 1162990"/>
                  <a:gd name="connsiteY78" fmla="*/ 60918 h 1528941"/>
                  <a:gd name="connsiteX79" fmla="*/ 1133497 w 1162990"/>
                  <a:gd name="connsiteY79" fmla="*/ 97599 h 1528941"/>
                  <a:gd name="connsiteX80" fmla="*/ 612176 w 1162990"/>
                  <a:gd name="connsiteY80" fmla="*/ 405460 h 1528941"/>
                  <a:gd name="connsiteX81" fmla="*/ 578942 w 1162990"/>
                  <a:gd name="connsiteY81" fmla="*/ 386464 h 1528941"/>
                  <a:gd name="connsiteX82" fmla="*/ 578942 w 1162990"/>
                  <a:gd name="connsiteY82" fmla="*/ 353713 h 1528941"/>
                  <a:gd name="connsiteX83" fmla="*/ 606311 w 1162990"/>
                  <a:gd name="connsiteY83" fmla="*/ 307206 h 1528941"/>
                  <a:gd name="connsiteX84" fmla="*/ 1119813 w 1162990"/>
                  <a:gd name="connsiteY84" fmla="*/ 3276 h 1528941"/>
                  <a:gd name="connsiteX85" fmla="*/ 1131532 w 1162990"/>
                  <a:gd name="connsiteY85" fmla="*/ 1 h 1528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162990" h="1528941">
                    <a:moveTo>
                      <a:pt x="811619" y="988059"/>
                    </a:moveTo>
                    <a:cubicBezTo>
                      <a:pt x="818386" y="991892"/>
                      <a:pt x="823115" y="999069"/>
                      <a:pt x="823115" y="1007877"/>
                    </a:cubicBezTo>
                    <a:lnTo>
                      <a:pt x="823115" y="1045720"/>
                    </a:lnTo>
                    <a:cubicBezTo>
                      <a:pt x="823115" y="1060074"/>
                      <a:pt x="815288" y="1073776"/>
                      <a:pt x="802243" y="1081606"/>
                    </a:cubicBezTo>
                    <a:lnTo>
                      <a:pt x="32612" y="1525932"/>
                    </a:lnTo>
                    <a:cubicBezTo>
                      <a:pt x="18263" y="1534414"/>
                      <a:pt x="1" y="1523974"/>
                      <a:pt x="1" y="1507010"/>
                    </a:cubicBezTo>
                    <a:lnTo>
                      <a:pt x="1" y="1475040"/>
                    </a:lnTo>
                    <a:cubicBezTo>
                      <a:pt x="1" y="1455466"/>
                      <a:pt x="9784" y="1437849"/>
                      <a:pt x="26742" y="1427410"/>
                    </a:cubicBezTo>
                    <a:lnTo>
                      <a:pt x="787894" y="988304"/>
                    </a:lnTo>
                    <a:cubicBezTo>
                      <a:pt x="796047" y="983736"/>
                      <a:pt x="804852" y="984226"/>
                      <a:pt x="811619" y="988059"/>
                    </a:cubicBezTo>
                    <a:close/>
                    <a:moveTo>
                      <a:pt x="327960" y="861188"/>
                    </a:moveTo>
                    <a:cubicBezTo>
                      <a:pt x="339765" y="861310"/>
                      <a:pt x="350746" y="870976"/>
                      <a:pt x="350746" y="884679"/>
                    </a:cubicBezTo>
                    <a:lnTo>
                      <a:pt x="350746" y="921872"/>
                    </a:lnTo>
                    <a:cubicBezTo>
                      <a:pt x="350746" y="936880"/>
                      <a:pt x="342937" y="950583"/>
                      <a:pt x="329923" y="957761"/>
                    </a:cubicBezTo>
                    <a:lnTo>
                      <a:pt x="32537" y="1130678"/>
                    </a:lnTo>
                    <a:cubicBezTo>
                      <a:pt x="18221" y="1139814"/>
                      <a:pt x="0" y="1128721"/>
                      <a:pt x="0" y="1111755"/>
                    </a:cubicBezTo>
                    <a:lnTo>
                      <a:pt x="0" y="1079782"/>
                    </a:lnTo>
                    <a:cubicBezTo>
                      <a:pt x="0" y="1060206"/>
                      <a:pt x="9761" y="1042588"/>
                      <a:pt x="26680" y="1032800"/>
                    </a:cubicBezTo>
                    <a:lnTo>
                      <a:pt x="316257" y="864450"/>
                    </a:lnTo>
                    <a:cubicBezTo>
                      <a:pt x="319999" y="862166"/>
                      <a:pt x="324025" y="861147"/>
                      <a:pt x="327960" y="861188"/>
                    </a:cubicBezTo>
                    <a:close/>
                    <a:moveTo>
                      <a:pt x="1128457" y="780271"/>
                    </a:moveTo>
                    <a:cubicBezTo>
                      <a:pt x="1143443" y="771786"/>
                      <a:pt x="1162990" y="782882"/>
                      <a:pt x="1162990" y="800504"/>
                    </a:cubicBezTo>
                    <a:lnTo>
                      <a:pt x="1162990" y="838359"/>
                    </a:lnTo>
                    <a:cubicBezTo>
                      <a:pt x="1162990" y="852718"/>
                      <a:pt x="1155172" y="866425"/>
                      <a:pt x="1142140" y="874257"/>
                    </a:cubicBezTo>
                    <a:lnTo>
                      <a:pt x="888681" y="1027637"/>
                    </a:lnTo>
                    <a:cubicBezTo>
                      <a:pt x="873695" y="1036121"/>
                      <a:pt x="855451" y="1025679"/>
                      <a:pt x="855451" y="1008709"/>
                    </a:cubicBezTo>
                    <a:lnTo>
                      <a:pt x="855451" y="976075"/>
                    </a:lnTo>
                    <a:cubicBezTo>
                      <a:pt x="855451" y="957147"/>
                      <a:pt x="865224" y="938872"/>
                      <a:pt x="882165" y="929082"/>
                    </a:cubicBezTo>
                    <a:close/>
                    <a:moveTo>
                      <a:pt x="1128341" y="595954"/>
                    </a:moveTo>
                    <a:cubicBezTo>
                      <a:pt x="1144030" y="587448"/>
                      <a:pt x="1162988" y="598571"/>
                      <a:pt x="1162988" y="616236"/>
                    </a:cubicBezTo>
                    <a:lnTo>
                      <a:pt x="1162988" y="654184"/>
                    </a:lnTo>
                    <a:cubicBezTo>
                      <a:pt x="1162988" y="668578"/>
                      <a:pt x="1155797" y="682317"/>
                      <a:pt x="1142723" y="690169"/>
                    </a:cubicBezTo>
                    <a:lnTo>
                      <a:pt x="32687" y="1330046"/>
                    </a:lnTo>
                    <a:cubicBezTo>
                      <a:pt x="18304" y="1338552"/>
                      <a:pt x="0" y="1328084"/>
                      <a:pt x="0" y="1311072"/>
                    </a:cubicBezTo>
                    <a:lnTo>
                      <a:pt x="0" y="1278359"/>
                    </a:lnTo>
                    <a:cubicBezTo>
                      <a:pt x="0" y="1259385"/>
                      <a:pt x="9806" y="1241720"/>
                      <a:pt x="26803" y="1231906"/>
                    </a:cubicBezTo>
                    <a:close/>
                    <a:moveTo>
                      <a:pt x="823212" y="581796"/>
                    </a:moveTo>
                    <a:cubicBezTo>
                      <a:pt x="835097" y="581888"/>
                      <a:pt x="846153" y="591444"/>
                      <a:pt x="846153" y="604675"/>
                    </a:cubicBezTo>
                    <a:lnTo>
                      <a:pt x="846153" y="642570"/>
                    </a:lnTo>
                    <a:cubicBezTo>
                      <a:pt x="846153" y="657598"/>
                      <a:pt x="838291" y="670666"/>
                      <a:pt x="825187" y="678506"/>
                    </a:cubicBezTo>
                    <a:lnTo>
                      <a:pt x="421600" y="912415"/>
                    </a:lnTo>
                    <a:cubicBezTo>
                      <a:pt x="407186" y="920909"/>
                      <a:pt x="388841" y="910455"/>
                      <a:pt x="388841" y="893467"/>
                    </a:cubicBezTo>
                    <a:lnTo>
                      <a:pt x="388841" y="860798"/>
                    </a:lnTo>
                    <a:cubicBezTo>
                      <a:pt x="388841" y="841850"/>
                      <a:pt x="399324" y="823556"/>
                      <a:pt x="415703" y="814408"/>
                    </a:cubicBezTo>
                    <a:lnTo>
                      <a:pt x="811429" y="585073"/>
                    </a:lnTo>
                    <a:cubicBezTo>
                      <a:pt x="815196" y="582787"/>
                      <a:pt x="819250" y="581766"/>
                      <a:pt x="823212" y="581796"/>
                    </a:cubicBezTo>
                    <a:close/>
                    <a:moveTo>
                      <a:pt x="1134380" y="400324"/>
                    </a:moveTo>
                    <a:cubicBezTo>
                      <a:pt x="1146218" y="400415"/>
                      <a:pt x="1157229" y="409949"/>
                      <a:pt x="1157229" y="423149"/>
                    </a:cubicBezTo>
                    <a:lnTo>
                      <a:pt x="1157229" y="460957"/>
                    </a:lnTo>
                    <a:cubicBezTo>
                      <a:pt x="1157229" y="475949"/>
                      <a:pt x="1149398" y="489638"/>
                      <a:pt x="1136348" y="496809"/>
                    </a:cubicBezTo>
                    <a:lnTo>
                      <a:pt x="905358" y="633047"/>
                    </a:lnTo>
                    <a:cubicBezTo>
                      <a:pt x="891002" y="641521"/>
                      <a:pt x="872732" y="631091"/>
                      <a:pt x="872732" y="614143"/>
                    </a:cubicBezTo>
                    <a:lnTo>
                      <a:pt x="872732" y="581550"/>
                    </a:lnTo>
                    <a:cubicBezTo>
                      <a:pt x="872732" y="562646"/>
                      <a:pt x="882520" y="544394"/>
                      <a:pt x="898833" y="535268"/>
                    </a:cubicBezTo>
                    <a:lnTo>
                      <a:pt x="1122645" y="403593"/>
                    </a:lnTo>
                    <a:cubicBezTo>
                      <a:pt x="1126397" y="401312"/>
                      <a:pt x="1130435" y="400293"/>
                      <a:pt x="1134380" y="400324"/>
                    </a:cubicBezTo>
                    <a:close/>
                    <a:moveTo>
                      <a:pt x="523986" y="360306"/>
                    </a:moveTo>
                    <a:cubicBezTo>
                      <a:pt x="535938" y="360152"/>
                      <a:pt x="546604" y="369843"/>
                      <a:pt x="546604" y="383581"/>
                    </a:cubicBezTo>
                    <a:lnTo>
                      <a:pt x="546604" y="420869"/>
                    </a:lnTo>
                    <a:cubicBezTo>
                      <a:pt x="546604" y="435916"/>
                      <a:pt x="538758" y="449654"/>
                      <a:pt x="525682" y="456850"/>
                    </a:cubicBezTo>
                    <a:lnTo>
                      <a:pt x="32693" y="744692"/>
                    </a:lnTo>
                    <a:cubicBezTo>
                      <a:pt x="18308" y="753851"/>
                      <a:pt x="1" y="742730"/>
                      <a:pt x="1" y="725721"/>
                    </a:cubicBezTo>
                    <a:lnTo>
                      <a:pt x="1" y="693666"/>
                    </a:lnTo>
                    <a:cubicBezTo>
                      <a:pt x="1" y="674040"/>
                      <a:pt x="9808" y="656377"/>
                      <a:pt x="26808" y="646564"/>
                    </a:cubicBezTo>
                    <a:lnTo>
                      <a:pt x="511951" y="363955"/>
                    </a:lnTo>
                    <a:cubicBezTo>
                      <a:pt x="515874" y="361502"/>
                      <a:pt x="520001" y="360357"/>
                      <a:pt x="523986" y="360306"/>
                    </a:cubicBezTo>
                    <a:close/>
                    <a:moveTo>
                      <a:pt x="1140373" y="201610"/>
                    </a:moveTo>
                    <a:cubicBezTo>
                      <a:pt x="1152324" y="201733"/>
                      <a:pt x="1162988" y="211416"/>
                      <a:pt x="1162988" y="225144"/>
                    </a:cubicBezTo>
                    <a:lnTo>
                      <a:pt x="1162988" y="262405"/>
                    </a:lnTo>
                    <a:cubicBezTo>
                      <a:pt x="1162988" y="277440"/>
                      <a:pt x="1155797" y="291168"/>
                      <a:pt x="1142723" y="298358"/>
                    </a:cubicBezTo>
                    <a:lnTo>
                      <a:pt x="32687" y="938333"/>
                    </a:lnTo>
                    <a:cubicBezTo>
                      <a:pt x="18304" y="946831"/>
                      <a:pt x="0" y="936372"/>
                      <a:pt x="0" y="919376"/>
                    </a:cubicBezTo>
                    <a:lnTo>
                      <a:pt x="0" y="886691"/>
                    </a:lnTo>
                    <a:cubicBezTo>
                      <a:pt x="0" y="867733"/>
                      <a:pt x="9806" y="849430"/>
                      <a:pt x="26803" y="840278"/>
                    </a:cubicBezTo>
                    <a:lnTo>
                      <a:pt x="1128341" y="204879"/>
                    </a:lnTo>
                    <a:cubicBezTo>
                      <a:pt x="1132263" y="202591"/>
                      <a:pt x="1136390" y="201569"/>
                      <a:pt x="1140373" y="201610"/>
                    </a:cubicBezTo>
                    <a:close/>
                    <a:moveTo>
                      <a:pt x="1131532" y="1"/>
                    </a:moveTo>
                    <a:cubicBezTo>
                      <a:pt x="1143354" y="124"/>
                      <a:pt x="1154350" y="9826"/>
                      <a:pt x="1154350" y="23582"/>
                    </a:cubicBezTo>
                    <a:lnTo>
                      <a:pt x="1154350" y="60918"/>
                    </a:lnTo>
                    <a:cubicBezTo>
                      <a:pt x="1154350" y="75984"/>
                      <a:pt x="1146531" y="89739"/>
                      <a:pt x="1133497" y="97599"/>
                    </a:cubicBezTo>
                    <a:lnTo>
                      <a:pt x="612176" y="405460"/>
                    </a:lnTo>
                    <a:cubicBezTo>
                      <a:pt x="597188" y="413975"/>
                      <a:pt x="578942" y="403495"/>
                      <a:pt x="578942" y="386464"/>
                    </a:cubicBezTo>
                    <a:lnTo>
                      <a:pt x="578942" y="353713"/>
                    </a:lnTo>
                    <a:cubicBezTo>
                      <a:pt x="578942" y="334717"/>
                      <a:pt x="588717" y="317032"/>
                      <a:pt x="606311" y="307206"/>
                    </a:cubicBezTo>
                    <a:lnTo>
                      <a:pt x="1119813" y="3276"/>
                    </a:lnTo>
                    <a:cubicBezTo>
                      <a:pt x="1123560" y="984"/>
                      <a:pt x="1127592" y="-40"/>
                      <a:pt x="11315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3" name="Freeform 27">
                <a:extLst>
                  <a:ext uri="{FF2B5EF4-FFF2-40B4-BE49-F238E27FC236}">
                    <a16:creationId xmlns:a16="http://schemas.microsoft.com/office/drawing/2014/main" id="{D668258D-EA17-2243-A43A-9F0E72F30C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7228" y="2580752"/>
                <a:ext cx="63367" cy="241945"/>
              </a:xfrm>
              <a:custGeom>
                <a:avLst/>
                <a:gdLst>
                  <a:gd name="T0" fmla="*/ 95 w 96"/>
                  <a:gd name="T1" fmla="*/ 371 h 372"/>
                  <a:gd name="T2" fmla="*/ 0 w 96"/>
                  <a:gd name="T3" fmla="*/ 312 h 372"/>
                  <a:gd name="T4" fmla="*/ 0 w 96"/>
                  <a:gd name="T5" fmla="*/ 0 h 372"/>
                  <a:gd name="T6" fmla="*/ 95 w 96"/>
                  <a:gd name="T7" fmla="*/ 58 h 372"/>
                  <a:gd name="T8" fmla="*/ 95 w 96"/>
                  <a:gd name="T9" fmla="*/ 37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372">
                    <a:moveTo>
                      <a:pt x="95" y="371"/>
                    </a:moveTo>
                    <a:lnTo>
                      <a:pt x="0" y="312"/>
                    </a:lnTo>
                    <a:lnTo>
                      <a:pt x="0" y="0"/>
                    </a:lnTo>
                    <a:lnTo>
                      <a:pt x="95" y="58"/>
                    </a:lnTo>
                    <a:lnTo>
                      <a:pt x="95" y="371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4" name="Freeform 28">
                <a:extLst>
                  <a:ext uri="{FF2B5EF4-FFF2-40B4-BE49-F238E27FC236}">
                    <a16:creationId xmlns:a16="http://schemas.microsoft.com/office/drawing/2014/main" id="{B2CF948B-2336-B941-A29E-E7361B2A1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47" y="987946"/>
                <a:ext cx="167058" cy="241945"/>
              </a:xfrm>
              <a:custGeom>
                <a:avLst/>
                <a:gdLst>
                  <a:gd name="T0" fmla="*/ 253 w 254"/>
                  <a:gd name="T1" fmla="*/ 370 h 371"/>
                  <a:gd name="T2" fmla="*/ 0 w 254"/>
                  <a:gd name="T3" fmla="*/ 219 h 371"/>
                  <a:gd name="T4" fmla="*/ 158 w 254"/>
                  <a:gd name="T5" fmla="*/ 0 h 371"/>
                  <a:gd name="T6" fmla="*/ 253 w 254"/>
                  <a:gd name="T7" fmla="*/ 58 h 371"/>
                  <a:gd name="T8" fmla="*/ 253 w 254"/>
                  <a:gd name="T9" fmla="*/ 37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71">
                    <a:moveTo>
                      <a:pt x="253" y="370"/>
                    </a:moveTo>
                    <a:lnTo>
                      <a:pt x="0" y="219"/>
                    </a:lnTo>
                    <a:lnTo>
                      <a:pt x="158" y="0"/>
                    </a:lnTo>
                    <a:lnTo>
                      <a:pt x="253" y="58"/>
                    </a:lnTo>
                    <a:lnTo>
                      <a:pt x="253" y="370"/>
                    </a:lnTo>
                  </a:path>
                </a:pathLst>
              </a:custGeom>
              <a:solidFill>
                <a:srgbClr val="2D99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5" name="Freeform 29">
                <a:extLst>
                  <a:ext uri="{FF2B5EF4-FFF2-40B4-BE49-F238E27FC236}">
                    <a16:creationId xmlns:a16="http://schemas.microsoft.com/office/drawing/2014/main" id="{FA81FE9D-B40B-C04C-BAF1-EA73F15EC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8424" y="967783"/>
                <a:ext cx="1486236" cy="1837633"/>
              </a:xfrm>
              <a:custGeom>
                <a:avLst/>
                <a:gdLst>
                  <a:gd name="T0" fmla="*/ 1999 w 2275"/>
                  <a:gd name="T1" fmla="*/ 1499 h 2815"/>
                  <a:gd name="T2" fmla="*/ 119 w 2275"/>
                  <a:gd name="T3" fmla="*/ 2783 h 2815"/>
                  <a:gd name="T4" fmla="*/ 119 w 2275"/>
                  <a:gd name="T5" fmla="*/ 2783 h 2815"/>
                  <a:gd name="T6" fmla="*/ 0 w 2275"/>
                  <a:gd name="T7" fmla="*/ 2714 h 2815"/>
                  <a:gd name="T8" fmla="*/ 0 w 2275"/>
                  <a:gd name="T9" fmla="*/ 1428 h 2815"/>
                  <a:gd name="T10" fmla="*/ 0 w 2275"/>
                  <a:gd name="T11" fmla="*/ 1428 h 2815"/>
                  <a:gd name="T12" fmla="*/ 118 w 2275"/>
                  <a:gd name="T13" fmla="*/ 1222 h 2815"/>
                  <a:gd name="T14" fmla="*/ 2155 w 2275"/>
                  <a:gd name="T15" fmla="*/ 31 h 2815"/>
                  <a:gd name="T16" fmla="*/ 2155 w 2275"/>
                  <a:gd name="T17" fmla="*/ 31 h 2815"/>
                  <a:gd name="T18" fmla="*/ 2274 w 2275"/>
                  <a:gd name="T19" fmla="*/ 99 h 2815"/>
                  <a:gd name="T20" fmla="*/ 2116 w 2275"/>
                  <a:gd name="T21" fmla="*/ 1293 h 2815"/>
                  <a:gd name="T22" fmla="*/ 2116 w 2275"/>
                  <a:gd name="T23" fmla="*/ 1293 h 2815"/>
                  <a:gd name="T24" fmla="*/ 1999 w 2275"/>
                  <a:gd name="T25" fmla="*/ 149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5" h="2815">
                    <a:moveTo>
                      <a:pt x="1999" y="1499"/>
                    </a:moveTo>
                    <a:lnTo>
                      <a:pt x="119" y="2783"/>
                    </a:lnTo>
                    <a:lnTo>
                      <a:pt x="119" y="2783"/>
                    </a:lnTo>
                    <a:cubicBezTo>
                      <a:pt x="66" y="2814"/>
                      <a:pt x="0" y="2776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4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4" y="38"/>
                      <a:pt x="2274" y="99"/>
                    </a:cubicBezTo>
                    <a:lnTo>
                      <a:pt x="2116" y="1293"/>
                    </a:lnTo>
                    <a:lnTo>
                      <a:pt x="2116" y="1293"/>
                    </a:lnTo>
                    <a:cubicBezTo>
                      <a:pt x="2116" y="1378"/>
                      <a:pt x="2072" y="1456"/>
                      <a:pt x="1999" y="1499"/>
                    </a:cubicBez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6" name="Freeform 30">
                <a:extLst>
                  <a:ext uri="{FF2B5EF4-FFF2-40B4-BE49-F238E27FC236}">
                    <a16:creationId xmlns:a16="http://schemas.microsoft.com/office/drawing/2014/main" id="{F549B325-9330-244E-ADC3-737232BEF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81791" y="1005228"/>
                <a:ext cx="1486236" cy="1837633"/>
              </a:xfrm>
              <a:custGeom>
                <a:avLst/>
                <a:gdLst>
                  <a:gd name="T0" fmla="*/ 2156 w 2276"/>
                  <a:gd name="T1" fmla="*/ 1591 h 2814"/>
                  <a:gd name="T2" fmla="*/ 119 w 2276"/>
                  <a:gd name="T3" fmla="*/ 2782 h 2814"/>
                  <a:gd name="T4" fmla="*/ 119 w 2276"/>
                  <a:gd name="T5" fmla="*/ 2782 h 2814"/>
                  <a:gd name="T6" fmla="*/ 0 w 2276"/>
                  <a:gd name="T7" fmla="*/ 2714 h 2814"/>
                  <a:gd name="T8" fmla="*/ 0 w 2276"/>
                  <a:gd name="T9" fmla="*/ 1428 h 2814"/>
                  <a:gd name="T10" fmla="*/ 0 w 2276"/>
                  <a:gd name="T11" fmla="*/ 1428 h 2814"/>
                  <a:gd name="T12" fmla="*/ 118 w 2276"/>
                  <a:gd name="T13" fmla="*/ 1222 h 2814"/>
                  <a:gd name="T14" fmla="*/ 2155 w 2276"/>
                  <a:gd name="T15" fmla="*/ 31 h 2814"/>
                  <a:gd name="T16" fmla="*/ 2155 w 2276"/>
                  <a:gd name="T17" fmla="*/ 31 h 2814"/>
                  <a:gd name="T18" fmla="*/ 2275 w 2276"/>
                  <a:gd name="T19" fmla="*/ 99 h 2814"/>
                  <a:gd name="T20" fmla="*/ 2275 w 2276"/>
                  <a:gd name="T21" fmla="*/ 1385 h 2814"/>
                  <a:gd name="T22" fmla="*/ 2275 w 2276"/>
                  <a:gd name="T23" fmla="*/ 1385 h 2814"/>
                  <a:gd name="T24" fmla="*/ 2156 w 2276"/>
                  <a:gd name="T25" fmla="*/ 1591 h 2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76" h="2814">
                    <a:moveTo>
                      <a:pt x="2156" y="1591"/>
                    </a:moveTo>
                    <a:lnTo>
                      <a:pt x="119" y="2782"/>
                    </a:lnTo>
                    <a:lnTo>
                      <a:pt x="119" y="2782"/>
                    </a:lnTo>
                    <a:cubicBezTo>
                      <a:pt x="67" y="2813"/>
                      <a:pt x="0" y="2775"/>
                      <a:pt x="0" y="2714"/>
                    </a:cubicBezTo>
                    <a:lnTo>
                      <a:pt x="0" y="1428"/>
                    </a:lnTo>
                    <a:lnTo>
                      <a:pt x="0" y="1428"/>
                    </a:lnTo>
                    <a:cubicBezTo>
                      <a:pt x="0" y="1343"/>
                      <a:pt x="45" y="1265"/>
                      <a:pt x="118" y="1222"/>
                    </a:cubicBezTo>
                    <a:lnTo>
                      <a:pt x="2155" y="31"/>
                    </a:lnTo>
                    <a:lnTo>
                      <a:pt x="2155" y="31"/>
                    </a:lnTo>
                    <a:cubicBezTo>
                      <a:pt x="2208" y="0"/>
                      <a:pt x="2275" y="38"/>
                      <a:pt x="2275" y="99"/>
                    </a:cubicBezTo>
                    <a:lnTo>
                      <a:pt x="2275" y="1385"/>
                    </a:lnTo>
                    <a:lnTo>
                      <a:pt x="2275" y="1385"/>
                    </a:lnTo>
                    <a:cubicBezTo>
                      <a:pt x="2275" y="1470"/>
                      <a:pt x="2229" y="1548"/>
                      <a:pt x="2156" y="1591"/>
                    </a:cubicBez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7" name="Freeform 31">
                <a:extLst>
                  <a:ext uri="{FF2B5EF4-FFF2-40B4-BE49-F238E27FC236}">
                    <a16:creationId xmlns:a16="http://schemas.microsoft.com/office/drawing/2014/main" id="{3F0B44B6-9D89-9A44-BAEB-9F9C56F5B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394067"/>
                <a:ext cx="1163642" cy="751760"/>
              </a:xfrm>
              <a:custGeom>
                <a:avLst/>
                <a:gdLst>
                  <a:gd name="T0" fmla="*/ 1748 w 1781"/>
                  <a:gd name="T1" fmla="*/ 157 h 1149"/>
                  <a:gd name="T2" fmla="*/ 50 w 1781"/>
                  <a:gd name="T3" fmla="*/ 1136 h 1149"/>
                  <a:gd name="T4" fmla="*/ 50 w 1781"/>
                  <a:gd name="T5" fmla="*/ 1136 h 1149"/>
                  <a:gd name="T6" fmla="*/ 0 w 1781"/>
                  <a:gd name="T7" fmla="*/ 1106 h 1149"/>
                  <a:gd name="T8" fmla="*/ 0 w 1781"/>
                  <a:gd name="T9" fmla="*/ 1057 h 1149"/>
                  <a:gd name="T10" fmla="*/ 0 w 1781"/>
                  <a:gd name="T11" fmla="*/ 1057 h 1149"/>
                  <a:gd name="T12" fmla="*/ 41 w 1781"/>
                  <a:gd name="T13" fmla="*/ 985 h 1149"/>
                  <a:gd name="T14" fmla="*/ 1727 w 1781"/>
                  <a:gd name="T15" fmla="*/ 14 h 1149"/>
                  <a:gd name="T16" fmla="*/ 1727 w 1781"/>
                  <a:gd name="T17" fmla="*/ 14 h 1149"/>
                  <a:gd name="T18" fmla="*/ 1780 w 1781"/>
                  <a:gd name="T19" fmla="*/ 44 h 1149"/>
                  <a:gd name="T20" fmla="*/ 1780 w 1781"/>
                  <a:gd name="T21" fmla="*/ 102 h 1149"/>
                  <a:gd name="T22" fmla="*/ 1780 w 1781"/>
                  <a:gd name="T23" fmla="*/ 102 h 1149"/>
                  <a:gd name="T24" fmla="*/ 1748 w 1781"/>
                  <a:gd name="T25" fmla="*/ 157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7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6"/>
                      <a:pt x="1780" y="44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4"/>
                      <a:pt x="1768" y="145"/>
                      <a:pt x="1748" y="15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8" name="Freeform 32">
                <a:extLst>
                  <a:ext uri="{FF2B5EF4-FFF2-40B4-BE49-F238E27FC236}">
                    <a16:creationId xmlns:a16="http://schemas.microsoft.com/office/drawing/2014/main" id="{9541A427-386E-7C4F-BC6D-BBE0F0650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592810"/>
                <a:ext cx="1163642" cy="751758"/>
              </a:xfrm>
              <a:custGeom>
                <a:avLst/>
                <a:gdLst>
                  <a:gd name="T0" fmla="*/ 1748 w 1781"/>
                  <a:gd name="T1" fmla="*/ 156 h 1149"/>
                  <a:gd name="T2" fmla="*/ 50 w 1781"/>
                  <a:gd name="T3" fmla="*/ 1135 h 1149"/>
                  <a:gd name="T4" fmla="*/ 50 w 1781"/>
                  <a:gd name="T5" fmla="*/ 1135 h 1149"/>
                  <a:gd name="T6" fmla="*/ 0 w 1781"/>
                  <a:gd name="T7" fmla="*/ 1106 h 1149"/>
                  <a:gd name="T8" fmla="*/ 0 w 1781"/>
                  <a:gd name="T9" fmla="*/ 1056 h 1149"/>
                  <a:gd name="T10" fmla="*/ 0 w 1781"/>
                  <a:gd name="T11" fmla="*/ 1056 h 1149"/>
                  <a:gd name="T12" fmla="*/ 41 w 1781"/>
                  <a:gd name="T13" fmla="*/ 985 h 1149"/>
                  <a:gd name="T14" fmla="*/ 1727 w 1781"/>
                  <a:gd name="T15" fmla="*/ 13 h 1149"/>
                  <a:gd name="T16" fmla="*/ 1727 w 1781"/>
                  <a:gd name="T17" fmla="*/ 13 h 1149"/>
                  <a:gd name="T18" fmla="*/ 1780 w 1781"/>
                  <a:gd name="T19" fmla="*/ 44 h 1149"/>
                  <a:gd name="T20" fmla="*/ 1780 w 1781"/>
                  <a:gd name="T21" fmla="*/ 101 h 1149"/>
                  <a:gd name="T22" fmla="*/ 1780 w 1781"/>
                  <a:gd name="T23" fmla="*/ 101 h 1149"/>
                  <a:gd name="T24" fmla="*/ 1748 w 1781"/>
                  <a:gd name="T25" fmla="*/ 156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49">
                    <a:moveTo>
                      <a:pt x="1748" y="156"/>
                    </a:moveTo>
                    <a:lnTo>
                      <a:pt x="50" y="1135"/>
                    </a:lnTo>
                    <a:lnTo>
                      <a:pt x="50" y="1135"/>
                    </a:lnTo>
                    <a:cubicBezTo>
                      <a:pt x="28" y="1148"/>
                      <a:pt x="0" y="1132"/>
                      <a:pt x="0" y="1106"/>
                    </a:cubicBezTo>
                    <a:lnTo>
                      <a:pt x="0" y="1056"/>
                    </a:lnTo>
                    <a:lnTo>
                      <a:pt x="0" y="1056"/>
                    </a:lnTo>
                    <a:cubicBezTo>
                      <a:pt x="0" y="1027"/>
                      <a:pt x="16" y="1000"/>
                      <a:pt x="41" y="985"/>
                    </a:cubicBezTo>
                    <a:lnTo>
                      <a:pt x="1727" y="13"/>
                    </a:lnTo>
                    <a:lnTo>
                      <a:pt x="1727" y="13"/>
                    </a:lnTo>
                    <a:cubicBezTo>
                      <a:pt x="1750" y="0"/>
                      <a:pt x="1780" y="17"/>
                      <a:pt x="1780" y="44"/>
                    </a:cubicBezTo>
                    <a:lnTo>
                      <a:pt x="1780" y="101"/>
                    </a:lnTo>
                    <a:lnTo>
                      <a:pt x="1780" y="101"/>
                    </a:lnTo>
                    <a:cubicBezTo>
                      <a:pt x="1780" y="124"/>
                      <a:pt x="1768" y="145"/>
                      <a:pt x="1748" y="156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29" name="Freeform 33">
                <a:extLst>
                  <a:ext uri="{FF2B5EF4-FFF2-40B4-BE49-F238E27FC236}">
                    <a16:creationId xmlns:a16="http://schemas.microsoft.com/office/drawing/2014/main" id="{2ACEA126-EC48-764D-AB93-602D849C10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60370" y="1788671"/>
                <a:ext cx="1163642" cy="751758"/>
              </a:xfrm>
              <a:custGeom>
                <a:avLst/>
                <a:gdLst>
                  <a:gd name="T0" fmla="*/ 1748 w 1781"/>
                  <a:gd name="T1" fmla="*/ 158 h 1150"/>
                  <a:gd name="T2" fmla="*/ 50 w 1781"/>
                  <a:gd name="T3" fmla="*/ 1136 h 1150"/>
                  <a:gd name="T4" fmla="*/ 50 w 1781"/>
                  <a:gd name="T5" fmla="*/ 1136 h 1150"/>
                  <a:gd name="T6" fmla="*/ 0 w 1781"/>
                  <a:gd name="T7" fmla="*/ 1107 h 1150"/>
                  <a:gd name="T8" fmla="*/ 0 w 1781"/>
                  <a:gd name="T9" fmla="*/ 1057 h 1150"/>
                  <a:gd name="T10" fmla="*/ 0 w 1781"/>
                  <a:gd name="T11" fmla="*/ 1057 h 1150"/>
                  <a:gd name="T12" fmla="*/ 41 w 1781"/>
                  <a:gd name="T13" fmla="*/ 986 h 1150"/>
                  <a:gd name="T14" fmla="*/ 1727 w 1781"/>
                  <a:gd name="T15" fmla="*/ 14 h 1150"/>
                  <a:gd name="T16" fmla="*/ 1727 w 1781"/>
                  <a:gd name="T17" fmla="*/ 14 h 1150"/>
                  <a:gd name="T18" fmla="*/ 1780 w 1781"/>
                  <a:gd name="T19" fmla="*/ 45 h 1150"/>
                  <a:gd name="T20" fmla="*/ 1780 w 1781"/>
                  <a:gd name="T21" fmla="*/ 102 h 1150"/>
                  <a:gd name="T22" fmla="*/ 1780 w 1781"/>
                  <a:gd name="T23" fmla="*/ 102 h 1150"/>
                  <a:gd name="T24" fmla="*/ 1748 w 1781"/>
                  <a:gd name="T25" fmla="*/ 158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81" h="1150">
                    <a:moveTo>
                      <a:pt x="1748" y="158"/>
                    </a:moveTo>
                    <a:lnTo>
                      <a:pt x="50" y="1136"/>
                    </a:lnTo>
                    <a:lnTo>
                      <a:pt x="50" y="1136"/>
                    </a:lnTo>
                    <a:cubicBezTo>
                      <a:pt x="28" y="1149"/>
                      <a:pt x="0" y="1133"/>
                      <a:pt x="0" y="1107"/>
                    </a:cubicBezTo>
                    <a:lnTo>
                      <a:pt x="0" y="1057"/>
                    </a:lnTo>
                    <a:lnTo>
                      <a:pt x="0" y="1057"/>
                    </a:lnTo>
                    <a:cubicBezTo>
                      <a:pt x="0" y="1028"/>
                      <a:pt x="16" y="1000"/>
                      <a:pt x="41" y="986"/>
                    </a:cubicBezTo>
                    <a:lnTo>
                      <a:pt x="1727" y="14"/>
                    </a:lnTo>
                    <a:lnTo>
                      <a:pt x="1727" y="14"/>
                    </a:lnTo>
                    <a:cubicBezTo>
                      <a:pt x="1750" y="0"/>
                      <a:pt x="1780" y="17"/>
                      <a:pt x="1780" y="45"/>
                    </a:cubicBezTo>
                    <a:lnTo>
                      <a:pt x="1780" y="102"/>
                    </a:lnTo>
                    <a:lnTo>
                      <a:pt x="1780" y="102"/>
                    </a:lnTo>
                    <a:cubicBezTo>
                      <a:pt x="1780" y="125"/>
                      <a:pt x="1768" y="146"/>
                      <a:pt x="1748" y="158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id="{B124C156-6A19-0D42-A531-8CBD9F9E4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992" y="5518661"/>
                <a:ext cx="8818832" cy="7087772"/>
              </a:xfrm>
              <a:custGeom>
                <a:avLst/>
                <a:gdLst>
                  <a:gd name="connsiteX0" fmla="*/ 8818832 w 8818832"/>
                  <a:gd name="connsiteY0" fmla="*/ 0 h 7087772"/>
                  <a:gd name="connsiteX1" fmla="*/ 8818832 w 8818832"/>
                  <a:gd name="connsiteY1" fmla="*/ 305699 h 7087772"/>
                  <a:gd name="connsiteX2" fmla="*/ 8693430 w 8818832"/>
                  <a:gd name="connsiteY2" fmla="*/ 522561 h 7087772"/>
                  <a:gd name="connsiteX3" fmla="*/ 3478156 w 8818832"/>
                  <a:gd name="connsiteY3" fmla="*/ 3634413 h 7087772"/>
                  <a:gd name="connsiteX4" fmla="*/ 3154855 w 8818832"/>
                  <a:gd name="connsiteY4" fmla="*/ 3630494 h 7087772"/>
                  <a:gd name="connsiteX5" fmla="*/ 3014646 w 8818832"/>
                  <a:gd name="connsiteY5" fmla="*/ 3551234 h 7087772"/>
                  <a:gd name="connsiteX6" fmla="*/ 2271089 w 8818832"/>
                  <a:gd name="connsiteY6" fmla="*/ 7087772 h 7087772"/>
                  <a:gd name="connsiteX7" fmla="*/ 2137185 w 8818832"/>
                  <a:gd name="connsiteY7" fmla="*/ 7007459 h 7087772"/>
                  <a:gd name="connsiteX8" fmla="*/ 2869230 w 8818832"/>
                  <a:gd name="connsiteY8" fmla="*/ 3469030 h 7087772"/>
                  <a:gd name="connsiteX9" fmla="*/ 868604 w 8818832"/>
                  <a:gd name="connsiteY9" fmla="*/ 2338080 h 7087772"/>
                  <a:gd name="connsiteX10" fmla="*/ 134557 w 8818832"/>
                  <a:gd name="connsiteY10" fmla="*/ 5831960 h 7087772"/>
                  <a:gd name="connsiteX11" fmla="*/ 0 w 8818832"/>
                  <a:gd name="connsiteY11" fmla="*/ 5751647 h 7087772"/>
                  <a:gd name="connsiteX12" fmla="*/ 723217 w 8818832"/>
                  <a:gd name="connsiteY12" fmla="*/ 2255893 h 7087772"/>
                  <a:gd name="connsiteX13" fmla="*/ 622002 w 8818832"/>
                  <a:gd name="connsiteY13" fmla="*/ 2198676 h 7087772"/>
                  <a:gd name="connsiteX14" fmla="*/ 501172 w 8818832"/>
                  <a:gd name="connsiteY14" fmla="*/ 1985080 h 7087772"/>
                  <a:gd name="connsiteX15" fmla="*/ 501172 w 8818832"/>
                  <a:gd name="connsiteY15" fmla="*/ 1736863 h 7087772"/>
                  <a:gd name="connsiteX16" fmla="*/ 796594 w 8818832"/>
                  <a:gd name="connsiteY16" fmla="*/ 1901217 h 7087772"/>
                  <a:gd name="connsiteX17" fmla="*/ 868741 w 8818832"/>
                  <a:gd name="connsiteY17" fmla="*/ 1552484 h 7087772"/>
                  <a:gd name="connsiteX18" fmla="*/ 1018974 w 8818832"/>
                  <a:gd name="connsiteY18" fmla="*/ 1622351 h 7087772"/>
                  <a:gd name="connsiteX19" fmla="*/ 943245 w 8818832"/>
                  <a:gd name="connsiteY19" fmla="*/ 1982804 h 7087772"/>
                  <a:gd name="connsiteX20" fmla="*/ 2946175 w 8818832"/>
                  <a:gd name="connsiteY20" fmla="*/ 3097104 h 7087772"/>
                  <a:gd name="connsiteX21" fmla="*/ 3005925 w 8818832"/>
                  <a:gd name="connsiteY21" fmla="*/ 2808296 h 7087772"/>
                  <a:gd name="connsiteX22" fmla="*/ 3156159 w 8818832"/>
                  <a:gd name="connsiteY22" fmla="*/ 2878162 h 7087772"/>
                  <a:gd name="connsiteX23" fmla="*/ 3092958 w 8818832"/>
                  <a:gd name="connsiteY23" fmla="*/ 3178764 h 7087772"/>
                  <a:gd name="connsiteX24" fmla="*/ 3315526 w 8818832"/>
                  <a:gd name="connsiteY24" fmla="*/ 3302587 h 7087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818832" h="7087772">
                    <a:moveTo>
                      <a:pt x="8818832" y="0"/>
                    </a:moveTo>
                    <a:lnTo>
                      <a:pt x="8818832" y="305699"/>
                    </a:lnTo>
                    <a:cubicBezTo>
                      <a:pt x="8818832" y="395840"/>
                      <a:pt x="8770500" y="478144"/>
                      <a:pt x="8693430" y="522561"/>
                    </a:cubicBezTo>
                    <a:lnTo>
                      <a:pt x="3478156" y="3634413"/>
                    </a:lnTo>
                    <a:cubicBezTo>
                      <a:pt x="3377573" y="3691895"/>
                      <a:pt x="3254131" y="3689935"/>
                      <a:pt x="3154855" y="3630494"/>
                    </a:cubicBezTo>
                    <a:lnTo>
                      <a:pt x="3014646" y="3551234"/>
                    </a:lnTo>
                    <a:lnTo>
                      <a:pt x="2271089" y="7087772"/>
                    </a:lnTo>
                    <a:lnTo>
                      <a:pt x="2137185" y="7007459"/>
                    </a:lnTo>
                    <a:lnTo>
                      <a:pt x="2869230" y="3469030"/>
                    </a:lnTo>
                    <a:lnTo>
                      <a:pt x="868604" y="2338080"/>
                    </a:lnTo>
                    <a:lnTo>
                      <a:pt x="134557" y="5831960"/>
                    </a:lnTo>
                    <a:lnTo>
                      <a:pt x="0" y="5751647"/>
                    </a:lnTo>
                    <a:lnTo>
                      <a:pt x="723217" y="2255893"/>
                    </a:lnTo>
                    <a:lnTo>
                      <a:pt x="622002" y="2198676"/>
                    </a:lnTo>
                    <a:cubicBezTo>
                      <a:pt x="546892" y="2154259"/>
                      <a:pt x="501172" y="2072609"/>
                      <a:pt x="501172" y="1985080"/>
                    </a:cubicBezTo>
                    <a:lnTo>
                      <a:pt x="501172" y="1736863"/>
                    </a:lnTo>
                    <a:lnTo>
                      <a:pt x="796594" y="1901217"/>
                    </a:lnTo>
                    <a:lnTo>
                      <a:pt x="868741" y="1552484"/>
                    </a:lnTo>
                    <a:lnTo>
                      <a:pt x="1018974" y="1622351"/>
                    </a:lnTo>
                    <a:lnTo>
                      <a:pt x="943245" y="1982804"/>
                    </a:lnTo>
                    <a:lnTo>
                      <a:pt x="2946175" y="3097104"/>
                    </a:lnTo>
                    <a:lnTo>
                      <a:pt x="3005925" y="2808296"/>
                    </a:lnTo>
                    <a:lnTo>
                      <a:pt x="3156159" y="2878162"/>
                    </a:lnTo>
                    <a:lnTo>
                      <a:pt x="3092958" y="3178764"/>
                    </a:lnTo>
                    <a:lnTo>
                      <a:pt x="3315526" y="330258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1" name="Freeform 35">
                <a:extLst>
                  <a:ext uri="{FF2B5EF4-FFF2-40B4-BE49-F238E27FC236}">
                    <a16:creationId xmlns:a16="http://schemas.microsoft.com/office/drawing/2014/main" id="{6D8A4712-1348-EE42-8962-1E3545A3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467" y="5596429"/>
                <a:ext cx="5440892" cy="3568694"/>
              </a:xfrm>
              <a:custGeom>
                <a:avLst/>
                <a:gdLst>
                  <a:gd name="T0" fmla="*/ 194 w 8328"/>
                  <a:gd name="T1" fmla="*/ 4972 h 5464"/>
                  <a:gd name="T2" fmla="*/ 8327 w 8328"/>
                  <a:gd name="T3" fmla="*/ 0 h 5464"/>
                  <a:gd name="T4" fmla="*/ 8327 w 8328"/>
                  <a:gd name="T5" fmla="*/ 334 h 5464"/>
                  <a:gd name="T6" fmla="*/ 8327 w 8328"/>
                  <a:gd name="T7" fmla="*/ 334 h 5464"/>
                  <a:gd name="T8" fmla="*/ 8123 w 8328"/>
                  <a:gd name="T9" fmla="*/ 686 h 5464"/>
                  <a:gd name="T10" fmla="*/ 217 w 8328"/>
                  <a:gd name="T11" fmla="*/ 5404 h 5464"/>
                  <a:gd name="T12" fmla="*/ 217 w 8328"/>
                  <a:gd name="T13" fmla="*/ 5404 h 5464"/>
                  <a:gd name="T14" fmla="*/ 215 w 8328"/>
                  <a:gd name="T15" fmla="*/ 5406 h 5464"/>
                  <a:gd name="T16" fmla="*/ 215 w 8328"/>
                  <a:gd name="T17" fmla="*/ 5406 h 5464"/>
                  <a:gd name="T18" fmla="*/ 0 w 8328"/>
                  <a:gd name="T19" fmla="*/ 5285 h 5464"/>
                  <a:gd name="T20" fmla="*/ 0 w 8328"/>
                  <a:gd name="T21" fmla="*/ 5148 h 5464"/>
                  <a:gd name="T22" fmla="*/ 0 w 8328"/>
                  <a:gd name="T23" fmla="*/ 5148 h 5464"/>
                  <a:gd name="T24" fmla="*/ 184 w 8328"/>
                  <a:gd name="T25" fmla="*/ 4977 h 5464"/>
                  <a:gd name="T26" fmla="*/ 194 w 8328"/>
                  <a:gd name="T27" fmla="*/ 4972 h 5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28" h="5464">
                    <a:moveTo>
                      <a:pt x="194" y="4972"/>
                    </a:moveTo>
                    <a:lnTo>
                      <a:pt x="8327" y="0"/>
                    </a:lnTo>
                    <a:lnTo>
                      <a:pt x="8327" y="334"/>
                    </a:lnTo>
                    <a:lnTo>
                      <a:pt x="8327" y="334"/>
                    </a:lnTo>
                    <a:cubicBezTo>
                      <a:pt x="8327" y="479"/>
                      <a:pt x="8249" y="614"/>
                      <a:pt x="8123" y="686"/>
                    </a:cubicBezTo>
                    <a:lnTo>
                      <a:pt x="217" y="5404"/>
                    </a:lnTo>
                    <a:lnTo>
                      <a:pt x="217" y="5404"/>
                    </a:lnTo>
                    <a:cubicBezTo>
                      <a:pt x="217" y="5405"/>
                      <a:pt x="216" y="5405"/>
                      <a:pt x="215" y="5406"/>
                    </a:cubicBezTo>
                    <a:lnTo>
                      <a:pt x="215" y="5406"/>
                    </a:lnTo>
                    <a:cubicBezTo>
                      <a:pt x="121" y="5463"/>
                      <a:pt x="0" y="5395"/>
                      <a:pt x="0" y="5285"/>
                    </a:cubicBezTo>
                    <a:lnTo>
                      <a:pt x="0" y="5148"/>
                    </a:lnTo>
                    <a:lnTo>
                      <a:pt x="0" y="5148"/>
                    </a:lnTo>
                    <a:cubicBezTo>
                      <a:pt x="0" y="5017"/>
                      <a:pt x="71" y="5042"/>
                      <a:pt x="184" y="4977"/>
                    </a:cubicBezTo>
                    <a:lnTo>
                      <a:pt x="194" y="497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2" name="Freeform 36">
                <a:extLst>
                  <a:ext uri="{FF2B5EF4-FFF2-40B4-BE49-F238E27FC236}">
                    <a16:creationId xmlns:a16="http://schemas.microsoft.com/office/drawing/2014/main" id="{87A5B1FA-A606-6A4A-9DF2-2B47508F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67202" y="5337203"/>
                <a:ext cx="8505532" cy="3554293"/>
              </a:xfrm>
              <a:custGeom>
                <a:avLst/>
                <a:gdLst>
                  <a:gd name="T0" fmla="*/ 4868 w 13020"/>
                  <a:gd name="T1" fmla="*/ 4875 h 5440"/>
                  <a:gd name="T2" fmla="*/ 13019 w 13020"/>
                  <a:gd name="T3" fmla="*/ 0 h 5440"/>
                  <a:gd name="T4" fmla="*/ 13019 w 13020"/>
                  <a:gd name="T5" fmla="*/ 273 h 5440"/>
                  <a:gd name="T6" fmla="*/ 13019 w 13020"/>
                  <a:gd name="T7" fmla="*/ 273 h 5440"/>
                  <a:gd name="T8" fmla="*/ 12921 w 13020"/>
                  <a:gd name="T9" fmla="*/ 441 h 5440"/>
                  <a:gd name="T10" fmla="*/ 4679 w 13020"/>
                  <a:gd name="T11" fmla="*/ 5372 h 5440"/>
                  <a:gd name="T12" fmla="*/ 4679 w 13020"/>
                  <a:gd name="T13" fmla="*/ 5372 h 5440"/>
                  <a:gd name="T14" fmla="*/ 4301 w 13020"/>
                  <a:gd name="T15" fmla="*/ 5366 h 5440"/>
                  <a:gd name="T16" fmla="*/ 78 w 13020"/>
                  <a:gd name="T17" fmla="*/ 3014 h 5440"/>
                  <a:gd name="T18" fmla="*/ 78 w 13020"/>
                  <a:gd name="T19" fmla="*/ 3014 h 5440"/>
                  <a:gd name="T20" fmla="*/ 3 w 13020"/>
                  <a:gd name="T21" fmla="*/ 2882 h 5440"/>
                  <a:gd name="T22" fmla="*/ 2 w 13020"/>
                  <a:gd name="T23" fmla="*/ 2763 h 5440"/>
                  <a:gd name="T24" fmla="*/ 2 w 13020"/>
                  <a:gd name="T25" fmla="*/ 2763 h 5440"/>
                  <a:gd name="T26" fmla="*/ 97 w 13020"/>
                  <a:gd name="T27" fmla="*/ 2463 h 5440"/>
                  <a:gd name="T28" fmla="*/ 4102 w 13020"/>
                  <a:gd name="T29" fmla="*/ 4866 h 5440"/>
                  <a:gd name="T30" fmla="*/ 4102 w 13020"/>
                  <a:gd name="T31" fmla="*/ 4866 h 5440"/>
                  <a:gd name="T32" fmla="*/ 4868 w 13020"/>
                  <a:gd name="T33" fmla="*/ 4875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020" h="5440">
                    <a:moveTo>
                      <a:pt x="4868" y="4875"/>
                    </a:moveTo>
                    <a:lnTo>
                      <a:pt x="13019" y="0"/>
                    </a:lnTo>
                    <a:lnTo>
                      <a:pt x="13019" y="273"/>
                    </a:lnTo>
                    <a:lnTo>
                      <a:pt x="13019" y="273"/>
                    </a:lnTo>
                    <a:cubicBezTo>
                      <a:pt x="13019" y="343"/>
                      <a:pt x="12982" y="407"/>
                      <a:pt x="12921" y="441"/>
                    </a:cubicBezTo>
                    <a:lnTo>
                      <a:pt x="4679" y="5372"/>
                    </a:lnTo>
                    <a:lnTo>
                      <a:pt x="4679" y="5372"/>
                    </a:lnTo>
                    <a:cubicBezTo>
                      <a:pt x="4562" y="5439"/>
                      <a:pt x="4417" y="5437"/>
                      <a:pt x="4301" y="5366"/>
                    </a:cubicBezTo>
                    <a:lnTo>
                      <a:pt x="78" y="3014"/>
                    </a:lnTo>
                    <a:lnTo>
                      <a:pt x="78" y="3014"/>
                    </a:lnTo>
                    <a:cubicBezTo>
                      <a:pt x="32" y="2986"/>
                      <a:pt x="4" y="2936"/>
                      <a:pt x="3" y="2882"/>
                    </a:cubicBezTo>
                    <a:lnTo>
                      <a:pt x="2" y="2763"/>
                    </a:lnTo>
                    <a:lnTo>
                      <a:pt x="2" y="2763"/>
                    </a:lnTo>
                    <a:cubicBezTo>
                      <a:pt x="0" y="2655"/>
                      <a:pt x="34" y="2550"/>
                      <a:pt x="97" y="2463"/>
                    </a:cubicBezTo>
                    <a:lnTo>
                      <a:pt x="4102" y="4866"/>
                    </a:lnTo>
                    <a:lnTo>
                      <a:pt x="4102" y="4866"/>
                    </a:lnTo>
                    <a:cubicBezTo>
                      <a:pt x="4337" y="5007"/>
                      <a:pt x="4630" y="5011"/>
                      <a:pt x="4868" y="487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3" name="Freeform 37">
                <a:extLst>
                  <a:ext uri="{FF2B5EF4-FFF2-40B4-BE49-F238E27FC236}">
                    <a16:creationId xmlns:a16="http://schemas.microsoft.com/office/drawing/2014/main" id="{470657A9-92A2-954C-A7EF-112B9B84D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4483" y="3574457"/>
                <a:ext cx="8505532" cy="5112536"/>
              </a:xfrm>
              <a:custGeom>
                <a:avLst/>
                <a:gdLst>
                  <a:gd name="T0" fmla="*/ 8526 w 13020"/>
                  <a:gd name="T1" fmla="*/ 32 h 7826"/>
                  <a:gd name="T2" fmla="*/ 12907 w 13020"/>
                  <a:gd name="T3" fmla="*/ 2553 h 7826"/>
                  <a:gd name="T4" fmla="*/ 12907 w 13020"/>
                  <a:gd name="T5" fmla="*/ 2553 h 7826"/>
                  <a:gd name="T6" fmla="*/ 12904 w 13020"/>
                  <a:gd name="T7" fmla="*/ 2846 h 7826"/>
                  <a:gd name="T8" fmla="*/ 4728 w 13020"/>
                  <a:gd name="T9" fmla="*/ 7752 h 7826"/>
                  <a:gd name="T10" fmla="*/ 4728 w 13020"/>
                  <a:gd name="T11" fmla="*/ 7752 h 7826"/>
                  <a:gd name="T12" fmla="*/ 4311 w 13020"/>
                  <a:gd name="T13" fmla="*/ 7746 h 7826"/>
                  <a:gd name="T14" fmla="*/ 111 w 13020"/>
                  <a:gd name="T15" fmla="*/ 5413 h 7826"/>
                  <a:gd name="T16" fmla="*/ 111 w 13020"/>
                  <a:gd name="T17" fmla="*/ 5413 h 7826"/>
                  <a:gd name="T18" fmla="*/ 114 w 13020"/>
                  <a:gd name="T19" fmla="*/ 5121 h 7826"/>
                  <a:gd name="T20" fmla="*/ 8355 w 13020"/>
                  <a:gd name="T21" fmla="*/ 31 h 7826"/>
                  <a:gd name="T22" fmla="*/ 8355 w 13020"/>
                  <a:gd name="T23" fmla="*/ 31 h 7826"/>
                  <a:gd name="T24" fmla="*/ 8526 w 13020"/>
                  <a:gd name="T25" fmla="*/ 32 h 7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20" h="7826">
                    <a:moveTo>
                      <a:pt x="8526" y="32"/>
                    </a:moveTo>
                    <a:lnTo>
                      <a:pt x="12907" y="2553"/>
                    </a:lnTo>
                    <a:lnTo>
                      <a:pt x="12907" y="2553"/>
                    </a:lnTo>
                    <a:cubicBezTo>
                      <a:pt x="13019" y="2619"/>
                      <a:pt x="13017" y="2782"/>
                      <a:pt x="12904" y="2846"/>
                    </a:cubicBezTo>
                    <a:lnTo>
                      <a:pt x="4728" y="7752"/>
                    </a:lnTo>
                    <a:lnTo>
                      <a:pt x="4728" y="7752"/>
                    </a:lnTo>
                    <a:cubicBezTo>
                      <a:pt x="4598" y="7825"/>
                      <a:pt x="4438" y="7823"/>
                      <a:pt x="4311" y="7746"/>
                    </a:cubicBezTo>
                    <a:lnTo>
                      <a:pt x="111" y="5413"/>
                    </a:lnTo>
                    <a:lnTo>
                      <a:pt x="111" y="5413"/>
                    </a:lnTo>
                    <a:cubicBezTo>
                      <a:pt x="0" y="5346"/>
                      <a:pt x="1" y="5185"/>
                      <a:pt x="114" y="5121"/>
                    </a:cubicBezTo>
                    <a:lnTo>
                      <a:pt x="8355" y="31"/>
                    </a:lnTo>
                    <a:lnTo>
                      <a:pt x="8355" y="31"/>
                    </a:lnTo>
                    <a:cubicBezTo>
                      <a:pt x="8408" y="0"/>
                      <a:pt x="8474" y="1"/>
                      <a:pt x="8526" y="3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4" name="Freeform 38">
                <a:extLst>
                  <a:ext uri="{FF2B5EF4-FFF2-40B4-BE49-F238E27FC236}">
                    <a16:creationId xmlns:a16="http://schemas.microsoft.com/office/drawing/2014/main" id="{06EEDA1E-F35D-E242-B76D-712DF1CCB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9531" y="3617662"/>
                <a:ext cx="8344237" cy="5020368"/>
              </a:xfrm>
              <a:custGeom>
                <a:avLst/>
                <a:gdLst>
                  <a:gd name="T0" fmla="*/ 8413 w 12773"/>
                  <a:gd name="T1" fmla="*/ 31 h 7685"/>
                  <a:gd name="T2" fmla="*/ 12661 w 12773"/>
                  <a:gd name="T3" fmla="*/ 2482 h 7685"/>
                  <a:gd name="T4" fmla="*/ 12661 w 12773"/>
                  <a:gd name="T5" fmla="*/ 2482 h 7685"/>
                  <a:gd name="T6" fmla="*/ 12659 w 12773"/>
                  <a:gd name="T7" fmla="*/ 2771 h 7685"/>
                  <a:gd name="T8" fmla="*/ 4592 w 12773"/>
                  <a:gd name="T9" fmla="*/ 7611 h 7685"/>
                  <a:gd name="T10" fmla="*/ 4592 w 12773"/>
                  <a:gd name="T11" fmla="*/ 7611 h 7685"/>
                  <a:gd name="T12" fmla="*/ 4180 w 12773"/>
                  <a:gd name="T13" fmla="*/ 7606 h 7685"/>
                  <a:gd name="T14" fmla="*/ 110 w 12773"/>
                  <a:gd name="T15" fmla="*/ 5341 h 7685"/>
                  <a:gd name="T16" fmla="*/ 110 w 12773"/>
                  <a:gd name="T17" fmla="*/ 5341 h 7685"/>
                  <a:gd name="T18" fmla="*/ 113 w 12773"/>
                  <a:gd name="T19" fmla="*/ 5052 h 7685"/>
                  <a:gd name="T20" fmla="*/ 8244 w 12773"/>
                  <a:gd name="T21" fmla="*/ 30 h 7685"/>
                  <a:gd name="T22" fmla="*/ 8244 w 12773"/>
                  <a:gd name="T23" fmla="*/ 30 h 7685"/>
                  <a:gd name="T24" fmla="*/ 8413 w 12773"/>
                  <a:gd name="T25" fmla="*/ 31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773" h="7685">
                    <a:moveTo>
                      <a:pt x="8413" y="31"/>
                    </a:moveTo>
                    <a:lnTo>
                      <a:pt x="12661" y="2482"/>
                    </a:lnTo>
                    <a:lnTo>
                      <a:pt x="12661" y="2482"/>
                    </a:lnTo>
                    <a:cubicBezTo>
                      <a:pt x="12772" y="2547"/>
                      <a:pt x="12770" y="2708"/>
                      <a:pt x="12659" y="2771"/>
                    </a:cubicBezTo>
                    <a:lnTo>
                      <a:pt x="4592" y="7611"/>
                    </a:lnTo>
                    <a:lnTo>
                      <a:pt x="4592" y="7611"/>
                    </a:lnTo>
                    <a:cubicBezTo>
                      <a:pt x="4464" y="7684"/>
                      <a:pt x="4306" y="7682"/>
                      <a:pt x="4180" y="7606"/>
                    </a:cubicBezTo>
                    <a:lnTo>
                      <a:pt x="110" y="5341"/>
                    </a:lnTo>
                    <a:lnTo>
                      <a:pt x="110" y="5341"/>
                    </a:lnTo>
                    <a:cubicBezTo>
                      <a:pt x="0" y="5275"/>
                      <a:pt x="2" y="5116"/>
                      <a:pt x="113" y="5052"/>
                    </a:cubicBezTo>
                    <a:lnTo>
                      <a:pt x="8244" y="30"/>
                    </a:lnTo>
                    <a:lnTo>
                      <a:pt x="8244" y="30"/>
                    </a:lnTo>
                    <a:cubicBezTo>
                      <a:pt x="8297" y="0"/>
                      <a:pt x="8362" y="0"/>
                      <a:pt x="8413" y="3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5" name="Freeform 39">
                <a:extLst>
                  <a:ext uri="{FF2B5EF4-FFF2-40B4-BE49-F238E27FC236}">
                    <a16:creationId xmlns:a16="http://schemas.microsoft.com/office/drawing/2014/main" id="{60D9C269-EB3B-514E-8345-7F29ABD29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1916" y="4798586"/>
                <a:ext cx="4870590" cy="2851499"/>
              </a:xfrm>
              <a:custGeom>
                <a:avLst/>
                <a:gdLst>
                  <a:gd name="T0" fmla="*/ 4373 w 7459"/>
                  <a:gd name="T1" fmla="*/ 0 h 4364"/>
                  <a:gd name="T2" fmla="*/ 0 w 7459"/>
                  <a:gd name="T3" fmla="*/ 2568 h 4364"/>
                  <a:gd name="T4" fmla="*/ 3081 w 7459"/>
                  <a:gd name="T5" fmla="*/ 4363 h 4364"/>
                  <a:gd name="T6" fmla="*/ 7458 w 7459"/>
                  <a:gd name="T7" fmla="*/ 1788 h 4364"/>
                  <a:gd name="T8" fmla="*/ 4373 w 7459"/>
                  <a:gd name="T9" fmla="*/ 0 h 4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59" h="4364">
                    <a:moveTo>
                      <a:pt x="4373" y="0"/>
                    </a:moveTo>
                    <a:lnTo>
                      <a:pt x="0" y="2568"/>
                    </a:lnTo>
                    <a:lnTo>
                      <a:pt x="3081" y="4363"/>
                    </a:lnTo>
                    <a:lnTo>
                      <a:pt x="7458" y="1788"/>
                    </a:lnTo>
                    <a:lnTo>
                      <a:pt x="4373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6" name="Freeform 40">
                <a:extLst>
                  <a:ext uri="{FF2B5EF4-FFF2-40B4-BE49-F238E27FC236}">
                    <a16:creationId xmlns:a16="http://schemas.microsoft.com/office/drawing/2014/main" id="{B61AFF60-A919-BF42-A48E-F65F97F07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5847015"/>
                <a:ext cx="4674730" cy="1728181"/>
              </a:xfrm>
              <a:custGeom>
                <a:avLst/>
                <a:gdLst>
                  <a:gd name="T0" fmla="*/ 0 w 7159"/>
                  <a:gd name="T1" fmla="*/ 763 h 2646"/>
                  <a:gd name="T2" fmla="*/ 0 w 7159"/>
                  <a:gd name="T3" fmla="*/ 922 h 2646"/>
                  <a:gd name="T4" fmla="*/ 2944 w 7159"/>
                  <a:gd name="T5" fmla="*/ 2645 h 2646"/>
                  <a:gd name="T6" fmla="*/ 7158 w 7159"/>
                  <a:gd name="T7" fmla="*/ 158 h 2646"/>
                  <a:gd name="T8" fmla="*/ 7158 w 7159"/>
                  <a:gd name="T9" fmla="*/ 0 h 2646"/>
                  <a:gd name="T10" fmla="*/ 0 w 7159"/>
                  <a:gd name="T11" fmla="*/ 763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59" h="2646">
                    <a:moveTo>
                      <a:pt x="0" y="763"/>
                    </a:moveTo>
                    <a:lnTo>
                      <a:pt x="0" y="922"/>
                    </a:lnTo>
                    <a:lnTo>
                      <a:pt x="2944" y="2645"/>
                    </a:lnTo>
                    <a:lnTo>
                      <a:pt x="7158" y="158"/>
                    </a:lnTo>
                    <a:lnTo>
                      <a:pt x="7158" y="0"/>
                    </a:lnTo>
                    <a:lnTo>
                      <a:pt x="0" y="763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7" name="Freeform 41">
                <a:extLst>
                  <a:ext uri="{FF2B5EF4-FFF2-40B4-BE49-F238E27FC236}">
                    <a16:creationId xmlns:a16="http://schemas.microsoft.com/office/drawing/2014/main" id="{03F94F03-D9CC-9446-8DA6-721622E17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89810" y="5847015"/>
                <a:ext cx="2753569" cy="1728181"/>
              </a:xfrm>
              <a:custGeom>
                <a:avLst/>
                <a:gdLst>
                  <a:gd name="T0" fmla="*/ 0 w 4215"/>
                  <a:gd name="T1" fmla="*/ 2487 h 2646"/>
                  <a:gd name="T2" fmla="*/ 0 w 4215"/>
                  <a:gd name="T3" fmla="*/ 2645 h 2646"/>
                  <a:gd name="T4" fmla="*/ 4214 w 4215"/>
                  <a:gd name="T5" fmla="*/ 158 h 2646"/>
                  <a:gd name="T6" fmla="*/ 4214 w 4215"/>
                  <a:gd name="T7" fmla="*/ 0 h 2646"/>
                  <a:gd name="T8" fmla="*/ 0 w 4215"/>
                  <a:gd name="T9" fmla="*/ 2487 h 2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5" h="2646">
                    <a:moveTo>
                      <a:pt x="0" y="2487"/>
                    </a:moveTo>
                    <a:lnTo>
                      <a:pt x="0" y="2645"/>
                    </a:lnTo>
                    <a:lnTo>
                      <a:pt x="4214" y="158"/>
                    </a:lnTo>
                    <a:lnTo>
                      <a:pt x="4214" y="0"/>
                    </a:lnTo>
                    <a:lnTo>
                      <a:pt x="0" y="2487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8" name="Freeform 42">
                <a:extLst>
                  <a:ext uri="{FF2B5EF4-FFF2-40B4-BE49-F238E27FC236}">
                    <a16:creationId xmlns:a16="http://schemas.microsoft.com/office/drawing/2014/main" id="{B448FC58-4E98-3540-838F-BE7549FA5A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4723698"/>
                <a:ext cx="4674730" cy="2747808"/>
              </a:xfrm>
              <a:custGeom>
                <a:avLst/>
                <a:gdLst>
                  <a:gd name="T0" fmla="*/ 4210 w 7159"/>
                  <a:gd name="T1" fmla="*/ 0 h 4207"/>
                  <a:gd name="T2" fmla="*/ 0 w 7159"/>
                  <a:gd name="T3" fmla="*/ 2482 h 4207"/>
                  <a:gd name="T4" fmla="*/ 2944 w 7159"/>
                  <a:gd name="T5" fmla="*/ 4206 h 4207"/>
                  <a:gd name="T6" fmla="*/ 7158 w 7159"/>
                  <a:gd name="T7" fmla="*/ 1719 h 4207"/>
                  <a:gd name="T8" fmla="*/ 4210 w 7159"/>
                  <a:gd name="T9" fmla="*/ 0 h 4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9" h="4207">
                    <a:moveTo>
                      <a:pt x="4210" y="0"/>
                    </a:moveTo>
                    <a:lnTo>
                      <a:pt x="0" y="2482"/>
                    </a:lnTo>
                    <a:lnTo>
                      <a:pt x="2944" y="4206"/>
                    </a:lnTo>
                    <a:lnTo>
                      <a:pt x="7158" y="1719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39" name="Freeform 43">
                <a:extLst>
                  <a:ext uri="{FF2B5EF4-FFF2-40B4-BE49-F238E27FC236}">
                    <a16:creationId xmlns:a16="http://schemas.microsoft.com/office/drawing/2014/main" id="{EDED1FCD-9C75-1F40-A7B4-24D612DCE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13474" y="4870593"/>
                <a:ext cx="3562935" cy="2093979"/>
              </a:xfrm>
              <a:custGeom>
                <a:avLst/>
                <a:gdLst>
                  <a:gd name="T0" fmla="*/ 3888 w 5455"/>
                  <a:gd name="T1" fmla="*/ 0 h 3207"/>
                  <a:gd name="T2" fmla="*/ 0 w 5455"/>
                  <a:gd name="T3" fmla="*/ 2291 h 3207"/>
                  <a:gd name="T4" fmla="*/ 1563 w 5455"/>
                  <a:gd name="T5" fmla="*/ 3206 h 3207"/>
                  <a:gd name="T6" fmla="*/ 5454 w 5455"/>
                  <a:gd name="T7" fmla="*/ 909 h 3207"/>
                  <a:gd name="T8" fmla="*/ 3888 w 5455"/>
                  <a:gd name="T9" fmla="*/ 0 h 3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55" h="3207">
                    <a:moveTo>
                      <a:pt x="3888" y="0"/>
                    </a:moveTo>
                    <a:lnTo>
                      <a:pt x="0" y="2291"/>
                    </a:lnTo>
                    <a:lnTo>
                      <a:pt x="1563" y="3206"/>
                    </a:lnTo>
                    <a:lnTo>
                      <a:pt x="5454" y="909"/>
                    </a:lnTo>
                    <a:lnTo>
                      <a:pt x="388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0" name="Freeform 44">
                <a:extLst>
                  <a:ext uri="{FF2B5EF4-FFF2-40B4-BE49-F238E27FC236}">
                    <a16:creationId xmlns:a16="http://schemas.microsoft.com/office/drawing/2014/main" id="{88CFCD33-1EC3-2A4A-9C9B-93CFE87E6B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51107" y="6011193"/>
                <a:ext cx="1564005" cy="918816"/>
              </a:xfrm>
              <a:custGeom>
                <a:avLst/>
                <a:gdLst>
                  <a:gd name="T0" fmla="*/ 1448 w 2396"/>
                  <a:gd name="T1" fmla="*/ 0 h 1408"/>
                  <a:gd name="T2" fmla="*/ 0 w 2396"/>
                  <a:gd name="T3" fmla="*/ 854 h 1408"/>
                  <a:gd name="T4" fmla="*/ 945 w 2396"/>
                  <a:gd name="T5" fmla="*/ 1407 h 1408"/>
                  <a:gd name="T6" fmla="*/ 2395 w 2396"/>
                  <a:gd name="T7" fmla="*/ 552 h 1408"/>
                  <a:gd name="T8" fmla="*/ 1448 w 2396"/>
                  <a:gd name="T9" fmla="*/ 0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6" h="1408">
                    <a:moveTo>
                      <a:pt x="1448" y="0"/>
                    </a:moveTo>
                    <a:lnTo>
                      <a:pt x="0" y="854"/>
                    </a:lnTo>
                    <a:lnTo>
                      <a:pt x="945" y="1407"/>
                    </a:lnTo>
                    <a:lnTo>
                      <a:pt x="2395" y="552"/>
                    </a:lnTo>
                    <a:lnTo>
                      <a:pt x="1448" y="0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1" name="Freeform 45">
                <a:extLst>
                  <a:ext uri="{FF2B5EF4-FFF2-40B4-BE49-F238E27FC236}">
                    <a16:creationId xmlns:a16="http://schemas.microsoft.com/office/drawing/2014/main" id="{B49E7521-697D-894D-A5A2-25ED8FADB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96294" y="6405793"/>
                <a:ext cx="437806" cy="256348"/>
              </a:xfrm>
              <a:custGeom>
                <a:avLst/>
                <a:gdLst>
                  <a:gd name="T0" fmla="*/ 19 w 671"/>
                  <a:gd name="T1" fmla="*/ 0 h 393"/>
                  <a:gd name="T2" fmla="*/ 0 w 671"/>
                  <a:gd name="T3" fmla="*/ 10 h 393"/>
                  <a:gd name="T4" fmla="*/ 651 w 671"/>
                  <a:gd name="T5" fmla="*/ 392 h 393"/>
                  <a:gd name="T6" fmla="*/ 670 w 671"/>
                  <a:gd name="T7" fmla="*/ 380 h 393"/>
                  <a:gd name="T8" fmla="*/ 19 w 671"/>
                  <a:gd name="T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393">
                    <a:moveTo>
                      <a:pt x="19" y="0"/>
                    </a:moveTo>
                    <a:lnTo>
                      <a:pt x="0" y="10"/>
                    </a:lnTo>
                    <a:lnTo>
                      <a:pt x="651" y="392"/>
                    </a:lnTo>
                    <a:lnTo>
                      <a:pt x="670" y="380"/>
                    </a:lnTo>
                    <a:lnTo>
                      <a:pt x="19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2" name="Freeform 441">
                <a:extLst>
                  <a:ext uri="{FF2B5EF4-FFF2-40B4-BE49-F238E27FC236}">
                    <a16:creationId xmlns:a16="http://schemas.microsoft.com/office/drawing/2014/main" id="{A7B0431C-98E3-4249-89C9-CBBAD9003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0" y="1932685"/>
                <a:ext cx="2830675" cy="4363004"/>
              </a:xfrm>
              <a:custGeom>
                <a:avLst/>
                <a:gdLst>
                  <a:gd name="connsiteX0" fmla="*/ 2750688 w 2830675"/>
                  <a:gd name="connsiteY0" fmla="*/ 0 h 4363004"/>
                  <a:gd name="connsiteX1" fmla="*/ 2830675 w 2830675"/>
                  <a:gd name="connsiteY1" fmla="*/ 48467 h 4363004"/>
                  <a:gd name="connsiteX2" fmla="*/ 2830675 w 2830675"/>
                  <a:gd name="connsiteY2" fmla="*/ 491876 h 4363004"/>
                  <a:gd name="connsiteX3" fmla="*/ 2750688 w 2830675"/>
                  <a:gd name="connsiteY3" fmla="*/ 459128 h 4363004"/>
                  <a:gd name="connsiteX4" fmla="*/ 2750035 w 2830675"/>
                  <a:gd name="connsiteY4" fmla="*/ 0 h 4363004"/>
                  <a:gd name="connsiteX5" fmla="*/ 2750035 w 2830675"/>
                  <a:gd name="connsiteY5" fmla="*/ 2744923 h 4363004"/>
                  <a:gd name="connsiteX6" fmla="*/ 0 w 2830675"/>
                  <a:gd name="connsiteY6" fmla="*/ 4363004 h 4363004"/>
                  <a:gd name="connsiteX7" fmla="*/ 0 w 2830675"/>
                  <a:gd name="connsiteY7" fmla="*/ 1618081 h 436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0675" h="4363004">
                    <a:moveTo>
                      <a:pt x="2750688" y="0"/>
                    </a:moveTo>
                    <a:lnTo>
                      <a:pt x="2830675" y="48467"/>
                    </a:lnTo>
                    <a:lnTo>
                      <a:pt x="2830675" y="491876"/>
                    </a:lnTo>
                    <a:lnTo>
                      <a:pt x="2750688" y="459128"/>
                    </a:lnTo>
                    <a:close/>
                    <a:moveTo>
                      <a:pt x="2750035" y="0"/>
                    </a:moveTo>
                    <a:lnTo>
                      <a:pt x="2750035" y="2744923"/>
                    </a:lnTo>
                    <a:lnTo>
                      <a:pt x="0" y="4363004"/>
                    </a:lnTo>
                    <a:lnTo>
                      <a:pt x="0" y="1618081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3" name="Freeform 48">
                <a:extLst>
                  <a:ext uri="{FF2B5EF4-FFF2-40B4-BE49-F238E27FC236}">
                    <a16:creationId xmlns:a16="http://schemas.microsoft.com/office/drawing/2014/main" id="{D6DEAA10-1220-6548-9AEC-23D76CC1E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88001" y="3548535"/>
                <a:ext cx="80648" cy="2793893"/>
              </a:xfrm>
              <a:custGeom>
                <a:avLst/>
                <a:gdLst>
                  <a:gd name="T0" fmla="*/ 121 w 122"/>
                  <a:gd name="T1" fmla="*/ 74 h 4277"/>
                  <a:gd name="T2" fmla="*/ 121 w 122"/>
                  <a:gd name="T3" fmla="*/ 4276 h 4277"/>
                  <a:gd name="T4" fmla="*/ 0 w 122"/>
                  <a:gd name="T5" fmla="*/ 4202 h 4277"/>
                  <a:gd name="T6" fmla="*/ 0 w 122"/>
                  <a:gd name="T7" fmla="*/ 0 h 4277"/>
                  <a:gd name="T8" fmla="*/ 121 w 122"/>
                  <a:gd name="T9" fmla="*/ 74 h 4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4277">
                    <a:moveTo>
                      <a:pt x="121" y="74"/>
                    </a:moveTo>
                    <a:lnTo>
                      <a:pt x="121" y="4276"/>
                    </a:lnTo>
                    <a:lnTo>
                      <a:pt x="0" y="4202"/>
                    </a:lnTo>
                    <a:lnTo>
                      <a:pt x="0" y="0"/>
                    </a:lnTo>
                    <a:lnTo>
                      <a:pt x="121" y="74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4" name="Freeform 49">
                <a:extLst>
                  <a:ext uri="{FF2B5EF4-FFF2-40B4-BE49-F238E27FC236}">
                    <a16:creationId xmlns:a16="http://schemas.microsoft.com/office/drawing/2014/main" id="{A0819844-D871-8843-9B53-30F8CF793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68649" y="1978770"/>
                <a:ext cx="2750688" cy="4363657"/>
              </a:xfrm>
              <a:custGeom>
                <a:avLst/>
                <a:gdLst>
                  <a:gd name="T0" fmla="*/ 4210 w 4211"/>
                  <a:gd name="T1" fmla="*/ 0 h 6680"/>
                  <a:gd name="T2" fmla="*/ 4210 w 4211"/>
                  <a:gd name="T3" fmla="*/ 4202 h 6680"/>
                  <a:gd name="T4" fmla="*/ 0 w 4211"/>
                  <a:gd name="T5" fmla="*/ 6679 h 6680"/>
                  <a:gd name="T6" fmla="*/ 0 w 4211"/>
                  <a:gd name="T7" fmla="*/ 2477 h 6680"/>
                  <a:gd name="T8" fmla="*/ 4210 w 4211"/>
                  <a:gd name="T9" fmla="*/ 0 h 6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11" h="6680">
                    <a:moveTo>
                      <a:pt x="4210" y="0"/>
                    </a:moveTo>
                    <a:lnTo>
                      <a:pt x="4210" y="4202"/>
                    </a:lnTo>
                    <a:lnTo>
                      <a:pt x="0" y="6679"/>
                    </a:lnTo>
                    <a:lnTo>
                      <a:pt x="0" y="2477"/>
                    </a:lnTo>
                    <a:lnTo>
                      <a:pt x="4210" y="0"/>
                    </a:lnTo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5" name="Freeform 50">
                <a:extLst>
                  <a:ext uri="{FF2B5EF4-FFF2-40B4-BE49-F238E27FC236}">
                    <a16:creationId xmlns:a16="http://schemas.microsoft.com/office/drawing/2014/main" id="{4CA8A5E6-402D-FB4E-AD08-D6CAF0D52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32015" y="2249519"/>
                <a:ext cx="2638357" cy="3954654"/>
              </a:xfrm>
              <a:custGeom>
                <a:avLst/>
                <a:gdLst>
                  <a:gd name="T0" fmla="*/ 4001 w 4038"/>
                  <a:gd name="T1" fmla="*/ 3759 h 6055"/>
                  <a:gd name="T2" fmla="*/ 108 w 4038"/>
                  <a:gd name="T3" fmla="*/ 6025 h 6055"/>
                  <a:gd name="T4" fmla="*/ 108 w 4038"/>
                  <a:gd name="T5" fmla="*/ 6025 h 6055"/>
                  <a:gd name="T6" fmla="*/ 0 w 4038"/>
                  <a:gd name="T7" fmla="*/ 5964 h 6055"/>
                  <a:gd name="T8" fmla="*/ 0 w 4038"/>
                  <a:gd name="T9" fmla="*/ 2367 h 6055"/>
                  <a:gd name="T10" fmla="*/ 0 w 4038"/>
                  <a:gd name="T11" fmla="*/ 2367 h 6055"/>
                  <a:gd name="T12" fmla="*/ 36 w 4038"/>
                  <a:gd name="T13" fmla="*/ 2305 h 6055"/>
                  <a:gd name="T14" fmla="*/ 3929 w 4038"/>
                  <a:gd name="T15" fmla="*/ 28 h 6055"/>
                  <a:gd name="T16" fmla="*/ 3929 w 4038"/>
                  <a:gd name="T17" fmla="*/ 28 h 6055"/>
                  <a:gd name="T18" fmla="*/ 4037 w 4038"/>
                  <a:gd name="T19" fmla="*/ 90 h 6055"/>
                  <a:gd name="T20" fmla="*/ 4037 w 4038"/>
                  <a:gd name="T21" fmla="*/ 3697 h 6055"/>
                  <a:gd name="T22" fmla="*/ 4037 w 4038"/>
                  <a:gd name="T23" fmla="*/ 3697 h 6055"/>
                  <a:gd name="T24" fmla="*/ 4001 w 4038"/>
                  <a:gd name="T25" fmla="*/ 3759 h 6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38" h="6055">
                    <a:moveTo>
                      <a:pt x="4001" y="3759"/>
                    </a:moveTo>
                    <a:lnTo>
                      <a:pt x="108" y="6025"/>
                    </a:lnTo>
                    <a:lnTo>
                      <a:pt x="108" y="6025"/>
                    </a:lnTo>
                    <a:cubicBezTo>
                      <a:pt x="60" y="6054"/>
                      <a:pt x="0" y="6019"/>
                      <a:pt x="0" y="5964"/>
                    </a:cubicBezTo>
                    <a:lnTo>
                      <a:pt x="0" y="2367"/>
                    </a:lnTo>
                    <a:lnTo>
                      <a:pt x="0" y="2367"/>
                    </a:lnTo>
                    <a:cubicBezTo>
                      <a:pt x="0" y="2342"/>
                      <a:pt x="13" y="2318"/>
                      <a:pt x="36" y="2305"/>
                    </a:cubicBezTo>
                    <a:lnTo>
                      <a:pt x="3929" y="28"/>
                    </a:lnTo>
                    <a:lnTo>
                      <a:pt x="3929" y="28"/>
                    </a:lnTo>
                    <a:cubicBezTo>
                      <a:pt x="3976" y="0"/>
                      <a:pt x="4037" y="34"/>
                      <a:pt x="4037" y="90"/>
                    </a:cubicBezTo>
                    <a:lnTo>
                      <a:pt x="4037" y="3697"/>
                    </a:lnTo>
                    <a:lnTo>
                      <a:pt x="4037" y="3697"/>
                    </a:lnTo>
                    <a:cubicBezTo>
                      <a:pt x="4037" y="3722"/>
                      <a:pt x="4023" y="3746"/>
                      <a:pt x="4001" y="37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6" name="Freeform 445">
                <a:extLst>
                  <a:ext uri="{FF2B5EF4-FFF2-40B4-BE49-F238E27FC236}">
                    <a16:creationId xmlns:a16="http://schemas.microsoft.com/office/drawing/2014/main" id="{5C9C6F69-C34D-EE4F-8BEB-1FDCAA1A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2891244"/>
                <a:ext cx="1661280" cy="1141897"/>
              </a:xfrm>
              <a:custGeom>
                <a:avLst/>
                <a:gdLst>
                  <a:gd name="connsiteX0" fmla="*/ 419125 w 1661280"/>
                  <a:gd name="connsiteY0" fmla="*/ 706482 h 1141897"/>
                  <a:gd name="connsiteX1" fmla="*/ 454434 w 1661280"/>
                  <a:gd name="connsiteY1" fmla="*/ 741423 h 1141897"/>
                  <a:gd name="connsiteX2" fmla="*/ 454434 w 1661280"/>
                  <a:gd name="connsiteY2" fmla="*/ 886580 h 1141897"/>
                  <a:gd name="connsiteX3" fmla="*/ 436780 w 1661280"/>
                  <a:gd name="connsiteY3" fmla="*/ 917312 h 1141897"/>
                  <a:gd name="connsiteX4" fmla="*/ 60155 w 1661280"/>
                  <a:gd name="connsiteY4" fmla="*/ 1136356 h 1141897"/>
                  <a:gd name="connsiteX5" fmla="*/ 0 w 1661280"/>
                  <a:gd name="connsiteY5" fmla="*/ 1102355 h 1141897"/>
                  <a:gd name="connsiteX6" fmla="*/ 0 w 1661280"/>
                  <a:gd name="connsiteY6" fmla="*/ 968967 h 1141897"/>
                  <a:gd name="connsiteX7" fmla="*/ 20270 w 1661280"/>
                  <a:gd name="connsiteY7" fmla="*/ 934312 h 1141897"/>
                  <a:gd name="connsiteX8" fmla="*/ 400817 w 1661280"/>
                  <a:gd name="connsiteY8" fmla="*/ 711345 h 1141897"/>
                  <a:gd name="connsiteX9" fmla="*/ 419125 w 1661280"/>
                  <a:gd name="connsiteY9" fmla="*/ 706482 h 1141897"/>
                  <a:gd name="connsiteX10" fmla="*/ 949785 w 1661280"/>
                  <a:gd name="connsiteY10" fmla="*/ 395663 h 1141897"/>
                  <a:gd name="connsiteX11" fmla="*/ 984412 w 1661280"/>
                  <a:gd name="connsiteY11" fmla="*/ 430846 h 1141897"/>
                  <a:gd name="connsiteX12" fmla="*/ 984412 w 1661280"/>
                  <a:gd name="connsiteY12" fmla="*/ 577444 h 1141897"/>
                  <a:gd name="connsiteX13" fmla="*/ 967475 w 1661280"/>
                  <a:gd name="connsiteY13" fmla="*/ 607415 h 1141897"/>
                  <a:gd name="connsiteX14" fmla="*/ 559697 w 1661280"/>
                  <a:gd name="connsiteY14" fmla="*/ 844577 h 1141897"/>
                  <a:gd name="connsiteX15" fmla="*/ 506933 w 1661280"/>
                  <a:gd name="connsiteY15" fmla="*/ 814606 h 1141897"/>
                  <a:gd name="connsiteX16" fmla="*/ 506933 w 1661280"/>
                  <a:gd name="connsiteY16" fmla="*/ 669311 h 1141897"/>
                  <a:gd name="connsiteX17" fmla="*/ 524521 w 1661280"/>
                  <a:gd name="connsiteY17" fmla="*/ 638689 h 1141897"/>
                  <a:gd name="connsiteX18" fmla="*/ 931648 w 1661280"/>
                  <a:gd name="connsiteY18" fmla="*/ 400875 h 1141897"/>
                  <a:gd name="connsiteX19" fmla="*/ 949785 w 1661280"/>
                  <a:gd name="connsiteY19" fmla="*/ 395663 h 1141897"/>
                  <a:gd name="connsiteX20" fmla="*/ 1629938 w 1661280"/>
                  <a:gd name="connsiteY20" fmla="*/ 5 h 1141897"/>
                  <a:gd name="connsiteX21" fmla="*/ 1661280 w 1661280"/>
                  <a:gd name="connsiteY21" fmla="*/ 31789 h 1141897"/>
                  <a:gd name="connsiteX22" fmla="*/ 1661280 w 1661280"/>
                  <a:gd name="connsiteY22" fmla="*/ 182684 h 1141897"/>
                  <a:gd name="connsiteX23" fmla="*/ 1639775 w 1661280"/>
                  <a:gd name="connsiteY23" fmla="*/ 218612 h 1141897"/>
                  <a:gd name="connsiteX24" fmla="*/ 1098229 w 1661280"/>
                  <a:gd name="connsiteY24" fmla="*/ 534774 h 1141897"/>
                  <a:gd name="connsiteX25" fmla="*/ 1051308 w 1661280"/>
                  <a:gd name="connsiteY25" fmla="*/ 507992 h 1141897"/>
                  <a:gd name="connsiteX26" fmla="*/ 1051308 w 1661280"/>
                  <a:gd name="connsiteY26" fmla="*/ 358403 h 1141897"/>
                  <a:gd name="connsiteX27" fmla="*/ 1072162 w 1661280"/>
                  <a:gd name="connsiteY27" fmla="*/ 321822 h 1141897"/>
                  <a:gd name="connsiteX28" fmla="*/ 1613708 w 1661280"/>
                  <a:gd name="connsiteY28" fmla="*/ 4353 h 1141897"/>
                  <a:gd name="connsiteX29" fmla="*/ 1629938 w 1661280"/>
                  <a:gd name="connsiteY29" fmla="*/ 5 h 114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661280" h="1141897">
                    <a:moveTo>
                      <a:pt x="419125" y="706482"/>
                    </a:moveTo>
                    <a:cubicBezTo>
                      <a:pt x="437515" y="706727"/>
                      <a:pt x="454434" y="721317"/>
                      <a:pt x="454434" y="741423"/>
                    </a:cubicBezTo>
                    <a:lnTo>
                      <a:pt x="454434" y="886580"/>
                    </a:lnTo>
                    <a:cubicBezTo>
                      <a:pt x="454434" y="899004"/>
                      <a:pt x="447896" y="910773"/>
                      <a:pt x="436780" y="917312"/>
                    </a:cubicBezTo>
                    <a:lnTo>
                      <a:pt x="60155" y="1136356"/>
                    </a:lnTo>
                    <a:cubicBezTo>
                      <a:pt x="33347" y="1152048"/>
                      <a:pt x="0" y="1132432"/>
                      <a:pt x="0" y="1102355"/>
                    </a:cubicBezTo>
                    <a:lnTo>
                      <a:pt x="0" y="968967"/>
                    </a:lnTo>
                    <a:cubicBezTo>
                      <a:pt x="0" y="954582"/>
                      <a:pt x="7846" y="941505"/>
                      <a:pt x="20270" y="934312"/>
                    </a:cubicBezTo>
                    <a:lnTo>
                      <a:pt x="400817" y="711345"/>
                    </a:lnTo>
                    <a:cubicBezTo>
                      <a:pt x="406702" y="707912"/>
                      <a:pt x="412995" y="706400"/>
                      <a:pt x="419125" y="706482"/>
                    </a:cubicBezTo>
                    <a:close/>
                    <a:moveTo>
                      <a:pt x="949785" y="395663"/>
                    </a:moveTo>
                    <a:cubicBezTo>
                      <a:pt x="967923" y="395663"/>
                      <a:pt x="984412" y="410322"/>
                      <a:pt x="984412" y="430846"/>
                    </a:cubicBezTo>
                    <a:lnTo>
                      <a:pt x="984412" y="577444"/>
                    </a:lnTo>
                    <a:cubicBezTo>
                      <a:pt x="984412" y="589171"/>
                      <a:pt x="977898" y="600899"/>
                      <a:pt x="967475" y="607415"/>
                    </a:cubicBezTo>
                    <a:lnTo>
                      <a:pt x="559697" y="844577"/>
                    </a:lnTo>
                    <a:cubicBezTo>
                      <a:pt x="536246" y="858260"/>
                      <a:pt x="506933" y="841319"/>
                      <a:pt x="506933" y="814606"/>
                    </a:cubicBezTo>
                    <a:lnTo>
                      <a:pt x="506933" y="669311"/>
                    </a:lnTo>
                    <a:cubicBezTo>
                      <a:pt x="506933" y="656932"/>
                      <a:pt x="513447" y="645204"/>
                      <a:pt x="524521" y="638689"/>
                    </a:cubicBezTo>
                    <a:lnTo>
                      <a:pt x="931648" y="400875"/>
                    </a:lnTo>
                    <a:cubicBezTo>
                      <a:pt x="937511" y="397291"/>
                      <a:pt x="943740" y="395663"/>
                      <a:pt x="949785" y="395663"/>
                    </a:cubicBezTo>
                    <a:close/>
                    <a:moveTo>
                      <a:pt x="1629938" y="5"/>
                    </a:moveTo>
                    <a:cubicBezTo>
                      <a:pt x="1646251" y="311"/>
                      <a:pt x="1661280" y="13662"/>
                      <a:pt x="1661280" y="31789"/>
                    </a:cubicBezTo>
                    <a:lnTo>
                      <a:pt x="1661280" y="182684"/>
                    </a:lnTo>
                    <a:cubicBezTo>
                      <a:pt x="1661280" y="197709"/>
                      <a:pt x="1652809" y="211426"/>
                      <a:pt x="1639775" y="218612"/>
                    </a:cubicBezTo>
                    <a:lnTo>
                      <a:pt x="1098229" y="534774"/>
                    </a:lnTo>
                    <a:cubicBezTo>
                      <a:pt x="1077375" y="547186"/>
                      <a:pt x="1051308" y="532161"/>
                      <a:pt x="1051308" y="507992"/>
                    </a:cubicBezTo>
                    <a:lnTo>
                      <a:pt x="1051308" y="358403"/>
                    </a:lnTo>
                    <a:cubicBezTo>
                      <a:pt x="1051308" y="343379"/>
                      <a:pt x="1059128" y="329661"/>
                      <a:pt x="1072162" y="321822"/>
                    </a:cubicBezTo>
                    <a:lnTo>
                      <a:pt x="1613708" y="4353"/>
                    </a:lnTo>
                    <a:cubicBezTo>
                      <a:pt x="1618921" y="1250"/>
                      <a:pt x="1624501" y="-97"/>
                      <a:pt x="1629938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7" name="Freeform 54">
                <a:extLst>
                  <a:ext uri="{FF2B5EF4-FFF2-40B4-BE49-F238E27FC236}">
                    <a16:creationId xmlns:a16="http://schemas.microsoft.com/office/drawing/2014/main" id="{B5E695A7-F8B5-EF41-959C-D9AD9BA75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2857261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6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6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8" name="Freeform 55">
                <a:extLst>
                  <a:ext uri="{FF2B5EF4-FFF2-40B4-BE49-F238E27FC236}">
                    <a16:creationId xmlns:a16="http://schemas.microsoft.com/office/drawing/2014/main" id="{73D6B8DF-6594-C940-AFE9-8F50D69C5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17121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69 h 2294"/>
                  <a:gd name="T4" fmla="*/ 92 w 3433"/>
                  <a:gd name="T5" fmla="*/ 2269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89 h 2294"/>
                  <a:gd name="T22" fmla="*/ 3432 w 3433"/>
                  <a:gd name="T23" fmla="*/ 289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69"/>
                    </a:lnTo>
                    <a:lnTo>
                      <a:pt x="92" y="2269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29"/>
                      <a:pt x="3432" y="77"/>
                    </a:cubicBezTo>
                    <a:lnTo>
                      <a:pt x="3432" y="289"/>
                    </a:lnTo>
                    <a:lnTo>
                      <a:pt x="3432" y="289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49" name="Freeform 448">
                <a:extLst>
                  <a:ext uri="{FF2B5EF4-FFF2-40B4-BE49-F238E27FC236}">
                    <a16:creationId xmlns:a16="http://schemas.microsoft.com/office/drawing/2014/main" id="{7B91BAE8-13A0-FF4C-AEDF-44233DC7D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3492348"/>
                <a:ext cx="2243101" cy="1477302"/>
              </a:xfrm>
              <a:custGeom>
                <a:avLst/>
                <a:gdLst>
                  <a:gd name="connsiteX0" fmla="*/ 554963 w 2243101"/>
                  <a:gd name="connsiteY0" fmla="*/ 964193 h 1477302"/>
                  <a:gd name="connsiteX1" fmla="*/ 592689 w 2243101"/>
                  <a:gd name="connsiteY1" fmla="*/ 1002393 h 1477302"/>
                  <a:gd name="connsiteX2" fmla="*/ 592689 w 2243101"/>
                  <a:gd name="connsiteY2" fmla="*/ 1128767 h 1477302"/>
                  <a:gd name="connsiteX3" fmla="*/ 563969 w 2243101"/>
                  <a:gd name="connsiteY3" fmla="*/ 1178926 h 1477302"/>
                  <a:gd name="connsiteX4" fmla="*/ 60052 w 2243101"/>
                  <a:gd name="connsiteY4" fmla="*/ 1472062 h 1477302"/>
                  <a:gd name="connsiteX5" fmla="*/ 0 w 2243101"/>
                  <a:gd name="connsiteY5" fmla="*/ 1437537 h 1477302"/>
                  <a:gd name="connsiteX6" fmla="*/ 0 w 2243101"/>
                  <a:gd name="connsiteY6" fmla="*/ 1304649 h 1477302"/>
                  <a:gd name="connsiteX7" fmla="*/ 20235 w 2243101"/>
                  <a:gd name="connsiteY7" fmla="*/ 1270124 h 1477302"/>
                  <a:gd name="connsiteX8" fmla="*/ 535248 w 2243101"/>
                  <a:gd name="connsiteY8" fmla="*/ 969170 h 1477302"/>
                  <a:gd name="connsiteX9" fmla="*/ 554963 w 2243101"/>
                  <a:gd name="connsiteY9" fmla="*/ 964193 h 1477302"/>
                  <a:gd name="connsiteX10" fmla="*/ 2203940 w 2243101"/>
                  <a:gd name="connsiteY10" fmla="*/ 1 h 1477302"/>
                  <a:gd name="connsiteX11" fmla="*/ 2243101 w 2243101"/>
                  <a:gd name="connsiteY11" fmla="*/ 40227 h 1477302"/>
                  <a:gd name="connsiteX12" fmla="*/ 2243101 w 2243101"/>
                  <a:gd name="connsiteY12" fmla="*/ 179336 h 1477302"/>
                  <a:gd name="connsiteX13" fmla="*/ 2223490 w 2243101"/>
                  <a:gd name="connsiteY13" fmla="*/ 213296 h 1477302"/>
                  <a:gd name="connsiteX14" fmla="*/ 702324 w 2243101"/>
                  <a:gd name="connsiteY14" fmla="*/ 1098889 h 1477302"/>
                  <a:gd name="connsiteX15" fmla="*/ 648067 w 2243101"/>
                  <a:gd name="connsiteY15" fmla="*/ 1066888 h 1477302"/>
                  <a:gd name="connsiteX16" fmla="*/ 648067 w 2243101"/>
                  <a:gd name="connsiteY16" fmla="*/ 936922 h 1477302"/>
                  <a:gd name="connsiteX17" fmla="*/ 677484 w 2243101"/>
                  <a:gd name="connsiteY17" fmla="*/ 885981 h 1477302"/>
                  <a:gd name="connsiteX18" fmla="*/ 2183614 w 2243101"/>
                  <a:gd name="connsiteY18" fmla="*/ 5613 h 1477302"/>
                  <a:gd name="connsiteX19" fmla="*/ 2203940 w 2243101"/>
                  <a:gd name="connsiteY19" fmla="*/ 1 h 147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43101" h="1477302">
                    <a:moveTo>
                      <a:pt x="554963" y="964193"/>
                    </a:moveTo>
                    <a:cubicBezTo>
                      <a:pt x="574698" y="964651"/>
                      <a:pt x="592689" y="980407"/>
                      <a:pt x="592689" y="1002393"/>
                    </a:cubicBezTo>
                    <a:lnTo>
                      <a:pt x="592689" y="1128767"/>
                    </a:lnTo>
                    <a:cubicBezTo>
                      <a:pt x="592689" y="1149612"/>
                      <a:pt x="581593" y="1168503"/>
                      <a:pt x="563969" y="1178926"/>
                    </a:cubicBezTo>
                    <a:lnTo>
                      <a:pt x="60052" y="1472062"/>
                    </a:lnTo>
                    <a:cubicBezTo>
                      <a:pt x="33290" y="1487045"/>
                      <a:pt x="0" y="1468154"/>
                      <a:pt x="0" y="1437537"/>
                    </a:cubicBezTo>
                    <a:lnTo>
                      <a:pt x="0" y="1304649"/>
                    </a:lnTo>
                    <a:cubicBezTo>
                      <a:pt x="0" y="1290318"/>
                      <a:pt x="7833" y="1277289"/>
                      <a:pt x="20235" y="1270124"/>
                    </a:cubicBezTo>
                    <a:lnTo>
                      <a:pt x="535248" y="969170"/>
                    </a:lnTo>
                    <a:cubicBezTo>
                      <a:pt x="541612" y="965588"/>
                      <a:pt x="548384" y="964040"/>
                      <a:pt x="554963" y="964193"/>
                    </a:cubicBezTo>
                    <a:close/>
                    <a:moveTo>
                      <a:pt x="2203940" y="1"/>
                    </a:moveTo>
                    <a:cubicBezTo>
                      <a:pt x="2224348" y="184"/>
                      <a:pt x="2243101" y="16716"/>
                      <a:pt x="2243101" y="40227"/>
                    </a:cubicBezTo>
                    <a:lnTo>
                      <a:pt x="2243101" y="179336"/>
                    </a:lnTo>
                    <a:cubicBezTo>
                      <a:pt x="2243101" y="193050"/>
                      <a:pt x="2235257" y="206112"/>
                      <a:pt x="2223490" y="213296"/>
                    </a:cubicBezTo>
                    <a:lnTo>
                      <a:pt x="702324" y="1098889"/>
                    </a:lnTo>
                    <a:cubicBezTo>
                      <a:pt x="678137" y="1112604"/>
                      <a:pt x="648067" y="1094971"/>
                      <a:pt x="648067" y="1066888"/>
                    </a:cubicBezTo>
                    <a:lnTo>
                      <a:pt x="648067" y="936922"/>
                    </a:lnTo>
                    <a:cubicBezTo>
                      <a:pt x="648067" y="916023"/>
                      <a:pt x="659180" y="896430"/>
                      <a:pt x="677484" y="885981"/>
                    </a:cubicBezTo>
                    <a:lnTo>
                      <a:pt x="2183614" y="5613"/>
                    </a:lnTo>
                    <a:cubicBezTo>
                      <a:pt x="2190151" y="1695"/>
                      <a:pt x="2197138" y="-61"/>
                      <a:pt x="2203940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0" name="Freeform 58">
                <a:extLst>
                  <a:ext uri="{FF2B5EF4-FFF2-40B4-BE49-F238E27FC236}">
                    <a16:creationId xmlns:a16="http://schemas.microsoft.com/office/drawing/2014/main" id="{2D8AAAE7-09F6-C540-B7C1-4BDD520A26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3796240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1"/>
                      <a:pt x="12" y="1971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1"/>
                      <a:pt x="3420" y="331"/>
                      <a:pt x="3402" y="342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1" name="Freeform 450">
                <a:extLst>
                  <a:ext uri="{FF2B5EF4-FFF2-40B4-BE49-F238E27FC236}">
                    <a16:creationId xmlns:a16="http://schemas.microsoft.com/office/drawing/2014/main" id="{21A0CFEE-2ABE-9348-B57E-6B9B88C1C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7" y="4117434"/>
                <a:ext cx="2243099" cy="1477208"/>
              </a:xfrm>
              <a:custGeom>
                <a:avLst/>
                <a:gdLst>
                  <a:gd name="connsiteX0" fmla="*/ 1682820 w 2243099"/>
                  <a:gd name="connsiteY0" fmla="*/ 293738 h 1477208"/>
                  <a:gd name="connsiteX1" fmla="*/ 1710247 w 2243099"/>
                  <a:gd name="connsiteY1" fmla="*/ 309422 h 1477208"/>
                  <a:gd name="connsiteX2" fmla="*/ 1710247 w 2243099"/>
                  <a:gd name="connsiteY2" fmla="*/ 472790 h 1477208"/>
                  <a:gd name="connsiteX3" fmla="*/ 1680208 w 2243099"/>
                  <a:gd name="connsiteY3" fmla="*/ 525068 h 1477208"/>
                  <a:gd name="connsiteX4" fmla="*/ 60077 w 2243099"/>
                  <a:gd name="connsiteY4" fmla="*/ 1471952 h 1477208"/>
                  <a:gd name="connsiteX5" fmla="*/ 0 w 2243099"/>
                  <a:gd name="connsiteY5" fmla="*/ 1437318 h 1477208"/>
                  <a:gd name="connsiteX6" fmla="*/ 0 w 2243099"/>
                  <a:gd name="connsiteY6" fmla="*/ 1304009 h 1477208"/>
                  <a:gd name="connsiteX7" fmla="*/ 20243 w 2243099"/>
                  <a:gd name="connsiteY7" fmla="*/ 1269375 h 1477208"/>
                  <a:gd name="connsiteX8" fmla="*/ 2203873 w 2243099"/>
                  <a:gd name="connsiteY8" fmla="*/ 5 h 1477208"/>
                  <a:gd name="connsiteX9" fmla="*/ 2243099 w 2243099"/>
                  <a:gd name="connsiteY9" fmla="*/ 40036 h 1477208"/>
                  <a:gd name="connsiteX10" fmla="*/ 2243099 w 2243099"/>
                  <a:gd name="connsiteY10" fmla="*/ 178785 h 1477208"/>
                  <a:gd name="connsiteX11" fmla="*/ 2223455 w 2243099"/>
                  <a:gd name="connsiteY11" fmla="*/ 212658 h 1477208"/>
                  <a:gd name="connsiteX12" fmla="*/ 1803734 w 2243099"/>
                  <a:gd name="connsiteY12" fmla="*/ 456283 h 1477208"/>
                  <a:gd name="connsiteX13" fmla="*/ 1759863 w 2243099"/>
                  <a:gd name="connsiteY13" fmla="*/ 431530 h 1477208"/>
                  <a:gd name="connsiteX14" fmla="*/ 1759863 w 2243099"/>
                  <a:gd name="connsiteY14" fmla="*/ 286918 h 1477208"/>
                  <a:gd name="connsiteX15" fmla="*/ 1790638 w 2243099"/>
                  <a:gd name="connsiteY15" fmla="*/ 234805 h 1477208"/>
                  <a:gd name="connsiteX16" fmla="*/ 2183513 w 2243099"/>
                  <a:gd name="connsiteY16" fmla="*/ 5512 h 1477208"/>
                  <a:gd name="connsiteX17" fmla="*/ 2203873 w 2243099"/>
                  <a:gd name="connsiteY17" fmla="*/ 5 h 147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3099" h="1477208">
                    <a:moveTo>
                      <a:pt x="1682820" y="293738"/>
                    </a:moveTo>
                    <a:cubicBezTo>
                      <a:pt x="1695228" y="286550"/>
                      <a:pt x="1710247" y="295699"/>
                      <a:pt x="1710247" y="309422"/>
                    </a:cubicBezTo>
                    <a:lnTo>
                      <a:pt x="1710247" y="472790"/>
                    </a:lnTo>
                    <a:cubicBezTo>
                      <a:pt x="1710247" y="494355"/>
                      <a:pt x="1699146" y="513959"/>
                      <a:pt x="1680208" y="525068"/>
                    </a:cubicBezTo>
                    <a:lnTo>
                      <a:pt x="60077" y="1471952"/>
                    </a:lnTo>
                    <a:cubicBezTo>
                      <a:pt x="33304" y="1486982"/>
                      <a:pt x="0" y="1468031"/>
                      <a:pt x="0" y="1437318"/>
                    </a:cubicBezTo>
                    <a:lnTo>
                      <a:pt x="0" y="1304009"/>
                    </a:lnTo>
                    <a:cubicBezTo>
                      <a:pt x="0" y="1289633"/>
                      <a:pt x="7836" y="1276563"/>
                      <a:pt x="20243" y="1269375"/>
                    </a:cubicBezTo>
                    <a:close/>
                    <a:moveTo>
                      <a:pt x="2203873" y="5"/>
                    </a:moveTo>
                    <a:cubicBezTo>
                      <a:pt x="2224315" y="341"/>
                      <a:pt x="2243099" y="17074"/>
                      <a:pt x="2243099" y="40036"/>
                    </a:cubicBezTo>
                    <a:lnTo>
                      <a:pt x="2243099" y="178785"/>
                    </a:lnTo>
                    <a:cubicBezTo>
                      <a:pt x="2243099" y="193116"/>
                      <a:pt x="2235242" y="206144"/>
                      <a:pt x="2223455" y="212658"/>
                    </a:cubicBezTo>
                    <a:lnTo>
                      <a:pt x="1803734" y="456283"/>
                    </a:lnTo>
                    <a:cubicBezTo>
                      <a:pt x="1784090" y="467357"/>
                      <a:pt x="1759863" y="453677"/>
                      <a:pt x="1759863" y="431530"/>
                    </a:cubicBezTo>
                    <a:lnTo>
                      <a:pt x="1759863" y="286918"/>
                    </a:lnTo>
                    <a:cubicBezTo>
                      <a:pt x="1759863" y="265421"/>
                      <a:pt x="1772304" y="245228"/>
                      <a:pt x="1790638" y="234805"/>
                    </a:cubicBezTo>
                    <a:lnTo>
                      <a:pt x="2183513" y="5512"/>
                    </a:lnTo>
                    <a:cubicBezTo>
                      <a:pt x="2190061" y="1603"/>
                      <a:pt x="2197059" y="-107"/>
                      <a:pt x="2203873" y="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2" name="Freeform 61">
                <a:extLst>
                  <a:ext uri="{FF2B5EF4-FFF2-40B4-BE49-F238E27FC236}">
                    <a16:creationId xmlns:a16="http://schemas.microsoft.com/office/drawing/2014/main" id="{11722B23-1643-1E46-A463-0565713C3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27876" y="4418385"/>
                <a:ext cx="2243755" cy="1497757"/>
              </a:xfrm>
              <a:custGeom>
                <a:avLst/>
                <a:gdLst>
                  <a:gd name="T0" fmla="*/ 3402 w 3433"/>
                  <a:gd name="T1" fmla="*/ 342 h 2294"/>
                  <a:gd name="T2" fmla="*/ 92 w 3433"/>
                  <a:gd name="T3" fmla="*/ 2270 h 2294"/>
                  <a:gd name="T4" fmla="*/ 92 w 3433"/>
                  <a:gd name="T5" fmla="*/ 2270 h 2294"/>
                  <a:gd name="T6" fmla="*/ 0 w 3433"/>
                  <a:gd name="T7" fmla="*/ 2217 h 2294"/>
                  <a:gd name="T8" fmla="*/ 0 w 3433"/>
                  <a:gd name="T9" fmla="*/ 2013 h 2294"/>
                  <a:gd name="T10" fmla="*/ 0 w 3433"/>
                  <a:gd name="T11" fmla="*/ 2013 h 2294"/>
                  <a:gd name="T12" fmla="*/ 31 w 3433"/>
                  <a:gd name="T13" fmla="*/ 1960 h 2294"/>
                  <a:gd name="T14" fmla="*/ 3341 w 3433"/>
                  <a:gd name="T15" fmla="*/ 24 h 2294"/>
                  <a:gd name="T16" fmla="*/ 3341 w 3433"/>
                  <a:gd name="T17" fmla="*/ 24 h 2294"/>
                  <a:gd name="T18" fmla="*/ 3432 w 3433"/>
                  <a:gd name="T19" fmla="*/ 77 h 2294"/>
                  <a:gd name="T20" fmla="*/ 3432 w 3433"/>
                  <a:gd name="T21" fmla="*/ 290 h 2294"/>
                  <a:gd name="T22" fmla="*/ 3432 w 3433"/>
                  <a:gd name="T23" fmla="*/ 290 h 2294"/>
                  <a:gd name="T24" fmla="*/ 3402 w 3433"/>
                  <a:gd name="T25" fmla="*/ 342 h 2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33" h="2294">
                    <a:moveTo>
                      <a:pt x="3402" y="342"/>
                    </a:moveTo>
                    <a:lnTo>
                      <a:pt x="92" y="2270"/>
                    </a:lnTo>
                    <a:lnTo>
                      <a:pt x="92" y="2270"/>
                    </a:lnTo>
                    <a:cubicBezTo>
                      <a:pt x="51" y="2293"/>
                      <a:pt x="0" y="2264"/>
                      <a:pt x="0" y="2217"/>
                    </a:cubicBezTo>
                    <a:lnTo>
                      <a:pt x="0" y="2013"/>
                    </a:lnTo>
                    <a:lnTo>
                      <a:pt x="0" y="2013"/>
                    </a:lnTo>
                    <a:cubicBezTo>
                      <a:pt x="0" y="1992"/>
                      <a:pt x="12" y="1972"/>
                      <a:pt x="31" y="1960"/>
                    </a:cubicBezTo>
                    <a:lnTo>
                      <a:pt x="3341" y="24"/>
                    </a:lnTo>
                    <a:lnTo>
                      <a:pt x="3341" y="24"/>
                    </a:lnTo>
                    <a:cubicBezTo>
                      <a:pt x="3381" y="0"/>
                      <a:pt x="3432" y="30"/>
                      <a:pt x="3432" y="77"/>
                    </a:cubicBezTo>
                    <a:lnTo>
                      <a:pt x="3432" y="290"/>
                    </a:lnTo>
                    <a:lnTo>
                      <a:pt x="3432" y="290"/>
                    </a:lnTo>
                    <a:cubicBezTo>
                      <a:pt x="3432" y="312"/>
                      <a:pt x="3420" y="332"/>
                      <a:pt x="3402" y="34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3" name="Freeform 62">
                <a:extLst>
                  <a:ext uri="{FF2B5EF4-FFF2-40B4-BE49-F238E27FC236}">
                    <a16:creationId xmlns:a16="http://schemas.microsoft.com/office/drawing/2014/main" id="{D916FC03-DC72-6845-B743-953E425C5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5270" y="2848622"/>
                <a:ext cx="34564" cy="72007"/>
              </a:xfrm>
              <a:custGeom>
                <a:avLst/>
                <a:gdLst>
                  <a:gd name="T0" fmla="*/ 25 w 52"/>
                  <a:gd name="T1" fmla="*/ 9 h 112"/>
                  <a:gd name="T2" fmla="*/ 25 w 52"/>
                  <a:gd name="T3" fmla="*/ 9 h 112"/>
                  <a:gd name="T4" fmla="*/ 51 w 52"/>
                  <a:gd name="T5" fmla="*/ 40 h 112"/>
                  <a:gd name="T6" fmla="*/ 51 w 52"/>
                  <a:gd name="T7" fmla="*/ 40 h 112"/>
                  <a:gd name="T8" fmla="*/ 25 w 52"/>
                  <a:gd name="T9" fmla="*/ 102 h 112"/>
                  <a:gd name="T10" fmla="*/ 25 w 52"/>
                  <a:gd name="T11" fmla="*/ 102 h 112"/>
                  <a:gd name="T12" fmla="*/ 0 w 52"/>
                  <a:gd name="T13" fmla="*/ 71 h 112"/>
                  <a:gd name="T14" fmla="*/ 0 w 52"/>
                  <a:gd name="T15" fmla="*/ 71 h 112"/>
                  <a:gd name="T16" fmla="*/ 25 w 52"/>
                  <a:gd name="T17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112">
                    <a:moveTo>
                      <a:pt x="25" y="9"/>
                    </a:moveTo>
                    <a:lnTo>
                      <a:pt x="25" y="9"/>
                    </a:lnTo>
                    <a:cubicBezTo>
                      <a:pt x="39" y="0"/>
                      <a:pt x="51" y="14"/>
                      <a:pt x="51" y="40"/>
                    </a:cubicBezTo>
                    <a:lnTo>
                      <a:pt x="51" y="40"/>
                    </a:lnTo>
                    <a:cubicBezTo>
                      <a:pt x="51" y="66"/>
                      <a:pt x="39" y="93"/>
                      <a:pt x="25" y="102"/>
                    </a:cubicBezTo>
                    <a:lnTo>
                      <a:pt x="25" y="102"/>
                    </a:lnTo>
                    <a:cubicBezTo>
                      <a:pt x="11" y="111"/>
                      <a:pt x="0" y="97"/>
                      <a:pt x="0" y="71"/>
                    </a:cubicBezTo>
                    <a:lnTo>
                      <a:pt x="0" y="71"/>
                    </a:lnTo>
                    <a:cubicBezTo>
                      <a:pt x="0" y="46"/>
                      <a:pt x="11" y="18"/>
                      <a:pt x="25" y="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4" name="Freeform 453">
                <a:extLst>
                  <a:ext uri="{FF2B5EF4-FFF2-40B4-BE49-F238E27FC236}">
                    <a16:creationId xmlns:a16="http://schemas.microsoft.com/office/drawing/2014/main" id="{F417B11B-E450-4E44-AA87-7CB301D87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6021" y="4935726"/>
                <a:ext cx="3296788" cy="1960491"/>
              </a:xfrm>
              <a:custGeom>
                <a:avLst/>
                <a:gdLst>
                  <a:gd name="connsiteX0" fmla="*/ 883514 w 3296788"/>
                  <a:gd name="connsiteY0" fmla="*/ 1817173 h 1960491"/>
                  <a:gd name="connsiteX1" fmla="*/ 899862 w 3296788"/>
                  <a:gd name="connsiteY1" fmla="*/ 1820927 h 1960491"/>
                  <a:gd name="connsiteX2" fmla="*/ 986398 w 3296788"/>
                  <a:gd name="connsiteY2" fmla="*/ 1869893 h 1960491"/>
                  <a:gd name="connsiteX3" fmla="*/ 986398 w 3296788"/>
                  <a:gd name="connsiteY3" fmla="*/ 1901883 h 1960491"/>
                  <a:gd name="connsiteX4" fmla="*/ 893355 w 3296788"/>
                  <a:gd name="connsiteY4" fmla="*/ 1955419 h 1960491"/>
                  <a:gd name="connsiteX5" fmla="*/ 860172 w 3296788"/>
                  <a:gd name="connsiteY5" fmla="*/ 1956724 h 1960491"/>
                  <a:gd name="connsiteX6" fmla="*/ 775588 w 3296788"/>
                  <a:gd name="connsiteY6" fmla="*/ 1908412 h 1960491"/>
                  <a:gd name="connsiteX7" fmla="*/ 775588 w 3296788"/>
                  <a:gd name="connsiteY7" fmla="*/ 1876421 h 1960491"/>
                  <a:gd name="connsiteX8" fmla="*/ 866679 w 3296788"/>
                  <a:gd name="connsiteY8" fmla="*/ 1822233 h 1960491"/>
                  <a:gd name="connsiteX9" fmla="*/ 883514 w 3296788"/>
                  <a:gd name="connsiteY9" fmla="*/ 1817173 h 1960491"/>
                  <a:gd name="connsiteX10" fmla="*/ 1076253 w 3296788"/>
                  <a:gd name="connsiteY10" fmla="*/ 1705153 h 1960491"/>
                  <a:gd name="connsiteX11" fmla="*/ 1092844 w 3296788"/>
                  <a:gd name="connsiteY11" fmla="*/ 1709197 h 1960491"/>
                  <a:gd name="connsiteX12" fmla="*/ 1179380 w 3296788"/>
                  <a:gd name="connsiteY12" fmla="*/ 1757084 h 1960491"/>
                  <a:gd name="connsiteX13" fmla="*/ 1178729 w 3296788"/>
                  <a:gd name="connsiteY13" fmla="*/ 1788145 h 1960491"/>
                  <a:gd name="connsiteX14" fmla="*/ 1086337 w 3296788"/>
                  <a:gd name="connsiteY14" fmla="*/ 1843150 h 1960491"/>
                  <a:gd name="connsiteX15" fmla="*/ 1053154 w 3296788"/>
                  <a:gd name="connsiteY15" fmla="*/ 1843150 h 1960491"/>
                  <a:gd name="connsiteX16" fmla="*/ 968570 w 3296788"/>
                  <a:gd name="connsiteY16" fmla="*/ 1795264 h 1960491"/>
                  <a:gd name="connsiteX17" fmla="*/ 968570 w 3296788"/>
                  <a:gd name="connsiteY17" fmla="*/ 1763555 h 1960491"/>
                  <a:gd name="connsiteX18" fmla="*/ 1059661 w 3296788"/>
                  <a:gd name="connsiteY18" fmla="*/ 1709844 h 1960491"/>
                  <a:gd name="connsiteX19" fmla="*/ 1076253 w 3296788"/>
                  <a:gd name="connsiteY19" fmla="*/ 1705153 h 1960491"/>
                  <a:gd name="connsiteX20" fmla="*/ 693747 w 3296788"/>
                  <a:gd name="connsiteY20" fmla="*/ 1699148 h 1960491"/>
                  <a:gd name="connsiteX21" fmla="*/ 710139 w 3296788"/>
                  <a:gd name="connsiteY21" fmla="*/ 1703435 h 1960491"/>
                  <a:gd name="connsiteX22" fmla="*/ 796915 w 3296788"/>
                  <a:gd name="connsiteY22" fmla="*/ 1751969 h 1960491"/>
                  <a:gd name="connsiteX23" fmla="*/ 796262 w 3296788"/>
                  <a:gd name="connsiteY23" fmla="*/ 1783030 h 1960491"/>
                  <a:gd name="connsiteX24" fmla="*/ 703615 w 3296788"/>
                  <a:gd name="connsiteY24" fmla="*/ 1837388 h 1960491"/>
                  <a:gd name="connsiteX25" fmla="*/ 670340 w 3296788"/>
                  <a:gd name="connsiteY25" fmla="*/ 1838035 h 1960491"/>
                  <a:gd name="connsiteX26" fmla="*/ 584870 w 3296788"/>
                  <a:gd name="connsiteY26" fmla="*/ 1789502 h 1960491"/>
                  <a:gd name="connsiteX27" fmla="*/ 584870 w 3296788"/>
                  <a:gd name="connsiteY27" fmla="*/ 1758440 h 1960491"/>
                  <a:gd name="connsiteX28" fmla="*/ 676865 w 3296788"/>
                  <a:gd name="connsiteY28" fmla="*/ 1704082 h 1960491"/>
                  <a:gd name="connsiteX29" fmla="*/ 693747 w 3296788"/>
                  <a:gd name="connsiteY29" fmla="*/ 1699148 h 1960491"/>
                  <a:gd name="connsiteX30" fmla="*/ 1266684 w 3296788"/>
                  <a:gd name="connsiteY30" fmla="*/ 1589704 h 1960491"/>
                  <a:gd name="connsiteX31" fmla="*/ 1283321 w 3296788"/>
                  <a:gd name="connsiteY31" fmla="*/ 1594010 h 1960491"/>
                  <a:gd name="connsiteX32" fmla="*/ 1370097 w 3296788"/>
                  <a:gd name="connsiteY32" fmla="*/ 1642108 h 1960491"/>
                  <a:gd name="connsiteX33" fmla="*/ 1369444 w 3296788"/>
                  <a:gd name="connsiteY33" fmla="*/ 1673957 h 1960491"/>
                  <a:gd name="connsiteX34" fmla="*/ 1276797 w 3296788"/>
                  <a:gd name="connsiteY34" fmla="*/ 1728555 h 1960491"/>
                  <a:gd name="connsiteX35" fmla="*/ 1242870 w 3296788"/>
                  <a:gd name="connsiteY35" fmla="*/ 1729205 h 1960491"/>
                  <a:gd name="connsiteX36" fmla="*/ 1158052 w 3296788"/>
                  <a:gd name="connsiteY36" fmla="*/ 1680457 h 1960491"/>
                  <a:gd name="connsiteX37" fmla="*/ 1158052 w 3296788"/>
                  <a:gd name="connsiteY37" fmla="*/ 1649258 h 1960491"/>
                  <a:gd name="connsiteX38" fmla="*/ 1250047 w 3296788"/>
                  <a:gd name="connsiteY38" fmla="*/ 1594660 h 1960491"/>
                  <a:gd name="connsiteX39" fmla="*/ 1266684 w 3296788"/>
                  <a:gd name="connsiteY39" fmla="*/ 1589704 h 1960491"/>
                  <a:gd name="connsiteX40" fmla="*/ 883514 w 3296788"/>
                  <a:gd name="connsiteY40" fmla="*/ 1586662 h 1960491"/>
                  <a:gd name="connsiteX41" fmla="*/ 899862 w 3296788"/>
                  <a:gd name="connsiteY41" fmla="*/ 1590480 h 1960491"/>
                  <a:gd name="connsiteX42" fmla="*/ 986398 w 3296788"/>
                  <a:gd name="connsiteY42" fmla="*/ 1639229 h 1960491"/>
                  <a:gd name="connsiteX43" fmla="*/ 986398 w 3296788"/>
                  <a:gd name="connsiteY43" fmla="*/ 1670428 h 1960491"/>
                  <a:gd name="connsiteX44" fmla="*/ 893355 w 3296788"/>
                  <a:gd name="connsiteY44" fmla="*/ 1725026 h 1960491"/>
                  <a:gd name="connsiteX45" fmla="*/ 860172 w 3296788"/>
                  <a:gd name="connsiteY45" fmla="*/ 1725676 h 1960491"/>
                  <a:gd name="connsiteX46" fmla="*/ 775588 w 3296788"/>
                  <a:gd name="connsiteY46" fmla="*/ 1676928 h 1960491"/>
                  <a:gd name="connsiteX47" fmla="*/ 775588 w 3296788"/>
                  <a:gd name="connsiteY47" fmla="*/ 1645729 h 1960491"/>
                  <a:gd name="connsiteX48" fmla="*/ 866679 w 3296788"/>
                  <a:gd name="connsiteY48" fmla="*/ 1591130 h 1960491"/>
                  <a:gd name="connsiteX49" fmla="*/ 883514 w 3296788"/>
                  <a:gd name="connsiteY49" fmla="*/ 1586662 h 1960491"/>
                  <a:gd name="connsiteX50" fmla="*/ 500433 w 3296788"/>
                  <a:gd name="connsiteY50" fmla="*/ 1581063 h 1960491"/>
                  <a:gd name="connsiteX51" fmla="*/ 516781 w 3296788"/>
                  <a:gd name="connsiteY51" fmla="*/ 1585369 h 1960491"/>
                  <a:gd name="connsiteX52" fmla="*/ 603317 w 3296788"/>
                  <a:gd name="connsiteY52" fmla="*/ 1633468 h 1960491"/>
                  <a:gd name="connsiteX53" fmla="*/ 602666 w 3296788"/>
                  <a:gd name="connsiteY53" fmla="*/ 1665317 h 1960491"/>
                  <a:gd name="connsiteX54" fmla="*/ 510274 w 3296788"/>
                  <a:gd name="connsiteY54" fmla="*/ 1719915 h 1960491"/>
                  <a:gd name="connsiteX55" fmla="*/ 477091 w 3296788"/>
                  <a:gd name="connsiteY55" fmla="*/ 1719915 h 1960491"/>
                  <a:gd name="connsiteX56" fmla="*/ 392507 w 3296788"/>
                  <a:gd name="connsiteY56" fmla="*/ 1671817 h 1960491"/>
                  <a:gd name="connsiteX57" fmla="*/ 392507 w 3296788"/>
                  <a:gd name="connsiteY57" fmla="*/ 1639968 h 1960491"/>
                  <a:gd name="connsiteX58" fmla="*/ 483598 w 3296788"/>
                  <a:gd name="connsiteY58" fmla="*/ 1586019 h 1960491"/>
                  <a:gd name="connsiteX59" fmla="*/ 500433 w 3296788"/>
                  <a:gd name="connsiteY59" fmla="*/ 1581063 h 1960491"/>
                  <a:gd name="connsiteX60" fmla="*/ 1076251 w 3296788"/>
                  <a:gd name="connsiteY60" fmla="*/ 1471929 h 1960491"/>
                  <a:gd name="connsiteX61" fmla="*/ 1092842 w 3296788"/>
                  <a:gd name="connsiteY61" fmla="*/ 1476539 h 1960491"/>
                  <a:gd name="connsiteX62" fmla="*/ 1179378 w 3296788"/>
                  <a:gd name="connsiteY62" fmla="*/ 1524426 h 1960491"/>
                  <a:gd name="connsiteX63" fmla="*/ 1178727 w 3296788"/>
                  <a:gd name="connsiteY63" fmla="*/ 1556135 h 1960491"/>
                  <a:gd name="connsiteX64" fmla="*/ 1086335 w 3296788"/>
                  <a:gd name="connsiteY64" fmla="*/ 1610493 h 1960491"/>
                  <a:gd name="connsiteX65" fmla="*/ 1053152 w 3296788"/>
                  <a:gd name="connsiteY65" fmla="*/ 1610493 h 1960491"/>
                  <a:gd name="connsiteX66" fmla="*/ 968568 w 3296788"/>
                  <a:gd name="connsiteY66" fmla="*/ 1562606 h 1960491"/>
                  <a:gd name="connsiteX67" fmla="*/ 968568 w 3296788"/>
                  <a:gd name="connsiteY67" fmla="*/ 1530897 h 1960491"/>
                  <a:gd name="connsiteX68" fmla="*/ 1059659 w 3296788"/>
                  <a:gd name="connsiteY68" fmla="*/ 1476539 h 1960491"/>
                  <a:gd name="connsiteX69" fmla="*/ 1076251 w 3296788"/>
                  <a:gd name="connsiteY69" fmla="*/ 1471929 h 1960491"/>
                  <a:gd name="connsiteX70" fmla="*/ 693747 w 3296788"/>
                  <a:gd name="connsiteY70" fmla="*/ 1468975 h 1960491"/>
                  <a:gd name="connsiteX71" fmla="*/ 710139 w 3296788"/>
                  <a:gd name="connsiteY71" fmla="*/ 1473037 h 1960491"/>
                  <a:gd name="connsiteX72" fmla="*/ 796915 w 3296788"/>
                  <a:gd name="connsiteY72" fmla="*/ 1521135 h 1960491"/>
                  <a:gd name="connsiteX73" fmla="*/ 796262 w 3296788"/>
                  <a:gd name="connsiteY73" fmla="*/ 1552984 h 1960491"/>
                  <a:gd name="connsiteX74" fmla="*/ 703615 w 3296788"/>
                  <a:gd name="connsiteY74" fmla="*/ 1606932 h 1960491"/>
                  <a:gd name="connsiteX75" fmla="*/ 670340 w 3296788"/>
                  <a:gd name="connsiteY75" fmla="*/ 1607582 h 1960491"/>
                  <a:gd name="connsiteX76" fmla="*/ 584870 w 3296788"/>
                  <a:gd name="connsiteY76" fmla="*/ 1559484 h 1960491"/>
                  <a:gd name="connsiteX77" fmla="*/ 584870 w 3296788"/>
                  <a:gd name="connsiteY77" fmla="*/ 1527635 h 1960491"/>
                  <a:gd name="connsiteX78" fmla="*/ 676865 w 3296788"/>
                  <a:gd name="connsiteY78" fmla="*/ 1473687 h 1960491"/>
                  <a:gd name="connsiteX79" fmla="*/ 693747 w 3296788"/>
                  <a:gd name="connsiteY79" fmla="*/ 1468975 h 1960491"/>
                  <a:gd name="connsiteX80" fmla="*/ 307453 w 3296788"/>
                  <a:gd name="connsiteY80" fmla="*/ 1463207 h 1960491"/>
                  <a:gd name="connsiteX81" fmla="*/ 323801 w 3296788"/>
                  <a:gd name="connsiteY81" fmla="*/ 1467251 h 1960491"/>
                  <a:gd name="connsiteX82" fmla="*/ 410337 w 3296788"/>
                  <a:gd name="connsiteY82" fmla="*/ 1515138 h 1960491"/>
                  <a:gd name="connsiteX83" fmla="*/ 410337 w 3296788"/>
                  <a:gd name="connsiteY83" fmla="*/ 1546846 h 1960491"/>
                  <a:gd name="connsiteX84" fmla="*/ 317294 w 3296788"/>
                  <a:gd name="connsiteY84" fmla="*/ 1601204 h 1960491"/>
                  <a:gd name="connsiteX85" fmla="*/ 284111 w 3296788"/>
                  <a:gd name="connsiteY85" fmla="*/ 1601204 h 1960491"/>
                  <a:gd name="connsiteX86" fmla="*/ 199527 w 3296788"/>
                  <a:gd name="connsiteY86" fmla="*/ 1553318 h 1960491"/>
                  <a:gd name="connsiteX87" fmla="*/ 199527 w 3296788"/>
                  <a:gd name="connsiteY87" fmla="*/ 1521609 h 1960491"/>
                  <a:gd name="connsiteX88" fmla="*/ 290618 w 3296788"/>
                  <a:gd name="connsiteY88" fmla="*/ 1467898 h 1960491"/>
                  <a:gd name="connsiteX89" fmla="*/ 307453 w 3296788"/>
                  <a:gd name="connsiteY89" fmla="*/ 1463207 h 1960491"/>
                  <a:gd name="connsiteX90" fmla="*/ 1266682 w 3296788"/>
                  <a:gd name="connsiteY90" fmla="*/ 1359198 h 1960491"/>
                  <a:gd name="connsiteX91" fmla="*/ 1283319 w 3296788"/>
                  <a:gd name="connsiteY91" fmla="*/ 1362935 h 1960491"/>
                  <a:gd name="connsiteX92" fmla="*/ 1370095 w 3296788"/>
                  <a:gd name="connsiteY92" fmla="*/ 1411683 h 1960491"/>
                  <a:gd name="connsiteX93" fmla="*/ 1369442 w 3296788"/>
                  <a:gd name="connsiteY93" fmla="*/ 1443532 h 1960491"/>
                  <a:gd name="connsiteX94" fmla="*/ 1276795 w 3296788"/>
                  <a:gd name="connsiteY94" fmla="*/ 1497480 h 1960491"/>
                  <a:gd name="connsiteX95" fmla="*/ 1242868 w 3296788"/>
                  <a:gd name="connsiteY95" fmla="*/ 1498130 h 1960491"/>
                  <a:gd name="connsiteX96" fmla="*/ 1158050 w 3296788"/>
                  <a:gd name="connsiteY96" fmla="*/ 1450032 h 1960491"/>
                  <a:gd name="connsiteX97" fmla="*/ 1158050 w 3296788"/>
                  <a:gd name="connsiteY97" fmla="*/ 1418183 h 1960491"/>
                  <a:gd name="connsiteX98" fmla="*/ 1250045 w 3296788"/>
                  <a:gd name="connsiteY98" fmla="*/ 1364235 h 1960491"/>
                  <a:gd name="connsiteX99" fmla="*/ 1266682 w 3296788"/>
                  <a:gd name="connsiteY99" fmla="*/ 1359198 h 1960491"/>
                  <a:gd name="connsiteX100" fmla="*/ 117685 w 3296788"/>
                  <a:gd name="connsiteY100" fmla="*/ 1356636 h 1960491"/>
                  <a:gd name="connsiteX101" fmla="*/ 134077 w 3296788"/>
                  <a:gd name="connsiteY101" fmla="*/ 1360680 h 1960491"/>
                  <a:gd name="connsiteX102" fmla="*/ 220853 w 3296788"/>
                  <a:gd name="connsiteY102" fmla="*/ 1409214 h 1960491"/>
                  <a:gd name="connsiteX103" fmla="*/ 220853 w 3296788"/>
                  <a:gd name="connsiteY103" fmla="*/ 1440276 h 1960491"/>
                  <a:gd name="connsiteX104" fmla="*/ 127553 w 3296788"/>
                  <a:gd name="connsiteY104" fmla="*/ 1494634 h 1960491"/>
                  <a:gd name="connsiteX105" fmla="*/ 94278 w 3296788"/>
                  <a:gd name="connsiteY105" fmla="*/ 1494634 h 1960491"/>
                  <a:gd name="connsiteX106" fmla="*/ 8808 w 3296788"/>
                  <a:gd name="connsiteY106" fmla="*/ 1446747 h 1960491"/>
                  <a:gd name="connsiteX107" fmla="*/ 8808 w 3296788"/>
                  <a:gd name="connsiteY107" fmla="*/ 1415685 h 1960491"/>
                  <a:gd name="connsiteX108" fmla="*/ 100803 w 3296788"/>
                  <a:gd name="connsiteY108" fmla="*/ 1361327 h 1960491"/>
                  <a:gd name="connsiteX109" fmla="*/ 117685 w 3296788"/>
                  <a:gd name="connsiteY109" fmla="*/ 1356636 h 1960491"/>
                  <a:gd name="connsiteX110" fmla="*/ 883514 w 3296788"/>
                  <a:gd name="connsiteY110" fmla="*/ 1356634 h 1960491"/>
                  <a:gd name="connsiteX111" fmla="*/ 899862 w 3296788"/>
                  <a:gd name="connsiteY111" fmla="*/ 1360679 h 1960491"/>
                  <a:gd name="connsiteX112" fmla="*/ 986398 w 3296788"/>
                  <a:gd name="connsiteY112" fmla="*/ 1409213 h 1960491"/>
                  <a:gd name="connsiteX113" fmla="*/ 986398 w 3296788"/>
                  <a:gd name="connsiteY113" fmla="*/ 1440274 h 1960491"/>
                  <a:gd name="connsiteX114" fmla="*/ 893355 w 3296788"/>
                  <a:gd name="connsiteY114" fmla="*/ 1494633 h 1960491"/>
                  <a:gd name="connsiteX115" fmla="*/ 860172 w 3296788"/>
                  <a:gd name="connsiteY115" fmla="*/ 1494633 h 1960491"/>
                  <a:gd name="connsiteX116" fmla="*/ 775588 w 3296788"/>
                  <a:gd name="connsiteY116" fmla="*/ 1446746 h 1960491"/>
                  <a:gd name="connsiteX117" fmla="*/ 775588 w 3296788"/>
                  <a:gd name="connsiteY117" fmla="*/ 1415684 h 1960491"/>
                  <a:gd name="connsiteX118" fmla="*/ 866679 w 3296788"/>
                  <a:gd name="connsiteY118" fmla="*/ 1361326 h 1960491"/>
                  <a:gd name="connsiteX119" fmla="*/ 883514 w 3296788"/>
                  <a:gd name="connsiteY119" fmla="*/ 1356634 h 1960491"/>
                  <a:gd name="connsiteX120" fmla="*/ 500432 w 3296788"/>
                  <a:gd name="connsiteY120" fmla="*/ 1350483 h 1960491"/>
                  <a:gd name="connsiteX121" fmla="*/ 516780 w 3296788"/>
                  <a:gd name="connsiteY121" fmla="*/ 1354319 h 1960491"/>
                  <a:gd name="connsiteX122" fmla="*/ 603316 w 3296788"/>
                  <a:gd name="connsiteY122" fmla="*/ 1402631 h 1960491"/>
                  <a:gd name="connsiteX123" fmla="*/ 602665 w 3296788"/>
                  <a:gd name="connsiteY123" fmla="*/ 1434622 h 1960491"/>
                  <a:gd name="connsiteX124" fmla="*/ 510273 w 3296788"/>
                  <a:gd name="connsiteY124" fmla="*/ 1489464 h 1960491"/>
                  <a:gd name="connsiteX125" fmla="*/ 477090 w 3296788"/>
                  <a:gd name="connsiteY125" fmla="*/ 1490116 h 1960491"/>
                  <a:gd name="connsiteX126" fmla="*/ 392506 w 3296788"/>
                  <a:gd name="connsiteY126" fmla="*/ 1441151 h 1960491"/>
                  <a:gd name="connsiteX127" fmla="*/ 392506 w 3296788"/>
                  <a:gd name="connsiteY127" fmla="*/ 1409813 h 1960491"/>
                  <a:gd name="connsiteX128" fmla="*/ 483597 w 3296788"/>
                  <a:gd name="connsiteY128" fmla="*/ 1354972 h 1960491"/>
                  <a:gd name="connsiteX129" fmla="*/ 500432 w 3296788"/>
                  <a:gd name="connsiteY129" fmla="*/ 1350483 h 1960491"/>
                  <a:gd name="connsiteX130" fmla="*/ 1459575 w 3296788"/>
                  <a:gd name="connsiteY130" fmla="*/ 1247184 h 1960491"/>
                  <a:gd name="connsiteX131" fmla="*/ 1475923 w 3296788"/>
                  <a:gd name="connsiteY131" fmla="*/ 1251228 h 1960491"/>
                  <a:gd name="connsiteX132" fmla="*/ 1562459 w 3296788"/>
                  <a:gd name="connsiteY132" fmla="*/ 1299762 h 1960491"/>
                  <a:gd name="connsiteX133" fmla="*/ 1562459 w 3296788"/>
                  <a:gd name="connsiteY133" fmla="*/ 1330824 h 1960491"/>
                  <a:gd name="connsiteX134" fmla="*/ 1469416 w 3296788"/>
                  <a:gd name="connsiteY134" fmla="*/ 1385182 h 1960491"/>
                  <a:gd name="connsiteX135" fmla="*/ 1436233 w 3296788"/>
                  <a:gd name="connsiteY135" fmla="*/ 1385182 h 1960491"/>
                  <a:gd name="connsiteX136" fmla="*/ 1351649 w 3296788"/>
                  <a:gd name="connsiteY136" fmla="*/ 1336648 h 1960491"/>
                  <a:gd name="connsiteX137" fmla="*/ 1351649 w 3296788"/>
                  <a:gd name="connsiteY137" fmla="*/ 1305586 h 1960491"/>
                  <a:gd name="connsiteX138" fmla="*/ 1442740 w 3296788"/>
                  <a:gd name="connsiteY138" fmla="*/ 1251875 h 1960491"/>
                  <a:gd name="connsiteX139" fmla="*/ 1459575 w 3296788"/>
                  <a:gd name="connsiteY139" fmla="*/ 1247184 h 1960491"/>
                  <a:gd name="connsiteX140" fmla="*/ 307452 w 3296788"/>
                  <a:gd name="connsiteY140" fmla="*/ 1241188 h 1960491"/>
                  <a:gd name="connsiteX141" fmla="*/ 323800 w 3296788"/>
                  <a:gd name="connsiteY141" fmla="*/ 1245494 h 1960491"/>
                  <a:gd name="connsiteX142" fmla="*/ 410336 w 3296788"/>
                  <a:gd name="connsiteY142" fmla="*/ 1293592 h 1960491"/>
                  <a:gd name="connsiteX143" fmla="*/ 410336 w 3296788"/>
                  <a:gd name="connsiteY143" fmla="*/ 1325441 h 1960491"/>
                  <a:gd name="connsiteX144" fmla="*/ 317293 w 3296788"/>
                  <a:gd name="connsiteY144" fmla="*/ 1380040 h 1960491"/>
                  <a:gd name="connsiteX145" fmla="*/ 284110 w 3296788"/>
                  <a:gd name="connsiteY145" fmla="*/ 1380690 h 1960491"/>
                  <a:gd name="connsiteX146" fmla="*/ 199526 w 3296788"/>
                  <a:gd name="connsiteY146" fmla="*/ 1331941 h 1960491"/>
                  <a:gd name="connsiteX147" fmla="*/ 199526 w 3296788"/>
                  <a:gd name="connsiteY147" fmla="*/ 1300742 h 1960491"/>
                  <a:gd name="connsiteX148" fmla="*/ 290617 w 3296788"/>
                  <a:gd name="connsiteY148" fmla="*/ 1246144 h 1960491"/>
                  <a:gd name="connsiteX149" fmla="*/ 307452 w 3296788"/>
                  <a:gd name="connsiteY149" fmla="*/ 1241188 h 1960491"/>
                  <a:gd name="connsiteX150" fmla="*/ 1076251 w 3296788"/>
                  <a:gd name="connsiteY150" fmla="*/ 1241187 h 1960491"/>
                  <a:gd name="connsiteX151" fmla="*/ 1092842 w 3296788"/>
                  <a:gd name="connsiteY151" fmla="*/ 1245493 h 1960491"/>
                  <a:gd name="connsiteX152" fmla="*/ 1179378 w 3296788"/>
                  <a:gd name="connsiteY152" fmla="*/ 1293591 h 1960491"/>
                  <a:gd name="connsiteX153" fmla="*/ 1178727 w 3296788"/>
                  <a:gd name="connsiteY153" fmla="*/ 1325440 h 1960491"/>
                  <a:gd name="connsiteX154" fmla="*/ 1086335 w 3296788"/>
                  <a:gd name="connsiteY154" fmla="*/ 1380039 h 1960491"/>
                  <a:gd name="connsiteX155" fmla="*/ 1053152 w 3296788"/>
                  <a:gd name="connsiteY155" fmla="*/ 1380689 h 1960491"/>
                  <a:gd name="connsiteX156" fmla="*/ 968568 w 3296788"/>
                  <a:gd name="connsiteY156" fmla="*/ 1331940 h 1960491"/>
                  <a:gd name="connsiteX157" fmla="*/ 968568 w 3296788"/>
                  <a:gd name="connsiteY157" fmla="*/ 1300741 h 1960491"/>
                  <a:gd name="connsiteX158" fmla="*/ 1059659 w 3296788"/>
                  <a:gd name="connsiteY158" fmla="*/ 1246143 h 1960491"/>
                  <a:gd name="connsiteX159" fmla="*/ 1076251 w 3296788"/>
                  <a:gd name="connsiteY159" fmla="*/ 1241187 h 1960491"/>
                  <a:gd name="connsiteX160" fmla="*/ 693746 w 3296788"/>
                  <a:gd name="connsiteY160" fmla="*/ 1238226 h 1960491"/>
                  <a:gd name="connsiteX161" fmla="*/ 710138 w 3296788"/>
                  <a:gd name="connsiteY161" fmla="*/ 1242614 h 1960491"/>
                  <a:gd name="connsiteX162" fmla="*/ 796914 w 3296788"/>
                  <a:gd name="connsiteY162" fmla="*/ 1290712 h 1960491"/>
                  <a:gd name="connsiteX163" fmla="*/ 796261 w 3296788"/>
                  <a:gd name="connsiteY163" fmla="*/ 1321911 h 1960491"/>
                  <a:gd name="connsiteX164" fmla="*/ 703614 w 3296788"/>
                  <a:gd name="connsiteY164" fmla="*/ 1376509 h 1960491"/>
                  <a:gd name="connsiteX165" fmla="*/ 670339 w 3296788"/>
                  <a:gd name="connsiteY165" fmla="*/ 1377159 h 1960491"/>
                  <a:gd name="connsiteX166" fmla="*/ 584869 w 3296788"/>
                  <a:gd name="connsiteY166" fmla="*/ 1328411 h 1960491"/>
                  <a:gd name="connsiteX167" fmla="*/ 584869 w 3296788"/>
                  <a:gd name="connsiteY167" fmla="*/ 1297212 h 1960491"/>
                  <a:gd name="connsiteX168" fmla="*/ 676864 w 3296788"/>
                  <a:gd name="connsiteY168" fmla="*/ 1242614 h 1960491"/>
                  <a:gd name="connsiteX169" fmla="*/ 693746 w 3296788"/>
                  <a:gd name="connsiteY169" fmla="*/ 1238226 h 1960491"/>
                  <a:gd name="connsiteX170" fmla="*/ 1649432 w 3296788"/>
                  <a:gd name="connsiteY170" fmla="*/ 1134616 h 1960491"/>
                  <a:gd name="connsiteX171" fmla="*/ 1666023 w 3296788"/>
                  <a:gd name="connsiteY171" fmla="*/ 1138922 h 1960491"/>
                  <a:gd name="connsiteX172" fmla="*/ 1752559 w 3296788"/>
                  <a:gd name="connsiteY172" fmla="*/ 1187020 h 1960491"/>
                  <a:gd name="connsiteX173" fmla="*/ 1751908 w 3296788"/>
                  <a:gd name="connsiteY173" fmla="*/ 1218869 h 1960491"/>
                  <a:gd name="connsiteX174" fmla="*/ 1659516 w 3296788"/>
                  <a:gd name="connsiteY174" fmla="*/ 1273467 h 1960491"/>
                  <a:gd name="connsiteX175" fmla="*/ 1625683 w 3296788"/>
                  <a:gd name="connsiteY175" fmla="*/ 1274117 h 1960491"/>
                  <a:gd name="connsiteX176" fmla="*/ 1541749 w 3296788"/>
                  <a:gd name="connsiteY176" fmla="*/ 1225369 h 1960491"/>
                  <a:gd name="connsiteX177" fmla="*/ 1541749 w 3296788"/>
                  <a:gd name="connsiteY177" fmla="*/ 1194170 h 1960491"/>
                  <a:gd name="connsiteX178" fmla="*/ 1632840 w 3296788"/>
                  <a:gd name="connsiteY178" fmla="*/ 1139572 h 1960491"/>
                  <a:gd name="connsiteX179" fmla="*/ 1649432 w 3296788"/>
                  <a:gd name="connsiteY179" fmla="*/ 1134616 h 1960491"/>
                  <a:gd name="connsiteX180" fmla="*/ 500431 w 3296788"/>
                  <a:gd name="connsiteY180" fmla="*/ 1128774 h 1960491"/>
                  <a:gd name="connsiteX181" fmla="*/ 516779 w 3296788"/>
                  <a:gd name="connsiteY181" fmla="*/ 1133162 h 1960491"/>
                  <a:gd name="connsiteX182" fmla="*/ 603315 w 3296788"/>
                  <a:gd name="connsiteY182" fmla="*/ 1181260 h 1960491"/>
                  <a:gd name="connsiteX183" fmla="*/ 602664 w 3296788"/>
                  <a:gd name="connsiteY183" fmla="*/ 1212459 h 1960491"/>
                  <a:gd name="connsiteX184" fmla="*/ 510272 w 3296788"/>
                  <a:gd name="connsiteY184" fmla="*/ 1267057 h 1960491"/>
                  <a:gd name="connsiteX185" fmla="*/ 477089 w 3296788"/>
                  <a:gd name="connsiteY185" fmla="*/ 1267707 h 1960491"/>
                  <a:gd name="connsiteX186" fmla="*/ 392505 w 3296788"/>
                  <a:gd name="connsiteY186" fmla="*/ 1218959 h 1960491"/>
                  <a:gd name="connsiteX187" fmla="*/ 392505 w 3296788"/>
                  <a:gd name="connsiteY187" fmla="*/ 1187760 h 1960491"/>
                  <a:gd name="connsiteX188" fmla="*/ 483596 w 3296788"/>
                  <a:gd name="connsiteY188" fmla="*/ 1133162 h 1960491"/>
                  <a:gd name="connsiteX189" fmla="*/ 500431 w 3296788"/>
                  <a:gd name="connsiteY189" fmla="*/ 1128774 h 1960491"/>
                  <a:gd name="connsiteX190" fmla="*/ 1266682 w 3296788"/>
                  <a:gd name="connsiteY190" fmla="*/ 1128773 h 1960491"/>
                  <a:gd name="connsiteX191" fmla="*/ 1283319 w 3296788"/>
                  <a:gd name="connsiteY191" fmla="*/ 1133161 h 1960491"/>
                  <a:gd name="connsiteX192" fmla="*/ 1370095 w 3296788"/>
                  <a:gd name="connsiteY192" fmla="*/ 1181259 h 1960491"/>
                  <a:gd name="connsiteX193" fmla="*/ 1369442 w 3296788"/>
                  <a:gd name="connsiteY193" fmla="*/ 1212458 h 1960491"/>
                  <a:gd name="connsiteX194" fmla="*/ 1276795 w 3296788"/>
                  <a:gd name="connsiteY194" fmla="*/ 1267056 h 1960491"/>
                  <a:gd name="connsiteX195" fmla="*/ 1242868 w 3296788"/>
                  <a:gd name="connsiteY195" fmla="*/ 1267706 h 1960491"/>
                  <a:gd name="connsiteX196" fmla="*/ 1158050 w 3296788"/>
                  <a:gd name="connsiteY196" fmla="*/ 1218958 h 1960491"/>
                  <a:gd name="connsiteX197" fmla="*/ 1158050 w 3296788"/>
                  <a:gd name="connsiteY197" fmla="*/ 1187759 h 1960491"/>
                  <a:gd name="connsiteX198" fmla="*/ 1250045 w 3296788"/>
                  <a:gd name="connsiteY198" fmla="*/ 1133161 h 1960491"/>
                  <a:gd name="connsiteX199" fmla="*/ 1266682 w 3296788"/>
                  <a:gd name="connsiteY199" fmla="*/ 1128773 h 1960491"/>
                  <a:gd name="connsiteX200" fmla="*/ 883513 w 3296788"/>
                  <a:gd name="connsiteY200" fmla="*/ 1125894 h 1960491"/>
                  <a:gd name="connsiteX201" fmla="*/ 899861 w 3296788"/>
                  <a:gd name="connsiteY201" fmla="*/ 1129632 h 1960491"/>
                  <a:gd name="connsiteX202" fmla="*/ 986397 w 3296788"/>
                  <a:gd name="connsiteY202" fmla="*/ 1178380 h 1960491"/>
                  <a:gd name="connsiteX203" fmla="*/ 986397 w 3296788"/>
                  <a:gd name="connsiteY203" fmla="*/ 1210229 h 1960491"/>
                  <a:gd name="connsiteX204" fmla="*/ 893354 w 3296788"/>
                  <a:gd name="connsiteY204" fmla="*/ 1264828 h 1960491"/>
                  <a:gd name="connsiteX205" fmla="*/ 860171 w 3296788"/>
                  <a:gd name="connsiteY205" fmla="*/ 1264828 h 1960491"/>
                  <a:gd name="connsiteX206" fmla="*/ 775587 w 3296788"/>
                  <a:gd name="connsiteY206" fmla="*/ 1216729 h 1960491"/>
                  <a:gd name="connsiteX207" fmla="*/ 775587 w 3296788"/>
                  <a:gd name="connsiteY207" fmla="*/ 1184880 h 1960491"/>
                  <a:gd name="connsiteX208" fmla="*/ 866678 w 3296788"/>
                  <a:gd name="connsiteY208" fmla="*/ 1130932 h 1960491"/>
                  <a:gd name="connsiteX209" fmla="*/ 883513 w 3296788"/>
                  <a:gd name="connsiteY209" fmla="*/ 1125894 h 1960491"/>
                  <a:gd name="connsiteX210" fmla="*/ 1842422 w 3296788"/>
                  <a:gd name="connsiteY210" fmla="*/ 1022122 h 1960491"/>
                  <a:gd name="connsiteX211" fmla="*/ 1859105 w 3296788"/>
                  <a:gd name="connsiteY211" fmla="*/ 1025940 h 1960491"/>
                  <a:gd name="connsiteX212" fmla="*/ 1946120 w 3296788"/>
                  <a:gd name="connsiteY212" fmla="*/ 1074039 h 1960491"/>
                  <a:gd name="connsiteX213" fmla="*/ 1945466 w 3296788"/>
                  <a:gd name="connsiteY213" fmla="*/ 1105888 h 1960491"/>
                  <a:gd name="connsiteX214" fmla="*/ 1852562 w 3296788"/>
                  <a:gd name="connsiteY214" fmla="*/ 1160486 h 1960491"/>
                  <a:gd name="connsiteX215" fmla="*/ 1818541 w 3296788"/>
                  <a:gd name="connsiteY215" fmla="*/ 1161136 h 1960491"/>
                  <a:gd name="connsiteX216" fmla="*/ 1734143 w 3296788"/>
                  <a:gd name="connsiteY216" fmla="*/ 1112388 h 1960491"/>
                  <a:gd name="connsiteX217" fmla="*/ 1734143 w 3296788"/>
                  <a:gd name="connsiteY217" fmla="*/ 1081189 h 1960491"/>
                  <a:gd name="connsiteX218" fmla="*/ 1825738 w 3296788"/>
                  <a:gd name="connsiteY218" fmla="*/ 1026590 h 1960491"/>
                  <a:gd name="connsiteX219" fmla="*/ 1842422 w 3296788"/>
                  <a:gd name="connsiteY219" fmla="*/ 1022122 h 1960491"/>
                  <a:gd name="connsiteX220" fmla="*/ 693745 w 3296788"/>
                  <a:gd name="connsiteY220" fmla="*/ 1016760 h 1960491"/>
                  <a:gd name="connsiteX221" fmla="*/ 710137 w 3296788"/>
                  <a:gd name="connsiteY221" fmla="*/ 1020805 h 1960491"/>
                  <a:gd name="connsiteX222" fmla="*/ 796913 w 3296788"/>
                  <a:gd name="connsiteY222" fmla="*/ 1069339 h 1960491"/>
                  <a:gd name="connsiteX223" fmla="*/ 796260 w 3296788"/>
                  <a:gd name="connsiteY223" fmla="*/ 1101048 h 1960491"/>
                  <a:gd name="connsiteX224" fmla="*/ 703613 w 3296788"/>
                  <a:gd name="connsiteY224" fmla="*/ 1154758 h 1960491"/>
                  <a:gd name="connsiteX225" fmla="*/ 670338 w 3296788"/>
                  <a:gd name="connsiteY225" fmla="*/ 1155406 h 1960491"/>
                  <a:gd name="connsiteX226" fmla="*/ 584868 w 3296788"/>
                  <a:gd name="connsiteY226" fmla="*/ 1107519 h 1960491"/>
                  <a:gd name="connsiteX227" fmla="*/ 584868 w 3296788"/>
                  <a:gd name="connsiteY227" fmla="*/ 1075810 h 1960491"/>
                  <a:gd name="connsiteX228" fmla="*/ 676863 w 3296788"/>
                  <a:gd name="connsiteY228" fmla="*/ 1021452 h 1960491"/>
                  <a:gd name="connsiteX229" fmla="*/ 693745 w 3296788"/>
                  <a:gd name="connsiteY229" fmla="*/ 1016760 h 1960491"/>
                  <a:gd name="connsiteX230" fmla="*/ 1459575 w 3296788"/>
                  <a:gd name="connsiteY230" fmla="*/ 1016759 h 1960491"/>
                  <a:gd name="connsiteX231" fmla="*/ 1475923 w 3296788"/>
                  <a:gd name="connsiteY231" fmla="*/ 1020804 h 1960491"/>
                  <a:gd name="connsiteX232" fmla="*/ 1562459 w 3296788"/>
                  <a:gd name="connsiteY232" fmla="*/ 1069338 h 1960491"/>
                  <a:gd name="connsiteX233" fmla="*/ 1562459 w 3296788"/>
                  <a:gd name="connsiteY233" fmla="*/ 1101047 h 1960491"/>
                  <a:gd name="connsiteX234" fmla="*/ 1469416 w 3296788"/>
                  <a:gd name="connsiteY234" fmla="*/ 1154757 h 1960491"/>
                  <a:gd name="connsiteX235" fmla="*/ 1436233 w 3296788"/>
                  <a:gd name="connsiteY235" fmla="*/ 1155405 h 1960491"/>
                  <a:gd name="connsiteX236" fmla="*/ 1351649 w 3296788"/>
                  <a:gd name="connsiteY236" fmla="*/ 1107518 h 1960491"/>
                  <a:gd name="connsiteX237" fmla="*/ 1351649 w 3296788"/>
                  <a:gd name="connsiteY237" fmla="*/ 1075809 h 1960491"/>
                  <a:gd name="connsiteX238" fmla="*/ 1442740 w 3296788"/>
                  <a:gd name="connsiteY238" fmla="*/ 1021451 h 1960491"/>
                  <a:gd name="connsiteX239" fmla="*/ 1459575 w 3296788"/>
                  <a:gd name="connsiteY239" fmla="*/ 1016759 h 1960491"/>
                  <a:gd name="connsiteX240" fmla="*/ 1076249 w 3296788"/>
                  <a:gd name="connsiteY240" fmla="*/ 1011007 h 1960491"/>
                  <a:gd name="connsiteX241" fmla="*/ 1092841 w 3296788"/>
                  <a:gd name="connsiteY241" fmla="*/ 1015070 h 1960491"/>
                  <a:gd name="connsiteX242" fmla="*/ 1179377 w 3296788"/>
                  <a:gd name="connsiteY242" fmla="*/ 1063168 h 1960491"/>
                  <a:gd name="connsiteX243" fmla="*/ 1178726 w 3296788"/>
                  <a:gd name="connsiteY243" fmla="*/ 1095017 h 1960491"/>
                  <a:gd name="connsiteX244" fmla="*/ 1086334 w 3296788"/>
                  <a:gd name="connsiteY244" fmla="*/ 1148966 h 1960491"/>
                  <a:gd name="connsiteX245" fmla="*/ 1053151 w 3296788"/>
                  <a:gd name="connsiteY245" fmla="*/ 1149616 h 1960491"/>
                  <a:gd name="connsiteX246" fmla="*/ 968567 w 3296788"/>
                  <a:gd name="connsiteY246" fmla="*/ 1101517 h 1960491"/>
                  <a:gd name="connsiteX247" fmla="*/ 968567 w 3296788"/>
                  <a:gd name="connsiteY247" fmla="*/ 1069668 h 1960491"/>
                  <a:gd name="connsiteX248" fmla="*/ 1059658 w 3296788"/>
                  <a:gd name="connsiteY248" fmla="*/ 1015720 h 1960491"/>
                  <a:gd name="connsiteX249" fmla="*/ 1076249 w 3296788"/>
                  <a:gd name="connsiteY249" fmla="*/ 1011007 h 1960491"/>
                  <a:gd name="connsiteX250" fmla="*/ 2450028 w 3296788"/>
                  <a:gd name="connsiteY250" fmla="*/ 912842 h 1960491"/>
                  <a:gd name="connsiteX251" fmla="*/ 2466428 w 3296788"/>
                  <a:gd name="connsiteY251" fmla="*/ 917178 h 1960491"/>
                  <a:gd name="connsiteX252" fmla="*/ 2553241 w 3296788"/>
                  <a:gd name="connsiteY252" fmla="*/ 965601 h 1960491"/>
                  <a:gd name="connsiteX253" fmla="*/ 2552588 w 3296788"/>
                  <a:gd name="connsiteY253" fmla="*/ 997666 h 1960491"/>
                  <a:gd name="connsiteX254" fmla="*/ 1475592 w 3296788"/>
                  <a:gd name="connsiteY254" fmla="*/ 1621286 h 1960491"/>
                  <a:gd name="connsiteX255" fmla="*/ 1442303 w 3296788"/>
                  <a:gd name="connsiteY255" fmla="*/ 1621940 h 1960491"/>
                  <a:gd name="connsiteX256" fmla="*/ 1357449 w 3296788"/>
                  <a:gd name="connsiteY256" fmla="*/ 1573517 h 1960491"/>
                  <a:gd name="connsiteX257" fmla="*/ 1357449 w 3296788"/>
                  <a:gd name="connsiteY257" fmla="*/ 1541452 h 1960491"/>
                  <a:gd name="connsiteX258" fmla="*/ 2433139 w 3296788"/>
                  <a:gd name="connsiteY258" fmla="*/ 917832 h 1960491"/>
                  <a:gd name="connsiteX259" fmla="*/ 2450028 w 3296788"/>
                  <a:gd name="connsiteY259" fmla="*/ 912842 h 1960491"/>
                  <a:gd name="connsiteX260" fmla="*/ 2032754 w 3296788"/>
                  <a:gd name="connsiteY260" fmla="*/ 907308 h 1960491"/>
                  <a:gd name="connsiteX261" fmla="*/ 2049102 w 3296788"/>
                  <a:gd name="connsiteY261" fmla="*/ 911352 h 1960491"/>
                  <a:gd name="connsiteX262" fmla="*/ 2135638 w 3296788"/>
                  <a:gd name="connsiteY262" fmla="*/ 959886 h 1960491"/>
                  <a:gd name="connsiteX263" fmla="*/ 2135638 w 3296788"/>
                  <a:gd name="connsiteY263" fmla="*/ 991595 h 1960491"/>
                  <a:gd name="connsiteX264" fmla="*/ 2042595 w 3296788"/>
                  <a:gd name="connsiteY264" fmla="*/ 1045306 h 1960491"/>
                  <a:gd name="connsiteX265" fmla="*/ 2009412 w 3296788"/>
                  <a:gd name="connsiteY265" fmla="*/ 1045953 h 1960491"/>
                  <a:gd name="connsiteX266" fmla="*/ 1924828 w 3296788"/>
                  <a:gd name="connsiteY266" fmla="*/ 998066 h 1960491"/>
                  <a:gd name="connsiteX267" fmla="*/ 1924828 w 3296788"/>
                  <a:gd name="connsiteY267" fmla="*/ 966357 h 1960491"/>
                  <a:gd name="connsiteX268" fmla="*/ 2015919 w 3296788"/>
                  <a:gd name="connsiteY268" fmla="*/ 911999 h 1960491"/>
                  <a:gd name="connsiteX269" fmla="*/ 2032754 w 3296788"/>
                  <a:gd name="connsiteY269" fmla="*/ 907308 h 1960491"/>
                  <a:gd name="connsiteX270" fmla="*/ 883512 w 3296788"/>
                  <a:gd name="connsiteY270" fmla="*/ 904111 h 1960491"/>
                  <a:gd name="connsiteX271" fmla="*/ 899860 w 3296788"/>
                  <a:gd name="connsiteY271" fmla="*/ 907849 h 1960491"/>
                  <a:gd name="connsiteX272" fmla="*/ 986396 w 3296788"/>
                  <a:gd name="connsiteY272" fmla="*/ 956597 h 1960491"/>
                  <a:gd name="connsiteX273" fmla="*/ 986396 w 3296788"/>
                  <a:gd name="connsiteY273" fmla="*/ 987796 h 1960491"/>
                  <a:gd name="connsiteX274" fmla="*/ 893353 w 3296788"/>
                  <a:gd name="connsiteY274" fmla="*/ 1042394 h 1960491"/>
                  <a:gd name="connsiteX275" fmla="*/ 860170 w 3296788"/>
                  <a:gd name="connsiteY275" fmla="*/ 1043044 h 1960491"/>
                  <a:gd name="connsiteX276" fmla="*/ 775586 w 3296788"/>
                  <a:gd name="connsiteY276" fmla="*/ 994946 h 1960491"/>
                  <a:gd name="connsiteX277" fmla="*/ 775586 w 3296788"/>
                  <a:gd name="connsiteY277" fmla="*/ 963097 h 1960491"/>
                  <a:gd name="connsiteX278" fmla="*/ 866677 w 3296788"/>
                  <a:gd name="connsiteY278" fmla="*/ 909149 h 1960491"/>
                  <a:gd name="connsiteX279" fmla="*/ 883512 w 3296788"/>
                  <a:gd name="connsiteY279" fmla="*/ 904111 h 1960491"/>
                  <a:gd name="connsiteX280" fmla="*/ 1649432 w 3296788"/>
                  <a:gd name="connsiteY280" fmla="*/ 904110 h 1960491"/>
                  <a:gd name="connsiteX281" fmla="*/ 1666023 w 3296788"/>
                  <a:gd name="connsiteY281" fmla="*/ 907848 h 1960491"/>
                  <a:gd name="connsiteX282" fmla="*/ 1752559 w 3296788"/>
                  <a:gd name="connsiteY282" fmla="*/ 956596 h 1960491"/>
                  <a:gd name="connsiteX283" fmla="*/ 1751908 w 3296788"/>
                  <a:gd name="connsiteY283" fmla="*/ 987795 h 1960491"/>
                  <a:gd name="connsiteX284" fmla="*/ 1659516 w 3296788"/>
                  <a:gd name="connsiteY284" fmla="*/ 1042393 h 1960491"/>
                  <a:gd name="connsiteX285" fmla="*/ 1625683 w 3296788"/>
                  <a:gd name="connsiteY285" fmla="*/ 1043043 h 1960491"/>
                  <a:gd name="connsiteX286" fmla="*/ 1541749 w 3296788"/>
                  <a:gd name="connsiteY286" fmla="*/ 994945 h 1960491"/>
                  <a:gd name="connsiteX287" fmla="*/ 1541749 w 3296788"/>
                  <a:gd name="connsiteY287" fmla="*/ 963096 h 1960491"/>
                  <a:gd name="connsiteX288" fmla="*/ 1632840 w 3296788"/>
                  <a:gd name="connsiteY288" fmla="*/ 909148 h 1960491"/>
                  <a:gd name="connsiteX289" fmla="*/ 1649432 w 3296788"/>
                  <a:gd name="connsiteY289" fmla="*/ 904110 h 1960491"/>
                  <a:gd name="connsiteX290" fmla="*/ 1266681 w 3296788"/>
                  <a:gd name="connsiteY290" fmla="*/ 898432 h 1960491"/>
                  <a:gd name="connsiteX291" fmla="*/ 1283318 w 3296788"/>
                  <a:gd name="connsiteY291" fmla="*/ 902738 h 1960491"/>
                  <a:gd name="connsiteX292" fmla="*/ 1370094 w 3296788"/>
                  <a:gd name="connsiteY292" fmla="*/ 950836 h 1960491"/>
                  <a:gd name="connsiteX293" fmla="*/ 1369441 w 3296788"/>
                  <a:gd name="connsiteY293" fmla="*/ 982685 h 1960491"/>
                  <a:gd name="connsiteX294" fmla="*/ 1276794 w 3296788"/>
                  <a:gd name="connsiteY294" fmla="*/ 1037283 h 1960491"/>
                  <a:gd name="connsiteX295" fmla="*/ 1242867 w 3296788"/>
                  <a:gd name="connsiteY295" fmla="*/ 1037283 h 1960491"/>
                  <a:gd name="connsiteX296" fmla="*/ 1158049 w 3296788"/>
                  <a:gd name="connsiteY296" fmla="*/ 989185 h 1960491"/>
                  <a:gd name="connsiteX297" fmla="*/ 1158049 w 3296788"/>
                  <a:gd name="connsiteY297" fmla="*/ 957986 h 1960491"/>
                  <a:gd name="connsiteX298" fmla="*/ 1250044 w 3296788"/>
                  <a:gd name="connsiteY298" fmla="*/ 903388 h 1960491"/>
                  <a:gd name="connsiteX299" fmla="*/ 1266681 w 3296788"/>
                  <a:gd name="connsiteY299" fmla="*/ 898432 h 1960491"/>
                  <a:gd name="connsiteX300" fmla="*/ 2608815 w 3296788"/>
                  <a:gd name="connsiteY300" fmla="*/ 800737 h 1960491"/>
                  <a:gd name="connsiteX301" fmla="*/ 2625163 w 3296788"/>
                  <a:gd name="connsiteY301" fmla="*/ 804781 h 1960491"/>
                  <a:gd name="connsiteX302" fmla="*/ 2711699 w 3296788"/>
                  <a:gd name="connsiteY302" fmla="*/ 853315 h 1960491"/>
                  <a:gd name="connsiteX303" fmla="*/ 2711699 w 3296788"/>
                  <a:gd name="connsiteY303" fmla="*/ 885023 h 1960491"/>
                  <a:gd name="connsiteX304" fmla="*/ 2618656 w 3296788"/>
                  <a:gd name="connsiteY304" fmla="*/ 938734 h 1960491"/>
                  <a:gd name="connsiteX305" fmla="*/ 2585473 w 3296788"/>
                  <a:gd name="connsiteY305" fmla="*/ 939381 h 1960491"/>
                  <a:gd name="connsiteX306" fmla="*/ 2500889 w 3296788"/>
                  <a:gd name="connsiteY306" fmla="*/ 891495 h 1960491"/>
                  <a:gd name="connsiteX307" fmla="*/ 2500889 w 3296788"/>
                  <a:gd name="connsiteY307" fmla="*/ 859786 h 1960491"/>
                  <a:gd name="connsiteX308" fmla="*/ 2591980 w 3296788"/>
                  <a:gd name="connsiteY308" fmla="*/ 805428 h 1960491"/>
                  <a:gd name="connsiteX309" fmla="*/ 2608815 w 3296788"/>
                  <a:gd name="connsiteY309" fmla="*/ 800737 h 1960491"/>
                  <a:gd name="connsiteX310" fmla="*/ 2225492 w 3296788"/>
                  <a:gd name="connsiteY310" fmla="*/ 794740 h 1960491"/>
                  <a:gd name="connsiteX311" fmla="*/ 2242083 w 3296788"/>
                  <a:gd name="connsiteY311" fmla="*/ 799046 h 1960491"/>
                  <a:gd name="connsiteX312" fmla="*/ 2328619 w 3296788"/>
                  <a:gd name="connsiteY312" fmla="*/ 847144 h 1960491"/>
                  <a:gd name="connsiteX313" fmla="*/ 2327968 w 3296788"/>
                  <a:gd name="connsiteY313" fmla="*/ 878343 h 1960491"/>
                  <a:gd name="connsiteX314" fmla="*/ 2235576 w 3296788"/>
                  <a:gd name="connsiteY314" fmla="*/ 932941 h 1960491"/>
                  <a:gd name="connsiteX315" fmla="*/ 2201743 w 3296788"/>
                  <a:gd name="connsiteY315" fmla="*/ 933591 h 1960491"/>
                  <a:gd name="connsiteX316" fmla="*/ 2117809 w 3296788"/>
                  <a:gd name="connsiteY316" fmla="*/ 885493 h 1960491"/>
                  <a:gd name="connsiteX317" fmla="*/ 2117809 w 3296788"/>
                  <a:gd name="connsiteY317" fmla="*/ 853644 h 1960491"/>
                  <a:gd name="connsiteX318" fmla="*/ 2208900 w 3296788"/>
                  <a:gd name="connsiteY318" fmla="*/ 799696 h 1960491"/>
                  <a:gd name="connsiteX319" fmla="*/ 2225492 w 3296788"/>
                  <a:gd name="connsiteY319" fmla="*/ 794740 h 1960491"/>
                  <a:gd name="connsiteX320" fmla="*/ 1076248 w 3296788"/>
                  <a:gd name="connsiteY320" fmla="*/ 791861 h 1960491"/>
                  <a:gd name="connsiteX321" fmla="*/ 1092840 w 3296788"/>
                  <a:gd name="connsiteY321" fmla="*/ 796167 h 1960491"/>
                  <a:gd name="connsiteX322" fmla="*/ 1179376 w 3296788"/>
                  <a:gd name="connsiteY322" fmla="*/ 844265 h 1960491"/>
                  <a:gd name="connsiteX323" fmla="*/ 1178725 w 3296788"/>
                  <a:gd name="connsiteY323" fmla="*/ 876114 h 1960491"/>
                  <a:gd name="connsiteX324" fmla="*/ 1086333 w 3296788"/>
                  <a:gd name="connsiteY324" fmla="*/ 930713 h 1960491"/>
                  <a:gd name="connsiteX325" fmla="*/ 1053150 w 3296788"/>
                  <a:gd name="connsiteY325" fmla="*/ 930713 h 1960491"/>
                  <a:gd name="connsiteX326" fmla="*/ 968566 w 3296788"/>
                  <a:gd name="connsiteY326" fmla="*/ 882614 h 1960491"/>
                  <a:gd name="connsiteX327" fmla="*/ 968566 w 3296788"/>
                  <a:gd name="connsiteY327" fmla="*/ 851415 h 1960491"/>
                  <a:gd name="connsiteX328" fmla="*/ 1059657 w 3296788"/>
                  <a:gd name="connsiteY328" fmla="*/ 796817 h 1960491"/>
                  <a:gd name="connsiteX329" fmla="*/ 1076248 w 3296788"/>
                  <a:gd name="connsiteY329" fmla="*/ 791861 h 1960491"/>
                  <a:gd name="connsiteX330" fmla="*/ 1842422 w 3296788"/>
                  <a:gd name="connsiteY330" fmla="*/ 791860 h 1960491"/>
                  <a:gd name="connsiteX331" fmla="*/ 1859105 w 3296788"/>
                  <a:gd name="connsiteY331" fmla="*/ 796166 h 1960491"/>
                  <a:gd name="connsiteX332" fmla="*/ 1946120 w 3296788"/>
                  <a:gd name="connsiteY332" fmla="*/ 844264 h 1960491"/>
                  <a:gd name="connsiteX333" fmla="*/ 1945466 w 3296788"/>
                  <a:gd name="connsiteY333" fmla="*/ 876113 h 1960491"/>
                  <a:gd name="connsiteX334" fmla="*/ 1852562 w 3296788"/>
                  <a:gd name="connsiteY334" fmla="*/ 930712 h 1960491"/>
                  <a:gd name="connsiteX335" fmla="*/ 1818541 w 3296788"/>
                  <a:gd name="connsiteY335" fmla="*/ 930712 h 1960491"/>
                  <a:gd name="connsiteX336" fmla="*/ 1734143 w 3296788"/>
                  <a:gd name="connsiteY336" fmla="*/ 882613 h 1960491"/>
                  <a:gd name="connsiteX337" fmla="*/ 1734143 w 3296788"/>
                  <a:gd name="connsiteY337" fmla="*/ 851414 h 1960491"/>
                  <a:gd name="connsiteX338" fmla="*/ 1825738 w 3296788"/>
                  <a:gd name="connsiteY338" fmla="*/ 796816 h 1960491"/>
                  <a:gd name="connsiteX339" fmla="*/ 1842422 w 3296788"/>
                  <a:gd name="connsiteY339" fmla="*/ 791860 h 1960491"/>
                  <a:gd name="connsiteX340" fmla="*/ 1459574 w 3296788"/>
                  <a:gd name="connsiteY340" fmla="*/ 785938 h 1960491"/>
                  <a:gd name="connsiteX341" fmla="*/ 1475922 w 3296788"/>
                  <a:gd name="connsiteY341" fmla="*/ 789757 h 1960491"/>
                  <a:gd name="connsiteX342" fmla="*/ 1562458 w 3296788"/>
                  <a:gd name="connsiteY342" fmla="*/ 837855 h 1960491"/>
                  <a:gd name="connsiteX343" fmla="*/ 1562458 w 3296788"/>
                  <a:gd name="connsiteY343" fmla="*/ 869704 h 1960491"/>
                  <a:gd name="connsiteX344" fmla="*/ 1469415 w 3296788"/>
                  <a:gd name="connsiteY344" fmla="*/ 924303 h 1960491"/>
                  <a:gd name="connsiteX345" fmla="*/ 1436232 w 3296788"/>
                  <a:gd name="connsiteY345" fmla="*/ 924953 h 1960491"/>
                  <a:gd name="connsiteX346" fmla="*/ 1351648 w 3296788"/>
                  <a:gd name="connsiteY346" fmla="*/ 876204 h 1960491"/>
                  <a:gd name="connsiteX347" fmla="*/ 1351648 w 3296788"/>
                  <a:gd name="connsiteY347" fmla="*/ 845005 h 1960491"/>
                  <a:gd name="connsiteX348" fmla="*/ 1442739 w 3296788"/>
                  <a:gd name="connsiteY348" fmla="*/ 790407 h 1960491"/>
                  <a:gd name="connsiteX349" fmla="*/ 1459574 w 3296788"/>
                  <a:gd name="connsiteY349" fmla="*/ 785938 h 1960491"/>
                  <a:gd name="connsiteX350" fmla="*/ 2801553 w 3296788"/>
                  <a:gd name="connsiteY350" fmla="*/ 688169 h 1960491"/>
                  <a:gd name="connsiteX351" fmla="*/ 2818144 w 3296788"/>
                  <a:gd name="connsiteY351" fmla="*/ 692475 h 1960491"/>
                  <a:gd name="connsiteX352" fmla="*/ 2904680 w 3296788"/>
                  <a:gd name="connsiteY352" fmla="*/ 740574 h 1960491"/>
                  <a:gd name="connsiteX353" fmla="*/ 2904029 w 3296788"/>
                  <a:gd name="connsiteY353" fmla="*/ 771773 h 1960491"/>
                  <a:gd name="connsiteX354" fmla="*/ 2811637 w 3296788"/>
                  <a:gd name="connsiteY354" fmla="*/ 826371 h 1960491"/>
                  <a:gd name="connsiteX355" fmla="*/ 2777804 w 3296788"/>
                  <a:gd name="connsiteY355" fmla="*/ 827021 h 1960491"/>
                  <a:gd name="connsiteX356" fmla="*/ 2693870 w 3296788"/>
                  <a:gd name="connsiteY356" fmla="*/ 778273 h 1960491"/>
                  <a:gd name="connsiteX357" fmla="*/ 2693870 w 3296788"/>
                  <a:gd name="connsiteY357" fmla="*/ 747074 h 1960491"/>
                  <a:gd name="connsiteX358" fmla="*/ 2784961 w 3296788"/>
                  <a:gd name="connsiteY358" fmla="*/ 693125 h 1960491"/>
                  <a:gd name="connsiteX359" fmla="*/ 2801553 w 3296788"/>
                  <a:gd name="connsiteY359" fmla="*/ 688169 h 1960491"/>
                  <a:gd name="connsiteX360" fmla="*/ 2418803 w 3296788"/>
                  <a:gd name="connsiteY360" fmla="*/ 682409 h 1960491"/>
                  <a:gd name="connsiteX361" fmla="*/ 2435440 w 3296788"/>
                  <a:gd name="connsiteY361" fmla="*/ 686715 h 1960491"/>
                  <a:gd name="connsiteX362" fmla="*/ 2522216 w 3296788"/>
                  <a:gd name="connsiteY362" fmla="*/ 734814 h 1960491"/>
                  <a:gd name="connsiteX363" fmla="*/ 2521563 w 3296788"/>
                  <a:gd name="connsiteY363" fmla="*/ 766663 h 1960491"/>
                  <a:gd name="connsiteX364" fmla="*/ 2428916 w 3296788"/>
                  <a:gd name="connsiteY364" fmla="*/ 821261 h 1960491"/>
                  <a:gd name="connsiteX365" fmla="*/ 2394989 w 3296788"/>
                  <a:gd name="connsiteY365" fmla="*/ 821261 h 1960491"/>
                  <a:gd name="connsiteX366" fmla="*/ 2310171 w 3296788"/>
                  <a:gd name="connsiteY366" fmla="*/ 773163 h 1960491"/>
                  <a:gd name="connsiteX367" fmla="*/ 2310171 w 3296788"/>
                  <a:gd name="connsiteY367" fmla="*/ 741314 h 1960491"/>
                  <a:gd name="connsiteX368" fmla="*/ 2402166 w 3296788"/>
                  <a:gd name="connsiteY368" fmla="*/ 687365 h 1960491"/>
                  <a:gd name="connsiteX369" fmla="*/ 2418803 w 3296788"/>
                  <a:gd name="connsiteY369" fmla="*/ 682409 h 1960491"/>
                  <a:gd name="connsiteX370" fmla="*/ 1266680 w 3296788"/>
                  <a:gd name="connsiteY370" fmla="*/ 676649 h 1960491"/>
                  <a:gd name="connsiteX371" fmla="*/ 1283317 w 3296788"/>
                  <a:gd name="connsiteY371" fmla="*/ 680955 h 1960491"/>
                  <a:gd name="connsiteX372" fmla="*/ 1370093 w 3296788"/>
                  <a:gd name="connsiteY372" fmla="*/ 729053 h 1960491"/>
                  <a:gd name="connsiteX373" fmla="*/ 1369440 w 3296788"/>
                  <a:gd name="connsiteY373" fmla="*/ 760902 h 1960491"/>
                  <a:gd name="connsiteX374" fmla="*/ 1276793 w 3296788"/>
                  <a:gd name="connsiteY374" fmla="*/ 815501 h 1960491"/>
                  <a:gd name="connsiteX375" fmla="*/ 1242866 w 3296788"/>
                  <a:gd name="connsiteY375" fmla="*/ 816151 h 1960491"/>
                  <a:gd name="connsiteX376" fmla="*/ 1158048 w 3296788"/>
                  <a:gd name="connsiteY376" fmla="*/ 767402 h 1960491"/>
                  <a:gd name="connsiteX377" fmla="*/ 1158048 w 3296788"/>
                  <a:gd name="connsiteY377" fmla="*/ 736203 h 1960491"/>
                  <a:gd name="connsiteX378" fmla="*/ 1250043 w 3296788"/>
                  <a:gd name="connsiteY378" fmla="*/ 681605 h 1960491"/>
                  <a:gd name="connsiteX379" fmla="*/ 1266680 w 3296788"/>
                  <a:gd name="connsiteY379" fmla="*/ 676649 h 1960491"/>
                  <a:gd name="connsiteX380" fmla="*/ 2032754 w 3296788"/>
                  <a:gd name="connsiteY380" fmla="*/ 676648 h 1960491"/>
                  <a:gd name="connsiteX381" fmla="*/ 2049102 w 3296788"/>
                  <a:gd name="connsiteY381" fmla="*/ 680954 h 1960491"/>
                  <a:gd name="connsiteX382" fmla="*/ 2135638 w 3296788"/>
                  <a:gd name="connsiteY382" fmla="*/ 729052 h 1960491"/>
                  <a:gd name="connsiteX383" fmla="*/ 2135638 w 3296788"/>
                  <a:gd name="connsiteY383" fmla="*/ 760901 h 1960491"/>
                  <a:gd name="connsiteX384" fmla="*/ 2042595 w 3296788"/>
                  <a:gd name="connsiteY384" fmla="*/ 815500 h 1960491"/>
                  <a:gd name="connsiteX385" fmla="*/ 2009412 w 3296788"/>
                  <a:gd name="connsiteY385" fmla="*/ 816150 h 1960491"/>
                  <a:gd name="connsiteX386" fmla="*/ 1924828 w 3296788"/>
                  <a:gd name="connsiteY386" fmla="*/ 767401 h 1960491"/>
                  <a:gd name="connsiteX387" fmla="*/ 1924828 w 3296788"/>
                  <a:gd name="connsiteY387" fmla="*/ 736202 h 1960491"/>
                  <a:gd name="connsiteX388" fmla="*/ 2015919 w 3296788"/>
                  <a:gd name="connsiteY388" fmla="*/ 681604 h 1960491"/>
                  <a:gd name="connsiteX389" fmla="*/ 2032754 w 3296788"/>
                  <a:gd name="connsiteY389" fmla="*/ 676648 h 1960491"/>
                  <a:gd name="connsiteX390" fmla="*/ 1649431 w 3296788"/>
                  <a:gd name="connsiteY390" fmla="*/ 674084 h 1960491"/>
                  <a:gd name="connsiteX391" fmla="*/ 1666022 w 3296788"/>
                  <a:gd name="connsiteY391" fmla="*/ 678695 h 1960491"/>
                  <a:gd name="connsiteX392" fmla="*/ 1752558 w 3296788"/>
                  <a:gd name="connsiteY392" fmla="*/ 726581 h 1960491"/>
                  <a:gd name="connsiteX393" fmla="*/ 1751907 w 3296788"/>
                  <a:gd name="connsiteY393" fmla="*/ 757643 h 1960491"/>
                  <a:gd name="connsiteX394" fmla="*/ 1659515 w 3296788"/>
                  <a:gd name="connsiteY394" fmla="*/ 812000 h 1960491"/>
                  <a:gd name="connsiteX395" fmla="*/ 1625682 w 3296788"/>
                  <a:gd name="connsiteY395" fmla="*/ 812648 h 1960491"/>
                  <a:gd name="connsiteX396" fmla="*/ 1541748 w 3296788"/>
                  <a:gd name="connsiteY396" fmla="*/ 764114 h 1960491"/>
                  <a:gd name="connsiteX397" fmla="*/ 1541748 w 3296788"/>
                  <a:gd name="connsiteY397" fmla="*/ 733053 h 1960491"/>
                  <a:gd name="connsiteX398" fmla="*/ 1632839 w 3296788"/>
                  <a:gd name="connsiteY398" fmla="*/ 678695 h 1960491"/>
                  <a:gd name="connsiteX399" fmla="*/ 1649431 w 3296788"/>
                  <a:gd name="connsiteY399" fmla="*/ 674084 h 1960491"/>
                  <a:gd name="connsiteX400" fmla="*/ 2991739 w 3296788"/>
                  <a:gd name="connsiteY400" fmla="*/ 575837 h 1960491"/>
                  <a:gd name="connsiteX401" fmla="*/ 3008621 w 3296788"/>
                  <a:gd name="connsiteY401" fmla="*/ 580143 h 1960491"/>
                  <a:gd name="connsiteX402" fmla="*/ 3095397 w 3296788"/>
                  <a:gd name="connsiteY402" fmla="*/ 628241 h 1960491"/>
                  <a:gd name="connsiteX403" fmla="*/ 3094744 w 3296788"/>
                  <a:gd name="connsiteY403" fmla="*/ 660090 h 1960491"/>
                  <a:gd name="connsiteX404" fmla="*/ 3002097 w 3296788"/>
                  <a:gd name="connsiteY404" fmla="*/ 714688 h 1960491"/>
                  <a:gd name="connsiteX405" fmla="*/ 2968170 w 3296788"/>
                  <a:gd name="connsiteY405" fmla="*/ 714688 h 1960491"/>
                  <a:gd name="connsiteX406" fmla="*/ 2883352 w 3296788"/>
                  <a:gd name="connsiteY406" fmla="*/ 666590 h 1960491"/>
                  <a:gd name="connsiteX407" fmla="*/ 2883352 w 3296788"/>
                  <a:gd name="connsiteY407" fmla="*/ 634741 h 1960491"/>
                  <a:gd name="connsiteX408" fmla="*/ 2975347 w 3296788"/>
                  <a:gd name="connsiteY408" fmla="*/ 580793 h 1960491"/>
                  <a:gd name="connsiteX409" fmla="*/ 2991739 w 3296788"/>
                  <a:gd name="connsiteY409" fmla="*/ 575837 h 1960491"/>
                  <a:gd name="connsiteX410" fmla="*/ 2608815 w 3296788"/>
                  <a:gd name="connsiteY410" fmla="*/ 570076 h 1960491"/>
                  <a:gd name="connsiteX411" fmla="*/ 2625163 w 3296788"/>
                  <a:gd name="connsiteY411" fmla="*/ 574382 h 1960491"/>
                  <a:gd name="connsiteX412" fmla="*/ 2711699 w 3296788"/>
                  <a:gd name="connsiteY412" fmla="*/ 622480 h 1960491"/>
                  <a:gd name="connsiteX413" fmla="*/ 2711699 w 3296788"/>
                  <a:gd name="connsiteY413" fmla="*/ 654329 h 1960491"/>
                  <a:gd name="connsiteX414" fmla="*/ 2618656 w 3296788"/>
                  <a:gd name="connsiteY414" fmla="*/ 708927 h 1960491"/>
                  <a:gd name="connsiteX415" fmla="*/ 2585473 w 3296788"/>
                  <a:gd name="connsiteY415" fmla="*/ 708927 h 1960491"/>
                  <a:gd name="connsiteX416" fmla="*/ 2500889 w 3296788"/>
                  <a:gd name="connsiteY416" fmla="*/ 660829 h 1960491"/>
                  <a:gd name="connsiteX417" fmla="*/ 2500889 w 3296788"/>
                  <a:gd name="connsiteY417" fmla="*/ 629630 h 1960491"/>
                  <a:gd name="connsiteX418" fmla="*/ 2591980 w 3296788"/>
                  <a:gd name="connsiteY418" fmla="*/ 575032 h 1960491"/>
                  <a:gd name="connsiteX419" fmla="*/ 2608815 w 3296788"/>
                  <a:gd name="connsiteY419" fmla="*/ 570076 h 1960491"/>
                  <a:gd name="connsiteX420" fmla="*/ 1459573 w 3296788"/>
                  <a:gd name="connsiteY420" fmla="*/ 564552 h 1960491"/>
                  <a:gd name="connsiteX421" fmla="*/ 1475921 w 3296788"/>
                  <a:gd name="connsiteY421" fmla="*/ 568597 h 1960491"/>
                  <a:gd name="connsiteX422" fmla="*/ 1562457 w 3296788"/>
                  <a:gd name="connsiteY422" fmla="*/ 617130 h 1960491"/>
                  <a:gd name="connsiteX423" fmla="*/ 1562457 w 3296788"/>
                  <a:gd name="connsiteY423" fmla="*/ 648192 h 1960491"/>
                  <a:gd name="connsiteX424" fmla="*/ 1469414 w 3296788"/>
                  <a:gd name="connsiteY424" fmla="*/ 702549 h 1960491"/>
                  <a:gd name="connsiteX425" fmla="*/ 1436231 w 3296788"/>
                  <a:gd name="connsiteY425" fmla="*/ 703197 h 1960491"/>
                  <a:gd name="connsiteX426" fmla="*/ 1351647 w 3296788"/>
                  <a:gd name="connsiteY426" fmla="*/ 654663 h 1960491"/>
                  <a:gd name="connsiteX427" fmla="*/ 1351647 w 3296788"/>
                  <a:gd name="connsiteY427" fmla="*/ 623602 h 1960491"/>
                  <a:gd name="connsiteX428" fmla="*/ 1442738 w 3296788"/>
                  <a:gd name="connsiteY428" fmla="*/ 569244 h 1960491"/>
                  <a:gd name="connsiteX429" fmla="*/ 1459573 w 3296788"/>
                  <a:gd name="connsiteY429" fmla="*/ 564552 h 1960491"/>
                  <a:gd name="connsiteX430" fmla="*/ 2225491 w 3296788"/>
                  <a:gd name="connsiteY430" fmla="*/ 564551 h 1960491"/>
                  <a:gd name="connsiteX431" fmla="*/ 2242083 w 3296788"/>
                  <a:gd name="connsiteY431" fmla="*/ 568596 h 1960491"/>
                  <a:gd name="connsiteX432" fmla="*/ 2328619 w 3296788"/>
                  <a:gd name="connsiteY432" fmla="*/ 617129 h 1960491"/>
                  <a:gd name="connsiteX433" fmla="*/ 2327968 w 3296788"/>
                  <a:gd name="connsiteY433" fmla="*/ 648191 h 1960491"/>
                  <a:gd name="connsiteX434" fmla="*/ 2235576 w 3296788"/>
                  <a:gd name="connsiteY434" fmla="*/ 702548 h 1960491"/>
                  <a:gd name="connsiteX435" fmla="*/ 2201743 w 3296788"/>
                  <a:gd name="connsiteY435" fmla="*/ 703196 h 1960491"/>
                  <a:gd name="connsiteX436" fmla="*/ 2117809 w 3296788"/>
                  <a:gd name="connsiteY436" fmla="*/ 654662 h 1960491"/>
                  <a:gd name="connsiteX437" fmla="*/ 2117809 w 3296788"/>
                  <a:gd name="connsiteY437" fmla="*/ 623601 h 1960491"/>
                  <a:gd name="connsiteX438" fmla="*/ 2208900 w 3296788"/>
                  <a:gd name="connsiteY438" fmla="*/ 569243 h 1960491"/>
                  <a:gd name="connsiteX439" fmla="*/ 2225491 w 3296788"/>
                  <a:gd name="connsiteY439" fmla="*/ 564551 h 1960491"/>
                  <a:gd name="connsiteX440" fmla="*/ 1842421 w 3296788"/>
                  <a:gd name="connsiteY440" fmla="*/ 561274 h 1960491"/>
                  <a:gd name="connsiteX441" fmla="*/ 1859104 w 3296788"/>
                  <a:gd name="connsiteY441" fmla="*/ 565093 h 1960491"/>
                  <a:gd name="connsiteX442" fmla="*/ 1946119 w 3296788"/>
                  <a:gd name="connsiteY442" fmla="*/ 613841 h 1960491"/>
                  <a:gd name="connsiteX443" fmla="*/ 1945465 w 3296788"/>
                  <a:gd name="connsiteY443" fmla="*/ 645690 h 1960491"/>
                  <a:gd name="connsiteX444" fmla="*/ 1852561 w 3296788"/>
                  <a:gd name="connsiteY444" fmla="*/ 699639 h 1960491"/>
                  <a:gd name="connsiteX445" fmla="*/ 1818540 w 3296788"/>
                  <a:gd name="connsiteY445" fmla="*/ 700289 h 1960491"/>
                  <a:gd name="connsiteX446" fmla="*/ 1734142 w 3296788"/>
                  <a:gd name="connsiteY446" fmla="*/ 652190 h 1960491"/>
                  <a:gd name="connsiteX447" fmla="*/ 1734142 w 3296788"/>
                  <a:gd name="connsiteY447" fmla="*/ 620341 h 1960491"/>
                  <a:gd name="connsiteX448" fmla="*/ 1825737 w 3296788"/>
                  <a:gd name="connsiteY448" fmla="*/ 565743 h 1960491"/>
                  <a:gd name="connsiteX449" fmla="*/ 1842421 w 3296788"/>
                  <a:gd name="connsiteY449" fmla="*/ 561274 h 1960491"/>
                  <a:gd name="connsiteX450" fmla="*/ 3184875 w 3296788"/>
                  <a:gd name="connsiteY450" fmla="*/ 463507 h 1960491"/>
                  <a:gd name="connsiteX451" fmla="*/ 3201223 w 3296788"/>
                  <a:gd name="connsiteY451" fmla="*/ 467813 h 1960491"/>
                  <a:gd name="connsiteX452" fmla="*/ 3287759 w 3296788"/>
                  <a:gd name="connsiteY452" fmla="*/ 515912 h 1960491"/>
                  <a:gd name="connsiteX453" fmla="*/ 3287759 w 3296788"/>
                  <a:gd name="connsiteY453" fmla="*/ 547761 h 1960491"/>
                  <a:gd name="connsiteX454" fmla="*/ 3194716 w 3296788"/>
                  <a:gd name="connsiteY454" fmla="*/ 602359 h 1960491"/>
                  <a:gd name="connsiteX455" fmla="*/ 3161533 w 3296788"/>
                  <a:gd name="connsiteY455" fmla="*/ 603009 h 1960491"/>
                  <a:gd name="connsiteX456" fmla="*/ 3076949 w 3296788"/>
                  <a:gd name="connsiteY456" fmla="*/ 554261 h 1960491"/>
                  <a:gd name="connsiteX457" fmla="*/ 3076949 w 3296788"/>
                  <a:gd name="connsiteY457" fmla="*/ 523062 h 1960491"/>
                  <a:gd name="connsiteX458" fmla="*/ 3168040 w 3296788"/>
                  <a:gd name="connsiteY458" fmla="*/ 468463 h 1960491"/>
                  <a:gd name="connsiteX459" fmla="*/ 3184875 w 3296788"/>
                  <a:gd name="connsiteY459" fmla="*/ 463507 h 1960491"/>
                  <a:gd name="connsiteX460" fmla="*/ 2801554 w 3296788"/>
                  <a:gd name="connsiteY460" fmla="*/ 457982 h 1960491"/>
                  <a:gd name="connsiteX461" fmla="*/ 2818145 w 3296788"/>
                  <a:gd name="connsiteY461" fmla="*/ 462026 h 1960491"/>
                  <a:gd name="connsiteX462" fmla="*/ 2904681 w 3296788"/>
                  <a:gd name="connsiteY462" fmla="*/ 509913 h 1960491"/>
                  <a:gd name="connsiteX463" fmla="*/ 2904030 w 3296788"/>
                  <a:gd name="connsiteY463" fmla="*/ 541622 h 1960491"/>
                  <a:gd name="connsiteX464" fmla="*/ 2811638 w 3296788"/>
                  <a:gd name="connsiteY464" fmla="*/ 595980 h 1960491"/>
                  <a:gd name="connsiteX465" fmla="*/ 2777805 w 3296788"/>
                  <a:gd name="connsiteY465" fmla="*/ 596627 h 1960491"/>
                  <a:gd name="connsiteX466" fmla="*/ 2693871 w 3296788"/>
                  <a:gd name="connsiteY466" fmla="*/ 548093 h 1960491"/>
                  <a:gd name="connsiteX467" fmla="*/ 2693871 w 3296788"/>
                  <a:gd name="connsiteY467" fmla="*/ 516384 h 1960491"/>
                  <a:gd name="connsiteX468" fmla="*/ 2784962 w 3296788"/>
                  <a:gd name="connsiteY468" fmla="*/ 462673 h 1960491"/>
                  <a:gd name="connsiteX469" fmla="*/ 2801554 w 3296788"/>
                  <a:gd name="connsiteY469" fmla="*/ 457982 h 1960491"/>
                  <a:gd name="connsiteX470" fmla="*/ 2418803 w 3296788"/>
                  <a:gd name="connsiteY470" fmla="*/ 452220 h 1960491"/>
                  <a:gd name="connsiteX471" fmla="*/ 2435440 w 3296788"/>
                  <a:gd name="connsiteY471" fmla="*/ 456264 h 1960491"/>
                  <a:gd name="connsiteX472" fmla="*/ 2522216 w 3296788"/>
                  <a:gd name="connsiteY472" fmla="*/ 504798 h 1960491"/>
                  <a:gd name="connsiteX473" fmla="*/ 2521563 w 3296788"/>
                  <a:gd name="connsiteY473" fmla="*/ 536507 h 1960491"/>
                  <a:gd name="connsiteX474" fmla="*/ 2428916 w 3296788"/>
                  <a:gd name="connsiteY474" fmla="*/ 590218 h 1960491"/>
                  <a:gd name="connsiteX475" fmla="*/ 2394989 w 3296788"/>
                  <a:gd name="connsiteY475" fmla="*/ 590865 h 1960491"/>
                  <a:gd name="connsiteX476" fmla="*/ 2310171 w 3296788"/>
                  <a:gd name="connsiteY476" fmla="*/ 542978 h 1960491"/>
                  <a:gd name="connsiteX477" fmla="*/ 2310171 w 3296788"/>
                  <a:gd name="connsiteY477" fmla="*/ 511269 h 1960491"/>
                  <a:gd name="connsiteX478" fmla="*/ 2402166 w 3296788"/>
                  <a:gd name="connsiteY478" fmla="*/ 456911 h 1960491"/>
                  <a:gd name="connsiteX479" fmla="*/ 2418803 w 3296788"/>
                  <a:gd name="connsiteY479" fmla="*/ 452220 h 1960491"/>
                  <a:gd name="connsiteX480" fmla="*/ 1649430 w 3296788"/>
                  <a:gd name="connsiteY480" fmla="*/ 452220 h 1960491"/>
                  <a:gd name="connsiteX481" fmla="*/ 1666021 w 3296788"/>
                  <a:gd name="connsiteY481" fmla="*/ 456265 h 1960491"/>
                  <a:gd name="connsiteX482" fmla="*/ 1752557 w 3296788"/>
                  <a:gd name="connsiteY482" fmla="*/ 504799 h 1960491"/>
                  <a:gd name="connsiteX483" fmla="*/ 1751906 w 3296788"/>
                  <a:gd name="connsiteY483" fmla="*/ 536508 h 1960491"/>
                  <a:gd name="connsiteX484" fmla="*/ 1659514 w 3296788"/>
                  <a:gd name="connsiteY484" fmla="*/ 590218 h 1960491"/>
                  <a:gd name="connsiteX485" fmla="*/ 1625681 w 3296788"/>
                  <a:gd name="connsiteY485" fmla="*/ 590866 h 1960491"/>
                  <a:gd name="connsiteX486" fmla="*/ 1541747 w 3296788"/>
                  <a:gd name="connsiteY486" fmla="*/ 542979 h 1960491"/>
                  <a:gd name="connsiteX487" fmla="*/ 1541747 w 3296788"/>
                  <a:gd name="connsiteY487" fmla="*/ 511270 h 1960491"/>
                  <a:gd name="connsiteX488" fmla="*/ 1632838 w 3296788"/>
                  <a:gd name="connsiteY488" fmla="*/ 456912 h 1960491"/>
                  <a:gd name="connsiteX489" fmla="*/ 1649430 w 3296788"/>
                  <a:gd name="connsiteY489" fmla="*/ 452220 h 1960491"/>
                  <a:gd name="connsiteX490" fmla="*/ 2032754 w 3296788"/>
                  <a:gd name="connsiteY490" fmla="*/ 446217 h 1960491"/>
                  <a:gd name="connsiteX491" fmla="*/ 2049102 w 3296788"/>
                  <a:gd name="connsiteY491" fmla="*/ 450504 h 1960491"/>
                  <a:gd name="connsiteX492" fmla="*/ 2135638 w 3296788"/>
                  <a:gd name="connsiteY492" fmla="*/ 498391 h 1960491"/>
                  <a:gd name="connsiteX493" fmla="*/ 2135638 w 3296788"/>
                  <a:gd name="connsiteY493" fmla="*/ 529453 h 1960491"/>
                  <a:gd name="connsiteX494" fmla="*/ 2042595 w 3296788"/>
                  <a:gd name="connsiteY494" fmla="*/ 584458 h 1960491"/>
                  <a:gd name="connsiteX495" fmla="*/ 2009412 w 3296788"/>
                  <a:gd name="connsiteY495" fmla="*/ 584458 h 1960491"/>
                  <a:gd name="connsiteX496" fmla="*/ 1924828 w 3296788"/>
                  <a:gd name="connsiteY496" fmla="*/ 535924 h 1960491"/>
                  <a:gd name="connsiteX497" fmla="*/ 1924828 w 3296788"/>
                  <a:gd name="connsiteY497" fmla="*/ 504862 h 1960491"/>
                  <a:gd name="connsiteX498" fmla="*/ 2015919 w 3296788"/>
                  <a:gd name="connsiteY498" fmla="*/ 451151 h 1960491"/>
                  <a:gd name="connsiteX499" fmla="*/ 2032754 w 3296788"/>
                  <a:gd name="connsiteY499" fmla="*/ 446217 h 1960491"/>
                  <a:gd name="connsiteX500" fmla="*/ 2991740 w 3296788"/>
                  <a:gd name="connsiteY500" fmla="*/ 345333 h 1960491"/>
                  <a:gd name="connsiteX501" fmla="*/ 3008622 w 3296788"/>
                  <a:gd name="connsiteY501" fmla="*/ 349070 h 1960491"/>
                  <a:gd name="connsiteX502" fmla="*/ 3095398 w 3296788"/>
                  <a:gd name="connsiteY502" fmla="*/ 397818 h 1960491"/>
                  <a:gd name="connsiteX503" fmla="*/ 3094745 w 3296788"/>
                  <a:gd name="connsiteY503" fmla="*/ 429667 h 1960491"/>
                  <a:gd name="connsiteX504" fmla="*/ 3002098 w 3296788"/>
                  <a:gd name="connsiteY504" fmla="*/ 483615 h 1960491"/>
                  <a:gd name="connsiteX505" fmla="*/ 2968171 w 3296788"/>
                  <a:gd name="connsiteY505" fmla="*/ 484265 h 1960491"/>
                  <a:gd name="connsiteX506" fmla="*/ 2883353 w 3296788"/>
                  <a:gd name="connsiteY506" fmla="*/ 436167 h 1960491"/>
                  <a:gd name="connsiteX507" fmla="*/ 2883353 w 3296788"/>
                  <a:gd name="connsiteY507" fmla="*/ 404318 h 1960491"/>
                  <a:gd name="connsiteX508" fmla="*/ 2975348 w 3296788"/>
                  <a:gd name="connsiteY508" fmla="*/ 350370 h 1960491"/>
                  <a:gd name="connsiteX509" fmla="*/ 2991740 w 3296788"/>
                  <a:gd name="connsiteY509" fmla="*/ 345333 h 1960491"/>
                  <a:gd name="connsiteX510" fmla="*/ 1842420 w 3296788"/>
                  <a:gd name="connsiteY510" fmla="*/ 339653 h 1960491"/>
                  <a:gd name="connsiteX511" fmla="*/ 1859103 w 3296788"/>
                  <a:gd name="connsiteY511" fmla="*/ 343959 h 1960491"/>
                  <a:gd name="connsiteX512" fmla="*/ 1946118 w 3296788"/>
                  <a:gd name="connsiteY512" fmla="*/ 392057 h 1960491"/>
                  <a:gd name="connsiteX513" fmla="*/ 1945464 w 3296788"/>
                  <a:gd name="connsiteY513" fmla="*/ 423256 h 1960491"/>
                  <a:gd name="connsiteX514" fmla="*/ 1852560 w 3296788"/>
                  <a:gd name="connsiteY514" fmla="*/ 477854 h 1960491"/>
                  <a:gd name="connsiteX515" fmla="*/ 1818539 w 3296788"/>
                  <a:gd name="connsiteY515" fmla="*/ 478504 h 1960491"/>
                  <a:gd name="connsiteX516" fmla="*/ 1734141 w 3296788"/>
                  <a:gd name="connsiteY516" fmla="*/ 429756 h 1960491"/>
                  <a:gd name="connsiteX517" fmla="*/ 1734141 w 3296788"/>
                  <a:gd name="connsiteY517" fmla="*/ 398557 h 1960491"/>
                  <a:gd name="connsiteX518" fmla="*/ 1825736 w 3296788"/>
                  <a:gd name="connsiteY518" fmla="*/ 344609 h 1960491"/>
                  <a:gd name="connsiteX519" fmla="*/ 1842420 w 3296788"/>
                  <a:gd name="connsiteY519" fmla="*/ 339653 h 1960491"/>
                  <a:gd name="connsiteX520" fmla="*/ 2608815 w 3296788"/>
                  <a:gd name="connsiteY520" fmla="*/ 339652 h 1960491"/>
                  <a:gd name="connsiteX521" fmla="*/ 2625163 w 3296788"/>
                  <a:gd name="connsiteY521" fmla="*/ 343958 h 1960491"/>
                  <a:gd name="connsiteX522" fmla="*/ 2711699 w 3296788"/>
                  <a:gd name="connsiteY522" fmla="*/ 392056 h 1960491"/>
                  <a:gd name="connsiteX523" fmla="*/ 2711699 w 3296788"/>
                  <a:gd name="connsiteY523" fmla="*/ 423255 h 1960491"/>
                  <a:gd name="connsiteX524" fmla="*/ 2618656 w 3296788"/>
                  <a:gd name="connsiteY524" fmla="*/ 477853 h 1960491"/>
                  <a:gd name="connsiteX525" fmla="*/ 2585473 w 3296788"/>
                  <a:gd name="connsiteY525" fmla="*/ 478503 h 1960491"/>
                  <a:gd name="connsiteX526" fmla="*/ 2500889 w 3296788"/>
                  <a:gd name="connsiteY526" fmla="*/ 429755 h 1960491"/>
                  <a:gd name="connsiteX527" fmla="*/ 2500889 w 3296788"/>
                  <a:gd name="connsiteY527" fmla="*/ 398556 h 1960491"/>
                  <a:gd name="connsiteX528" fmla="*/ 2591980 w 3296788"/>
                  <a:gd name="connsiteY528" fmla="*/ 344608 h 1960491"/>
                  <a:gd name="connsiteX529" fmla="*/ 2608815 w 3296788"/>
                  <a:gd name="connsiteY529" fmla="*/ 339652 h 1960491"/>
                  <a:gd name="connsiteX530" fmla="*/ 2225492 w 3296788"/>
                  <a:gd name="connsiteY530" fmla="*/ 333811 h 1960491"/>
                  <a:gd name="connsiteX531" fmla="*/ 2242083 w 3296788"/>
                  <a:gd name="connsiteY531" fmla="*/ 338198 h 1960491"/>
                  <a:gd name="connsiteX532" fmla="*/ 2328619 w 3296788"/>
                  <a:gd name="connsiteY532" fmla="*/ 386296 h 1960491"/>
                  <a:gd name="connsiteX533" fmla="*/ 2327968 w 3296788"/>
                  <a:gd name="connsiteY533" fmla="*/ 418145 h 1960491"/>
                  <a:gd name="connsiteX534" fmla="*/ 2235576 w 3296788"/>
                  <a:gd name="connsiteY534" fmla="*/ 472743 h 1960491"/>
                  <a:gd name="connsiteX535" fmla="*/ 2201743 w 3296788"/>
                  <a:gd name="connsiteY535" fmla="*/ 472743 h 1960491"/>
                  <a:gd name="connsiteX536" fmla="*/ 2117809 w 3296788"/>
                  <a:gd name="connsiteY536" fmla="*/ 424645 h 1960491"/>
                  <a:gd name="connsiteX537" fmla="*/ 2117809 w 3296788"/>
                  <a:gd name="connsiteY537" fmla="*/ 393446 h 1960491"/>
                  <a:gd name="connsiteX538" fmla="*/ 2208900 w 3296788"/>
                  <a:gd name="connsiteY538" fmla="*/ 338198 h 1960491"/>
                  <a:gd name="connsiteX539" fmla="*/ 2225492 w 3296788"/>
                  <a:gd name="connsiteY539" fmla="*/ 333811 h 1960491"/>
                  <a:gd name="connsiteX540" fmla="*/ 2801554 w 3296788"/>
                  <a:gd name="connsiteY540" fmla="*/ 227322 h 1960491"/>
                  <a:gd name="connsiteX541" fmla="*/ 2818145 w 3296788"/>
                  <a:gd name="connsiteY541" fmla="*/ 231628 h 1960491"/>
                  <a:gd name="connsiteX542" fmla="*/ 2904681 w 3296788"/>
                  <a:gd name="connsiteY542" fmla="*/ 279727 h 1960491"/>
                  <a:gd name="connsiteX543" fmla="*/ 2904030 w 3296788"/>
                  <a:gd name="connsiteY543" fmla="*/ 311576 h 1960491"/>
                  <a:gd name="connsiteX544" fmla="*/ 2811638 w 3296788"/>
                  <a:gd name="connsiteY544" fmla="*/ 366174 h 1960491"/>
                  <a:gd name="connsiteX545" fmla="*/ 2777805 w 3296788"/>
                  <a:gd name="connsiteY545" fmla="*/ 366174 h 1960491"/>
                  <a:gd name="connsiteX546" fmla="*/ 2693871 w 3296788"/>
                  <a:gd name="connsiteY546" fmla="*/ 318076 h 1960491"/>
                  <a:gd name="connsiteX547" fmla="*/ 2693871 w 3296788"/>
                  <a:gd name="connsiteY547" fmla="*/ 286227 h 1960491"/>
                  <a:gd name="connsiteX548" fmla="*/ 2784962 w 3296788"/>
                  <a:gd name="connsiteY548" fmla="*/ 232278 h 1960491"/>
                  <a:gd name="connsiteX549" fmla="*/ 2801554 w 3296788"/>
                  <a:gd name="connsiteY549" fmla="*/ 227322 h 1960491"/>
                  <a:gd name="connsiteX550" fmla="*/ 2032752 w 3296788"/>
                  <a:gd name="connsiteY550" fmla="*/ 227322 h 1960491"/>
                  <a:gd name="connsiteX551" fmla="*/ 2049100 w 3296788"/>
                  <a:gd name="connsiteY551" fmla="*/ 231628 h 1960491"/>
                  <a:gd name="connsiteX552" fmla="*/ 2135636 w 3296788"/>
                  <a:gd name="connsiteY552" fmla="*/ 279726 h 1960491"/>
                  <a:gd name="connsiteX553" fmla="*/ 2135636 w 3296788"/>
                  <a:gd name="connsiteY553" fmla="*/ 311575 h 1960491"/>
                  <a:gd name="connsiteX554" fmla="*/ 2042593 w 3296788"/>
                  <a:gd name="connsiteY554" fmla="*/ 366174 h 1960491"/>
                  <a:gd name="connsiteX555" fmla="*/ 2009410 w 3296788"/>
                  <a:gd name="connsiteY555" fmla="*/ 366174 h 1960491"/>
                  <a:gd name="connsiteX556" fmla="*/ 1924826 w 3296788"/>
                  <a:gd name="connsiteY556" fmla="*/ 318075 h 1960491"/>
                  <a:gd name="connsiteX557" fmla="*/ 1924826 w 3296788"/>
                  <a:gd name="connsiteY557" fmla="*/ 286226 h 1960491"/>
                  <a:gd name="connsiteX558" fmla="*/ 2015917 w 3296788"/>
                  <a:gd name="connsiteY558" fmla="*/ 232278 h 1960491"/>
                  <a:gd name="connsiteX559" fmla="*/ 2032752 w 3296788"/>
                  <a:gd name="connsiteY559" fmla="*/ 227322 h 1960491"/>
                  <a:gd name="connsiteX560" fmla="*/ 2418803 w 3296788"/>
                  <a:gd name="connsiteY560" fmla="*/ 221560 h 1960491"/>
                  <a:gd name="connsiteX561" fmla="*/ 2435440 w 3296788"/>
                  <a:gd name="connsiteY561" fmla="*/ 225866 h 1960491"/>
                  <a:gd name="connsiteX562" fmla="*/ 2522216 w 3296788"/>
                  <a:gd name="connsiteY562" fmla="*/ 273965 h 1960491"/>
                  <a:gd name="connsiteX563" fmla="*/ 2521563 w 3296788"/>
                  <a:gd name="connsiteY563" fmla="*/ 305814 h 1960491"/>
                  <a:gd name="connsiteX564" fmla="*/ 2428916 w 3296788"/>
                  <a:gd name="connsiteY564" fmla="*/ 360412 h 1960491"/>
                  <a:gd name="connsiteX565" fmla="*/ 2394989 w 3296788"/>
                  <a:gd name="connsiteY565" fmla="*/ 361062 h 1960491"/>
                  <a:gd name="connsiteX566" fmla="*/ 2310171 w 3296788"/>
                  <a:gd name="connsiteY566" fmla="*/ 312314 h 1960491"/>
                  <a:gd name="connsiteX567" fmla="*/ 2310171 w 3296788"/>
                  <a:gd name="connsiteY567" fmla="*/ 281115 h 1960491"/>
                  <a:gd name="connsiteX568" fmla="*/ 2402166 w 3296788"/>
                  <a:gd name="connsiteY568" fmla="*/ 226516 h 1960491"/>
                  <a:gd name="connsiteX569" fmla="*/ 2418803 w 3296788"/>
                  <a:gd name="connsiteY569" fmla="*/ 221560 h 1960491"/>
                  <a:gd name="connsiteX570" fmla="*/ 2225490 w 3296788"/>
                  <a:gd name="connsiteY570" fmla="*/ 112110 h 1960491"/>
                  <a:gd name="connsiteX571" fmla="*/ 2242081 w 3296788"/>
                  <a:gd name="connsiteY571" fmla="*/ 116416 h 1960491"/>
                  <a:gd name="connsiteX572" fmla="*/ 2328617 w 3296788"/>
                  <a:gd name="connsiteY572" fmla="*/ 164514 h 1960491"/>
                  <a:gd name="connsiteX573" fmla="*/ 2327966 w 3296788"/>
                  <a:gd name="connsiteY573" fmla="*/ 196363 h 1960491"/>
                  <a:gd name="connsiteX574" fmla="*/ 2235574 w 3296788"/>
                  <a:gd name="connsiteY574" fmla="*/ 250962 h 1960491"/>
                  <a:gd name="connsiteX575" fmla="*/ 2201741 w 3296788"/>
                  <a:gd name="connsiteY575" fmla="*/ 251612 h 1960491"/>
                  <a:gd name="connsiteX576" fmla="*/ 2117807 w 3296788"/>
                  <a:gd name="connsiteY576" fmla="*/ 202863 h 1960491"/>
                  <a:gd name="connsiteX577" fmla="*/ 2117807 w 3296788"/>
                  <a:gd name="connsiteY577" fmla="*/ 171664 h 1960491"/>
                  <a:gd name="connsiteX578" fmla="*/ 2208898 w 3296788"/>
                  <a:gd name="connsiteY578" fmla="*/ 117066 h 1960491"/>
                  <a:gd name="connsiteX579" fmla="*/ 2225490 w 3296788"/>
                  <a:gd name="connsiteY579" fmla="*/ 112110 h 1960491"/>
                  <a:gd name="connsiteX580" fmla="*/ 2608815 w 3296788"/>
                  <a:gd name="connsiteY580" fmla="*/ 109464 h 1960491"/>
                  <a:gd name="connsiteX581" fmla="*/ 2625163 w 3296788"/>
                  <a:gd name="connsiteY581" fmla="*/ 113508 h 1960491"/>
                  <a:gd name="connsiteX582" fmla="*/ 2711699 w 3296788"/>
                  <a:gd name="connsiteY582" fmla="*/ 162042 h 1960491"/>
                  <a:gd name="connsiteX583" fmla="*/ 2711699 w 3296788"/>
                  <a:gd name="connsiteY583" fmla="*/ 193103 h 1960491"/>
                  <a:gd name="connsiteX584" fmla="*/ 2618656 w 3296788"/>
                  <a:gd name="connsiteY584" fmla="*/ 247461 h 1960491"/>
                  <a:gd name="connsiteX585" fmla="*/ 2585473 w 3296788"/>
                  <a:gd name="connsiteY585" fmla="*/ 248108 h 1960491"/>
                  <a:gd name="connsiteX586" fmla="*/ 2500889 w 3296788"/>
                  <a:gd name="connsiteY586" fmla="*/ 199575 h 1960491"/>
                  <a:gd name="connsiteX587" fmla="*/ 2500889 w 3296788"/>
                  <a:gd name="connsiteY587" fmla="*/ 168513 h 1960491"/>
                  <a:gd name="connsiteX588" fmla="*/ 2591980 w 3296788"/>
                  <a:gd name="connsiteY588" fmla="*/ 114155 h 1960491"/>
                  <a:gd name="connsiteX589" fmla="*/ 2608815 w 3296788"/>
                  <a:gd name="connsiteY589" fmla="*/ 109464 h 1960491"/>
                  <a:gd name="connsiteX590" fmla="*/ 2418801 w 3296788"/>
                  <a:gd name="connsiteY590" fmla="*/ 13 h 1960491"/>
                  <a:gd name="connsiteX591" fmla="*/ 2435438 w 3296788"/>
                  <a:gd name="connsiteY591" fmla="*/ 4058 h 1960491"/>
                  <a:gd name="connsiteX592" fmla="*/ 2522214 w 3296788"/>
                  <a:gd name="connsiteY592" fmla="*/ 52591 h 1960491"/>
                  <a:gd name="connsiteX593" fmla="*/ 2521561 w 3296788"/>
                  <a:gd name="connsiteY593" fmla="*/ 83653 h 1960491"/>
                  <a:gd name="connsiteX594" fmla="*/ 2428914 w 3296788"/>
                  <a:gd name="connsiteY594" fmla="*/ 138010 h 1960491"/>
                  <a:gd name="connsiteX595" fmla="*/ 2394987 w 3296788"/>
                  <a:gd name="connsiteY595" fmla="*/ 138658 h 1960491"/>
                  <a:gd name="connsiteX596" fmla="*/ 2310169 w 3296788"/>
                  <a:gd name="connsiteY596" fmla="*/ 90124 h 1960491"/>
                  <a:gd name="connsiteX597" fmla="*/ 2310169 w 3296788"/>
                  <a:gd name="connsiteY597" fmla="*/ 59063 h 1960491"/>
                  <a:gd name="connsiteX598" fmla="*/ 2402164 w 3296788"/>
                  <a:gd name="connsiteY598" fmla="*/ 4705 h 1960491"/>
                  <a:gd name="connsiteX599" fmla="*/ 2418801 w 3296788"/>
                  <a:gd name="connsiteY599" fmla="*/ 13 h 1960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296788" h="1960491">
                    <a:moveTo>
                      <a:pt x="883514" y="1817173"/>
                    </a:moveTo>
                    <a:cubicBezTo>
                      <a:pt x="889289" y="1817010"/>
                      <a:pt x="894982" y="1818316"/>
                      <a:pt x="899862" y="1820927"/>
                    </a:cubicBezTo>
                    <a:lnTo>
                      <a:pt x="986398" y="1869893"/>
                    </a:lnTo>
                    <a:cubicBezTo>
                      <a:pt x="998760" y="1877074"/>
                      <a:pt x="998110" y="1894702"/>
                      <a:pt x="986398" y="1901883"/>
                    </a:cubicBezTo>
                    <a:lnTo>
                      <a:pt x="893355" y="1955419"/>
                    </a:lnTo>
                    <a:cubicBezTo>
                      <a:pt x="883596" y="1961947"/>
                      <a:pt x="870583" y="1961947"/>
                      <a:pt x="860172" y="1956724"/>
                    </a:cubicBezTo>
                    <a:lnTo>
                      <a:pt x="775588" y="1908412"/>
                    </a:lnTo>
                    <a:cubicBezTo>
                      <a:pt x="763226" y="1901230"/>
                      <a:pt x="763877" y="1883603"/>
                      <a:pt x="775588" y="1876421"/>
                    </a:cubicBezTo>
                    <a:lnTo>
                      <a:pt x="866679" y="1822233"/>
                    </a:lnTo>
                    <a:cubicBezTo>
                      <a:pt x="871884" y="1818969"/>
                      <a:pt x="877740" y="1817336"/>
                      <a:pt x="883514" y="1817173"/>
                    </a:cubicBezTo>
                    <a:close/>
                    <a:moveTo>
                      <a:pt x="1076253" y="1705153"/>
                    </a:moveTo>
                    <a:cubicBezTo>
                      <a:pt x="1081946" y="1704991"/>
                      <a:pt x="1087639" y="1706285"/>
                      <a:pt x="1092844" y="1709197"/>
                    </a:cubicBezTo>
                    <a:lnTo>
                      <a:pt x="1179380" y="1757084"/>
                    </a:lnTo>
                    <a:cubicBezTo>
                      <a:pt x="1191742" y="1764202"/>
                      <a:pt x="1191092" y="1781674"/>
                      <a:pt x="1178729" y="1788145"/>
                    </a:cubicBezTo>
                    <a:lnTo>
                      <a:pt x="1086337" y="1843150"/>
                    </a:lnTo>
                    <a:cubicBezTo>
                      <a:pt x="1075927" y="1848974"/>
                      <a:pt x="1062914" y="1849621"/>
                      <a:pt x="1053154" y="1843150"/>
                    </a:cubicBezTo>
                    <a:lnTo>
                      <a:pt x="968570" y="1795264"/>
                    </a:lnTo>
                    <a:cubicBezTo>
                      <a:pt x="956208" y="1788145"/>
                      <a:pt x="956859" y="1771320"/>
                      <a:pt x="968570" y="1763555"/>
                    </a:cubicBezTo>
                    <a:lnTo>
                      <a:pt x="1059661" y="1709844"/>
                    </a:lnTo>
                    <a:cubicBezTo>
                      <a:pt x="1064866" y="1706932"/>
                      <a:pt x="1070559" y="1705315"/>
                      <a:pt x="1076253" y="1705153"/>
                    </a:cubicBezTo>
                    <a:close/>
                    <a:moveTo>
                      <a:pt x="693747" y="1699148"/>
                    </a:moveTo>
                    <a:cubicBezTo>
                      <a:pt x="699537" y="1699067"/>
                      <a:pt x="705246" y="1700523"/>
                      <a:pt x="710139" y="1703435"/>
                    </a:cubicBezTo>
                    <a:lnTo>
                      <a:pt x="796915" y="1751969"/>
                    </a:lnTo>
                    <a:cubicBezTo>
                      <a:pt x="808659" y="1758440"/>
                      <a:pt x="808659" y="1775912"/>
                      <a:pt x="796262" y="1783030"/>
                    </a:cubicBezTo>
                    <a:lnTo>
                      <a:pt x="703615" y="1837388"/>
                    </a:lnTo>
                    <a:cubicBezTo>
                      <a:pt x="693176" y="1843212"/>
                      <a:pt x="680127" y="1843859"/>
                      <a:pt x="670340" y="1838035"/>
                    </a:cubicBezTo>
                    <a:lnTo>
                      <a:pt x="584870" y="1789502"/>
                    </a:lnTo>
                    <a:cubicBezTo>
                      <a:pt x="573126" y="1782383"/>
                      <a:pt x="573126" y="1765558"/>
                      <a:pt x="584870" y="1758440"/>
                    </a:cubicBezTo>
                    <a:lnTo>
                      <a:pt x="676865" y="1704082"/>
                    </a:lnTo>
                    <a:cubicBezTo>
                      <a:pt x="682085" y="1700847"/>
                      <a:pt x="687957" y="1699229"/>
                      <a:pt x="693747" y="1699148"/>
                    </a:cubicBezTo>
                    <a:close/>
                    <a:moveTo>
                      <a:pt x="1266684" y="1589704"/>
                    </a:moveTo>
                    <a:cubicBezTo>
                      <a:pt x="1272393" y="1589623"/>
                      <a:pt x="1278102" y="1591085"/>
                      <a:pt x="1283321" y="1594010"/>
                    </a:cubicBezTo>
                    <a:lnTo>
                      <a:pt x="1370097" y="1642108"/>
                    </a:lnTo>
                    <a:cubicBezTo>
                      <a:pt x="1381841" y="1649258"/>
                      <a:pt x="1381841" y="1666808"/>
                      <a:pt x="1369444" y="1673957"/>
                    </a:cubicBezTo>
                    <a:lnTo>
                      <a:pt x="1276797" y="1728555"/>
                    </a:lnTo>
                    <a:cubicBezTo>
                      <a:pt x="1266358" y="1734405"/>
                      <a:pt x="1253309" y="1734405"/>
                      <a:pt x="1242870" y="1729205"/>
                    </a:cubicBezTo>
                    <a:lnTo>
                      <a:pt x="1158052" y="1680457"/>
                    </a:lnTo>
                    <a:cubicBezTo>
                      <a:pt x="1146308" y="1673307"/>
                      <a:pt x="1146308" y="1656408"/>
                      <a:pt x="1158052" y="1649258"/>
                    </a:cubicBezTo>
                    <a:lnTo>
                      <a:pt x="1250047" y="1594660"/>
                    </a:lnTo>
                    <a:cubicBezTo>
                      <a:pt x="1255266" y="1591410"/>
                      <a:pt x="1260975" y="1589785"/>
                      <a:pt x="1266684" y="1589704"/>
                    </a:cubicBezTo>
                    <a:close/>
                    <a:moveTo>
                      <a:pt x="883514" y="1586662"/>
                    </a:moveTo>
                    <a:cubicBezTo>
                      <a:pt x="889289" y="1586580"/>
                      <a:pt x="894982" y="1587880"/>
                      <a:pt x="899862" y="1590480"/>
                    </a:cubicBezTo>
                    <a:lnTo>
                      <a:pt x="986398" y="1639229"/>
                    </a:lnTo>
                    <a:cubicBezTo>
                      <a:pt x="998760" y="1645729"/>
                      <a:pt x="998110" y="1663278"/>
                      <a:pt x="986398" y="1670428"/>
                    </a:cubicBezTo>
                    <a:lnTo>
                      <a:pt x="893355" y="1725026"/>
                    </a:lnTo>
                    <a:cubicBezTo>
                      <a:pt x="883596" y="1731526"/>
                      <a:pt x="870583" y="1731526"/>
                      <a:pt x="860172" y="1725676"/>
                    </a:cubicBezTo>
                    <a:lnTo>
                      <a:pt x="775588" y="1676928"/>
                    </a:lnTo>
                    <a:cubicBezTo>
                      <a:pt x="763226" y="1670428"/>
                      <a:pt x="763877" y="1652878"/>
                      <a:pt x="775588" y="1645729"/>
                    </a:cubicBezTo>
                    <a:lnTo>
                      <a:pt x="866679" y="1591130"/>
                    </a:lnTo>
                    <a:cubicBezTo>
                      <a:pt x="871884" y="1588205"/>
                      <a:pt x="877740" y="1586743"/>
                      <a:pt x="883514" y="1586662"/>
                    </a:cubicBezTo>
                    <a:close/>
                    <a:moveTo>
                      <a:pt x="500433" y="1581063"/>
                    </a:moveTo>
                    <a:cubicBezTo>
                      <a:pt x="506208" y="1580982"/>
                      <a:pt x="511901" y="1582444"/>
                      <a:pt x="516781" y="1585369"/>
                    </a:cubicBezTo>
                    <a:lnTo>
                      <a:pt x="603317" y="1633468"/>
                    </a:lnTo>
                    <a:cubicBezTo>
                      <a:pt x="615679" y="1639968"/>
                      <a:pt x="615029" y="1658167"/>
                      <a:pt x="602666" y="1665317"/>
                    </a:cubicBezTo>
                    <a:lnTo>
                      <a:pt x="510274" y="1719915"/>
                    </a:lnTo>
                    <a:cubicBezTo>
                      <a:pt x="499864" y="1725765"/>
                      <a:pt x="486851" y="1725765"/>
                      <a:pt x="477091" y="1719915"/>
                    </a:cubicBezTo>
                    <a:lnTo>
                      <a:pt x="392507" y="1671817"/>
                    </a:lnTo>
                    <a:cubicBezTo>
                      <a:pt x="380145" y="1664667"/>
                      <a:pt x="380796" y="1647117"/>
                      <a:pt x="392507" y="1639968"/>
                    </a:cubicBezTo>
                    <a:lnTo>
                      <a:pt x="483598" y="1586019"/>
                    </a:lnTo>
                    <a:cubicBezTo>
                      <a:pt x="488803" y="1582769"/>
                      <a:pt x="494659" y="1581144"/>
                      <a:pt x="500433" y="1581063"/>
                    </a:cubicBezTo>
                    <a:close/>
                    <a:moveTo>
                      <a:pt x="1076251" y="1471929"/>
                    </a:moveTo>
                    <a:cubicBezTo>
                      <a:pt x="1081944" y="1471848"/>
                      <a:pt x="1087637" y="1473304"/>
                      <a:pt x="1092842" y="1476539"/>
                    </a:cubicBezTo>
                    <a:lnTo>
                      <a:pt x="1179378" y="1524426"/>
                    </a:lnTo>
                    <a:cubicBezTo>
                      <a:pt x="1191740" y="1531545"/>
                      <a:pt x="1191090" y="1548370"/>
                      <a:pt x="1178727" y="1556135"/>
                    </a:cubicBezTo>
                    <a:lnTo>
                      <a:pt x="1086335" y="1610493"/>
                    </a:lnTo>
                    <a:cubicBezTo>
                      <a:pt x="1075925" y="1616317"/>
                      <a:pt x="1062912" y="1616317"/>
                      <a:pt x="1053152" y="1610493"/>
                    </a:cubicBezTo>
                    <a:lnTo>
                      <a:pt x="968568" y="1562606"/>
                    </a:lnTo>
                    <a:cubicBezTo>
                      <a:pt x="956206" y="1555488"/>
                      <a:pt x="956857" y="1538016"/>
                      <a:pt x="968568" y="1530897"/>
                    </a:cubicBezTo>
                    <a:lnTo>
                      <a:pt x="1059659" y="1476539"/>
                    </a:lnTo>
                    <a:cubicBezTo>
                      <a:pt x="1064864" y="1473627"/>
                      <a:pt x="1070557" y="1472009"/>
                      <a:pt x="1076251" y="1471929"/>
                    </a:cubicBezTo>
                    <a:close/>
                    <a:moveTo>
                      <a:pt x="693747" y="1468975"/>
                    </a:moveTo>
                    <a:cubicBezTo>
                      <a:pt x="699537" y="1468812"/>
                      <a:pt x="705246" y="1470112"/>
                      <a:pt x="710139" y="1473037"/>
                    </a:cubicBezTo>
                    <a:lnTo>
                      <a:pt x="796915" y="1521135"/>
                    </a:lnTo>
                    <a:cubicBezTo>
                      <a:pt x="808659" y="1528285"/>
                      <a:pt x="808659" y="1545835"/>
                      <a:pt x="796262" y="1552984"/>
                    </a:cubicBezTo>
                    <a:lnTo>
                      <a:pt x="703615" y="1606932"/>
                    </a:lnTo>
                    <a:cubicBezTo>
                      <a:pt x="693176" y="1613432"/>
                      <a:pt x="680127" y="1613432"/>
                      <a:pt x="670340" y="1607582"/>
                    </a:cubicBezTo>
                    <a:lnTo>
                      <a:pt x="584870" y="1559484"/>
                    </a:lnTo>
                    <a:cubicBezTo>
                      <a:pt x="573126" y="1552334"/>
                      <a:pt x="573126" y="1534785"/>
                      <a:pt x="584870" y="1527635"/>
                    </a:cubicBezTo>
                    <a:lnTo>
                      <a:pt x="676865" y="1473687"/>
                    </a:lnTo>
                    <a:cubicBezTo>
                      <a:pt x="682085" y="1470762"/>
                      <a:pt x="687957" y="1469137"/>
                      <a:pt x="693747" y="1468975"/>
                    </a:cubicBezTo>
                    <a:close/>
                    <a:moveTo>
                      <a:pt x="307453" y="1463207"/>
                    </a:moveTo>
                    <a:cubicBezTo>
                      <a:pt x="313228" y="1463045"/>
                      <a:pt x="318921" y="1464339"/>
                      <a:pt x="323801" y="1467251"/>
                    </a:cubicBezTo>
                    <a:lnTo>
                      <a:pt x="410337" y="1515138"/>
                    </a:lnTo>
                    <a:cubicBezTo>
                      <a:pt x="422699" y="1521609"/>
                      <a:pt x="422049" y="1539728"/>
                      <a:pt x="410337" y="1546846"/>
                    </a:cubicBezTo>
                    <a:lnTo>
                      <a:pt x="317294" y="1601204"/>
                    </a:lnTo>
                    <a:cubicBezTo>
                      <a:pt x="307535" y="1607028"/>
                      <a:pt x="294522" y="1607675"/>
                      <a:pt x="284111" y="1601204"/>
                    </a:cubicBezTo>
                    <a:lnTo>
                      <a:pt x="199527" y="1553318"/>
                    </a:lnTo>
                    <a:cubicBezTo>
                      <a:pt x="187165" y="1546199"/>
                      <a:pt x="187816" y="1529374"/>
                      <a:pt x="199527" y="1521609"/>
                    </a:cubicBezTo>
                    <a:lnTo>
                      <a:pt x="290618" y="1467898"/>
                    </a:lnTo>
                    <a:cubicBezTo>
                      <a:pt x="295823" y="1464986"/>
                      <a:pt x="301679" y="1463369"/>
                      <a:pt x="307453" y="1463207"/>
                    </a:cubicBezTo>
                    <a:close/>
                    <a:moveTo>
                      <a:pt x="1266682" y="1359198"/>
                    </a:moveTo>
                    <a:cubicBezTo>
                      <a:pt x="1272391" y="1359035"/>
                      <a:pt x="1278100" y="1360335"/>
                      <a:pt x="1283319" y="1362935"/>
                    </a:cubicBezTo>
                    <a:lnTo>
                      <a:pt x="1370095" y="1411683"/>
                    </a:lnTo>
                    <a:cubicBezTo>
                      <a:pt x="1381839" y="1418833"/>
                      <a:pt x="1381839" y="1436383"/>
                      <a:pt x="1369442" y="1443532"/>
                    </a:cubicBezTo>
                    <a:lnTo>
                      <a:pt x="1276795" y="1497480"/>
                    </a:lnTo>
                    <a:cubicBezTo>
                      <a:pt x="1266356" y="1503980"/>
                      <a:pt x="1253307" y="1503980"/>
                      <a:pt x="1242868" y="1498130"/>
                    </a:cubicBezTo>
                    <a:lnTo>
                      <a:pt x="1158050" y="1450032"/>
                    </a:lnTo>
                    <a:cubicBezTo>
                      <a:pt x="1146306" y="1442882"/>
                      <a:pt x="1146306" y="1425333"/>
                      <a:pt x="1158050" y="1418183"/>
                    </a:cubicBezTo>
                    <a:lnTo>
                      <a:pt x="1250045" y="1364235"/>
                    </a:lnTo>
                    <a:cubicBezTo>
                      <a:pt x="1255265" y="1360985"/>
                      <a:pt x="1260973" y="1359360"/>
                      <a:pt x="1266682" y="1359198"/>
                    </a:cubicBezTo>
                    <a:close/>
                    <a:moveTo>
                      <a:pt x="117685" y="1356636"/>
                    </a:moveTo>
                    <a:cubicBezTo>
                      <a:pt x="123475" y="1356474"/>
                      <a:pt x="129184" y="1357768"/>
                      <a:pt x="134077" y="1360680"/>
                    </a:cubicBezTo>
                    <a:lnTo>
                      <a:pt x="220853" y="1409214"/>
                    </a:lnTo>
                    <a:cubicBezTo>
                      <a:pt x="232597" y="1415685"/>
                      <a:pt x="232597" y="1433158"/>
                      <a:pt x="220853" y="1440276"/>
                    </a:cubicBezTo>
                    <a:lnTo>
                      <a:pt x="127553" y="1494634"/>
                    </a:lnTo>
                    <a:cubicBezTo>
                      <a:pt x="117114" y="1500458"/>
                      <a:pt x="104065" y="1501105"/>
                      <a:pt x="94278" y="1494634"/>
                    </a:cubicBezTo>
                    <a:lnTo>
                      <a:pt x="8808" y="1446747"/>
                    </a:lnTo>
                    <a:cubicBezTo>
                      <a:pt x="-2936" y="1439629"/>
                      <a:pt x="-2936" y="1422804"/>
                      <a:pt x="8808" y="1415685"/>
                    </a:cubicBezTo>
                    <a:lnTo>
                      <a:pt x="100803" y="1361327"/>
                    </a:lnTo>
                    <a:cubicBezTo>
                      <a:pt x="106023" y="1358415"/>
                      <a:pt x="111895" y="1356798"/>
                      <a:pt x="117685" y="1356636"/>
                    </a:cubicBezTo>
                    <a:close/>
                    <a:moveTo>
                      <a:pt x="883514" y="1356634"/>
                    </a:moveTo>
                    <a:cubicBezTo>
                      <a:pt x="889289" y="1356473"/>
                      <a:pt x="894982" y="1357767"/>
                      <a:pt x="899862" y="1360679"/>
                    </a:cubicBezTo>
                    <a:lnTo>
                      <a:pt x="986398" y="1409213"/>
                    </a:lnTo>
                    <a:cubicBezTo>
                      <a:pt x="998760" y="1415684"/>
                      <a:pt x="998110" y="1433156"/>
                      <a:pt x="986398" y="1440274"/>
                    </a:cubicBezTo>
                    <a:lnTo>
                      <a:pt x="893355" y="1494633"/>
                    </a:lnTo>
                    <a:cubicBezTo>
                      <a:pt x="883596" y="1500457"/>
                      <a:pt x="870583" y="1501104"/>
                      <a:pt x="860172" y="1494633"/>
                    </a:cubicBezTo>
                    <a:lnTo>
                      <a:pt x="775588" y="1446746"/>
                    </a:lnTo>
                    <a:cubicBezTo>
                      <a:pt x="763226" y="1439627"/>
                      <a:pt x="763877" y="1422802"/>
                      <a:pt x="775588" y="1415684"/>
                    </a:cubicBezTo>
                    <a:lnTo>
                      <a:pt x="866679" y="1361326"/>
                    </a:lnTo>
                    <a:cubicBezTo>
                      <a:pt x="871884" y="1358414"/>
                      <a:pt x="877740" y="1356796"/>
                      <a:pt x="883514" y="1356634"/>
                    </a:cubicBezTo>
                    <a:close/>
                    <a:moveTo>
                      <a:pt x="500432" y="1350483"/>
                    </a:moveTo>
                    <a:cubicBezTo>
                      <a:pt x="506207" y="1350402"/>
                      <a:pt x="511900" y="1351707"/>
                      <a:pt x="516780" y="1354319"/>
                    </a:cubicBezTo>
                    <a:lnTo>
                      <a:pt x="603316" y="1402631"/>
                    </a:lnTo>
                    <a:cubicBezTo>
                      <a:pt x="615678" y="1409813"/>
                      <a:pt x="615028" y="1427440"/>
                      <a:pt x="602665" y="1434622"/>
                    </a:cubicBezTo>
                    <a:lnTo>
                      <a:pt x="510273" y="1489464"/>
                    </a:lnTo>
                    <a:cubicBezTo>
                      <a:pt x="499863" y="1495339"/>
                      <a:pt x="486850" y="1495339"/>
                      <a:pt x="477090" y="1490116"/>
                    </a:cubicBezTo>
                    <a:lnTo>
                      <a:pt x="392506" y="1441151"/>
                    </a:lnTo>
                    <a:cubicBezTo>
                      <a:pt x="380144" y="1434622"/>
                      <a:pt x="380795" y="1416994"/>
                      <a:pt x="392506" y="1409813"/>
                    </a:cubicBezTo>
                    <a:lnTo>
                      <a:pt x="483597" y="1354972"/>
                    </a:lnTo>
                    <a:cubicBezTo>
                      <a:pt x="488802" y="1352034"/>
                      <a:pt x="494658" y="1350565"/>
                      <a:pt x="500432" y="1350483"/>
                    </a:cubicBezTo>
                    <a:close/>
                    <a:moveTo>
                      <a:pt x="1459575" y="1247184"/>
                    </a:moveTo>
                    <a:cubicBezTo>
                      <a:pt x="1465350" y="1247022"/>
                      <a:pt x="1471043" y="1248316"/>
                      <a:pt x="1475923" y="1251228"/>
                    </a:cubicBezTo>
                    <a:lnTo>
                      <a:pt x="1562459" y="1299762"/>
                    </a:lnTo>
                    <a:cubicBezTo>
                      <a:pt x="1574821" y="1305586"/>
                      <a:pt x="1574171" y="1323059"/>
                      <a:pt x="1562459" y="1330824"/>
                    </a:cubicBezTo>
                    <a:lnTo>
                      <a:pt x="1469416" y="1385182"/>
                    </a:lnTo>
                    <a:cubicBezTo>
                      <a:pt x="1459657" y="1391006"/>
                      <a:pt x="1446644" y="1391653"/>
                      <a:pt x="1436233" y="1385182"/>
                    </a:cubicBezTo>
                    <a:lnTo>
                      <a:pt x="1351649" y="1336648"/>
                    </a:lnTo>
                    <a:cubicBezTo>
                      <a:pt x="1339287" y="1330177"/>
                      <a:pt x="1339938" y="1313352"/>
                      <a:pt x="1351649" y="1305586"/>
                    </a:cubicBezTo>
                    <a:lnTo>
                      <a:pt x="1442740" y="1251875"/>
                    </a:lnTo>
                    <a:cubicBezTo>
                      <a:pt x="1447945" y="1248963"/>
                      <a:pt x="1453801" y="1247345"/>
                      <a:pt x="1459575" y="1247184"/>
                    </a:cubicBezTo>
                    <a:close/>
                    <a:moveTo>
                      <a:pt x="307452" y="1241188"/>
                    </a:moveTo>
                    <a:cubicBezTo>
                      <a:pt x="313227" y="1241106"/>
                      <a:pt x="318920" y="1242569"/>
                      <a:pt x="323800" y="1245494"/>
                    </a:cubicBezTo>
                    <a:lnTo>
                      <a:pt x="410336" y="1293592"/>
                    </a:lnTo>
                    <a:cubicBezTo>
                      <a:pt x="422698" y="1300742"/>
                      <a:pt x="422048" y="1318292"/>
                      <a:pt x="410336" y="1325441"/>
                    </a:cubicBezTo>
                    <a:lnTo>
                      <a:pt x="317293" y="1380040"/>
                    </a:lnTo>
                    <a:cubicBezTo>
                      <a:pt x="307534" y="1385890"/>
                      <a:pt x="294521" y="1385890"/>
                      <a:pt x="284110" y="1380690"/>
                    </a:cubicBezTo>
                    <a:lnTo>
                      <a:pt x="199526" y="1331941"/>
                    </a:lnTo>
                    <a:cubicBezTo>
                      <a:pt x="187164" y="1324791"/>
                      <a:pt x="187815" y="1307892"/>
                      <a:pt x="199526" y="1300742"/>
                    </a:cubicBezTo>
                    <a:lnTo>
                      <a:pt x="290617" y="1246144"/>
                    </a:lnTo>
                    <a:cubicBezTo>
                      <a:pt x="295822" y="1242894"/>
                      <a:pt x="301678" y="1241269"/>
                      <a:pt x="307452" y="1241188"/>
                    </a:cubicBezTo>
                    <a:close/>
                    <a:moveTo>
                      <a:pt x="1076251" y="1241187"/>
                    </a:moveTo>
                    <a:cubicBezTo>
                      <a:pt x="1081944" y="1241105"/>
                      <a:pt x="1087637" y="1242568"/>
                      <a:pt x="1092842" y="1245493"/>
                    </a:cubicBezTo>
                    <a:lnTo>
                      <a:pt x="1179378" y="1293591"/>
                    </a:lnTo>
                    <a:cubicBezTo>
                      <a:pt x="1191740" y="1300741"/>
                      <a:pt x="1191090" y="1318291"/>
                      <a:pt x="1178727" y="1325440"/>
                    </a:cubicBezTo>
                    <a:lnTo>
                      <a:pt x="1086335" y="1380039"/>
                    </a:lnTo>
                    <a:cubicBezTo>
                      <a:pt x="1075925" y="1385889"/>
                      <a:pt x="1062912" y="1385889"/>
                      <a:pt x="1053152" y="1380689"/>
                    </a:cubicBezTo>
                    <a:lnTo>
                      <a:pt x="968568" y="1331940"/>
                    </a:lnTo>
                    <a:cubicBezTo>
                      <a:pt x="956206" y="1324790"/>
                      <a:pt x="956857" y="1307891"/>
                      <a:pt x="968568" y="1300741"/>
                    </a:cubicBezTo>
                    <a:lnTo>
                      <a:pt x="1059659" y="1246143"/>
                    </a:lnTo>
                    <a:cubicBezTo>
                      <a:pt x="1064864" y="1242893"/>
                      <a:pt x="1070557" y="1241268"/>
                      <a:pt x="1076251" y="1241187"/>
                    </a:cubicBezTo>
                    <a:close/>
                    <a:moveTo>
                      <a:pt x="693746" y="1238226"/>
                    </a:moveTo>
                    <a:cubicBezTo>
                      <a:pt x="699536" y="1238226"/>
                      <a:pt x="705245" y="1239689"/>
                      <a:pt x="710138" y="1242614"/>
                    </a:cubicBezTo>
                    <a:lnTo>
                      <a:pt x="796914" y="1290712"/>
                    </a:lnTo>
                    <a:cubicBezTo>
                      <a:pt x="808658" y="1297212"/>
                      <a:pt x="808658" y="1314761"/>
                      <a:pt x="796261" y="1321911"/>
                    </a:cubicBezTo>
                    <a:lnTo>
                      <a:pt x="703614" y="1376509"/>
                    </a:lnTo>
                    <a:cubicBezTo>
                      <a:pt x="693175" y="1383009"/>
                      <a:pt x="680126" y="1383009"/>
                      <a:pt x="670339" y="1377159"/>
                    </a:cubicBezTo>
                    <a:lnTo>
                      <a:pt x="584869" y="1328411"/>
                    </a:lnTo>
                    <a:cubicBezTo>
                      <a:pt x="573125" y="1321911"/>
                      <a:pt x="573125" y="1304361"/>
                      <a:pt x="584869" y="1297212"/>
                    </a:cubicBezTo>
                    <a:lnTo>
                      <a:pt x="676864" y="1242614"/>
                    </a:lnTo>
                    <a:cubicBezTo>
                      <a:pt x="682084" y="1239689"/>
                      <a:pt x="687956" y="1238226"/>
                      <a:pt x="693746" y="1238226"/>
                    </a:cubicBezTo>
                    <a:close/>
                    <a:moveTo>
                      <a:pt x="1649432" y="1134616"/>
                    </a:moveTo>
                    <a:cubicBezTo>
                      <a:pt x="1655125" y="1134535"/>
                      <a:pt x="1660818" y="1135997"/>
                      <a:pt x="1666023" y="1138922"/>
                    </a:cubicBezTo>
                    <a:lnTo>
                      <a:pt x="1752559" y="1187020"/>
                    </a:lnTo>
                    <a:cubicBezTo>
                      <a:pt x="1764921" y="1194170"/>
                      <a:pt x="1764271" y="1211720"/>
                      <a:pt x="1751908" y="1218869"/>
                    </a:cubicBezTo>
                    <a:lnTo>
                      <a:pt x="1659516" y="1273467"/>
                    </a:lnTo>
                    <a:cubicBezTo>
                      <a:pt x="1649106" y="1279317"/>
                      <a:pt x="1636093" y="1279317"/>
                      <a:pt x="1625683" y="1274117"/>
                    </a:cubicBezTo>
                    <a:lnTo>
                      <a:pt x="1541749" y="1225369"/>
                    </a:lnTo>
                    <a:cubicBezTo>
                      <a:pt x="1529387" y="1218219"/>
                      <a:pt x="1530038" y="1201320"/>
                      <a:pt x="1541749" y="1194170"/>
                    </a:cubicBezTo>
                    <a:lnTo>
                      <a:pt x="1632840" y="1139572"/>
                    </a:lnTo>
                    <a:cubicBezTo>
                      <a:pt x="1638045" y="1136322"/>
                      <a:pt x="1643738" y="1134697"/>
                      <a:pt x="1649432" y="1134616"/>
                    </a:cubicBezTo>
                    <a:close/>
                    <a:moveTo>
                      <a:pt x="500431" y="1128774"/>
                    </a:moveTo>
                    <a:cubicBezTo>
                      <a:pt x="506206" y="1128774"/>
                      <a:pt x="511899" y="1130237"/>
                      <a:pt x="516779" y="1133162"/>
                    </a:cubicBezTo>
                    <a:lnTo>
                      <a:pt x="603315" y="1181260"/>
                    </a:lnTo>
                    <a:cubicBezTo>
                      <a:pt x="615677" y="1187760"/>
                      <a:pt x="615027" y="1205309"/>
                      <a:pt x="602664" y="1212459"/>
                    </a:cubicBezTo>
                    <a:lnTo>
                      <a:pt x="510272" y="1267057"/>
                    </a:lnTo>
                    <a:cubicBezTo>
                      <a:pt x="499862" y="1273557"/>
                      <a:pt x="486849" y="1273557"/>
                      <a:pt x="477089" y="1267707"/>
                    </a:cubicBezTo>
                    <a:lnTo>
                      <a:pt x="392505" y="1218959"/>
                    </a:lnTo>
                    <a:cubicBezTo>
                      <a:pt x="380143" y="1212459"/>
                      <a:pt x="380794" y="1194909"/>
                      <a:pt x="392505" y="1187760"/>
                    </a:cubicBezTo>
                    <a:lnTo>
                      <a:pt x="483596" y="1133162"/>
                    </a:lnTo>
                    <a:cubicBezTo>
                      <a:pt x="488801" y="1130237"/>
                      <a:pt x="494657" y="1128774"/>
                      <a:pt x="500431" y="1128774"/>
                    </a:cubicBezTo>
                    <a:close/>
                    <a:moveTo>
                      <a:pt x="1266682" y="1128773"/>
                    </a:moveTo>
                    <a:cubicBezTo>
                      <a:pt x="1272391" y="1128773"/>
                      <a:pt x="1278100" y="1130236"/>
                      <a:pt x="1283319" y="1133161"/>
                    </a:cubicBezTo>
                    <a:lnTo>
                      <a:pt x="1370095" y="1181259"/>
                    </a:lnTo>
                    <a:cubicBezTo>
                      <a:pt x="1381839" y="1187759"/>
                      <a:pt x="1381839" y="1205308"/>
                      <a:pt x="1369442" y="1212458"/>
                    </a:cubicBezTo>
                    <a:lnTo>
                      <a:pt x="1276795" y="1267056"/>
                    </a:lnTo>
                    <a:cubicBezTo>
                      <a:pt x="1266356" y="1273556"/>
                      <a:pt x="1253307" y="1273556"/>
                      <a:pt x="1242868" y="1267706"/>
                    </a:cubicBezTo>
                    <a:lnTo>
                      <a:pt x="1158050" y="1218958"/>
                    </a:lnTo>
                    <a:cubicBezTo>
                      <a:pt x="1146306" y="1212458"/>
                      <a:pt x="1146306" y="1194908"/>
                      <a:pt x="1158050" y="1187759"/>
                    </a:cubicBezTo>
                    <a:lnTo>
                      <a:pt x="1250045" y="1133161"/>
                    </a:lnTo>
                    <a:cubicBezTo>
                      <a:pt x="1255264" y="1130236"/>
                      <a:pt x="1260973" y="1128773"/>
                      <a:pt x="1266682" y="1128773"/>
                    </a:cubicBezTo>
                    <a:close/>
                    <a:moveTo>
                      <a:pt x="883513" y="1125894"/>
                    </a:moveTo>
                    <a:cubicBezTo>
                      <a:pt x="889288" y="1125732"/>
                      <a:pt x="894981" y="1127032"/>
                      <a:pt x="899861" y="1129632"/>
                    </a:cubicBezTo>
                    <a:lnTo>
                      <a:pt x="986397" y="1178380"/>
                    </a:lnTo>
                    <a:cubicBezTo>
                      <a:pt x="998759" y="1185530"/>
                      <a:pt x="998109" y="1203080"/>
                      <a:pt x="986397" y="1210229"/>
                    </a:cubicBezTo>
                    <a:lnTo>
                      <a:pt x="893354" y="1264828"/>
                    </a:lnTo>
                    <a:cubicBezTo>
                      <a:pt x="883595" y="1270678"/>
                      <a:pt x="870582" y="1270678"/>
                      <a:pt x="860171" y="1264828"/>
                    </a:cubicBezTo>
                    <a:lnTo>
                      <a:pt x="775587" y="1216729"/>
                    </a:lnTo>
                    <a:cubicBezTo>
                      <a:pt x="763225" y="1209579"/>
                      <a:pt x="763876" y="1192030"/>
                      <a:pt x="775587" y="1184880"/>
                    </a:cubicBezTo>
                    <a:lnTo>
                      <a:pt x="866678" y="1130932"/>
                    </a:lnTo>
                    <a:cubicBezTo>
                      <a:pt x="871883" y="1127682"/>
                      <a:pt x="877739" y="1126057"/>
                      <a:pt x="883513" y="1125894"/>
                    </a:cubicBezTo>
                    <a:close/>
                    <a:moveTo>
                      <a:pt x="1842422" y="1022122"/>
                    </a:moveTo>
                    <a:cubicBezTo>
                      <a:pt x="1848146" y="1022040"/>
                      <a:pt x="1853871" y="1023340"/>
                      <a:pt x="1859105" y="1025940"/>
                    </a:cubicBezTo>
                    <a:lnTo>
                      <a:pt x="1946120" y="1074039"/>
                    </a:lnTo>
                    <a:cubicBezTo>
                      <a:pt x="1957897" y="1081189"/>
                      <a:pt x="1957897" y="1098738"/>
                      <a:pt x="1945466" y="1105888"/>
                    </a:cubicBezTo>
                    <a:lnTo>
                      <a:pt x="1852562" y="1160486"/>
                    </a:lnTo>
                    <a:cubicBezTo>
                      <a:pt x="1842094" y="1166986"/>
                      <a:pt x="1829009" y="1166986"/>
                      <a:pt x="1818541" y="1161136"/>
                    </a:cubicBezTo>
                    <a:lnTo>
                      <a:pt x="1734143" y="1112388"/>
                    </a:lnTo>
                    <a:cubicBezTo>
                      <a:pt x="1722366" y="1105888"/>
                      <a:pt x="1722366" y="1088338"/>
                      <a:pt x="1734143" y="1081189"/>
                    </a:cubicBezTo>
                    <a:lnTo>
                      <a:pt x="1825738" y="1026590"/>
                    </a:lnTo>
                    <a:cubicBezTo>
                      <a:pt x="1830972" y="1023665"/>
                      <a:pt x="1836697" y="1022203"/>
                      <a:pt x="1842422" y="1022122"/>
                    </a:cubicBezTo>
                    <a:close/>
                    <a:moveTo>
                      <a:pt x="693745" y="1016760"/>
                    </a:moveTo>
                    <a:cubicBezTo>
                      <a:pt x="699535" y="1016599"/>
                      <a:pt x="705244" y="1017893"/>
                      <a:pt x="710137" y="1020805"/>
                    </a:cubicBezTo>
                    <a:lnTo>
                      <a:pt x="796913" y="1069339"/>
                    </a:lnTo>
                    <a:cubicBezTo>
                      <a:pt x="808657" y="1076457"/>
                      <a:pt x="808657" y="1093282"/>
                      <a:pt x="796260" y="1101048"/>
                    </a:cubicBezTo>
                    <a:lnTo>
                      <a:pt x="703613" y="1154758"/>
                    </a:lnTo>
                    <a:cubicBezTo>
                      <a:pt x="693174" y="1161230"/>
                      <a:pt x="680125" y="1161230"/>
                      <a:pt x="670338" y="1155406"/>
                    </a:cubicBezTo>
                    <a:lnTo>
                      <a:pt x="584868" y="1107519"/>
                    </a:lnTo>
                    <a:cubicBezTo>
                      <a:pt x="573124" y="1100400"/>
                      <a:pt x="573124" y="1082928"/>
                      <a:pt x="584868" y="1075810"/>
                    </a:cubicBezTo>
                    <a:lnTo>
                      <a:pt x="676863" y="1021452"/>
                    </a:lnTo>
                    <a:cubicBezTo>
                      <a:pt x="682082" y="1018540"/>
                      <a:pt x="687954" y="1016922"/>
                      <a:pt x="693745" y="1016760"/>
                    </a:cubicBezTo>
                    <a:close/>
                    <a:moveTo>
                      <a:pt x="1459575" y="1016759"/>
                    </a:moveTo>
                    <a:cubicBezTo>
                      <a:pt x="1465350" y="1016598"/>
                      <a:pt x="1471043" y="1017892"/>
                      <a:pt x="1475923" y="1020804"/>
                    </a:cubicBezTo>
                    <a:lnTo>
                      <a:pt x="1562459" y="1069338"/>
                    </a:lnTo>
                    <a:cubicBezTo>
                      <a:pt x="1574821" y="1076456"/>
                      <a:pt x="1574171" y="1093281"/>
                      <a:pt x="1562459" y="1101047"/>
                    </a:cubicBezTo>
                    <a:lnTo>
                      <a:pt x="1469416" y="1154757"/>
                    </a:lnTo>
                    <a:cubicBezTo>
                      <a:pt x="1459657" y="1161229"/>
                      <a:pt x="1446644" y="1161229"/>
                      <a:pt x="1436233" y="1155405"/>
                    </a:cubicBezTo>
                    <a:lnTo>
                      <a:pt x="1351649" y="1107518"/>
                    </a:lnTo>
                    <a:cubicBezTo>
                      <a:pt x="1339287" y="1100399"/>
                      <a:pt x="1339938" y="1082927"/>
                      <a:pt x="1351649" y="1075809"/>
                    </a:cubicBezTo>
                    <a:lnTo>
                      <a:pt x="1442740" y="1021451"/>
                    </a:lnTo>
                    <a:cubicBezTo>
                      <a:pt x="1447945" y="1018539"/>
                      <a:pt x="1453801" y="1016921"/>
                      <a:pt x="1459575" y="1016759"/>
                    </a:cubicBezTo>
                    <a:close/>
                    <a:moveTo>
                      <a:pt x="1076249" y="1011007"/>
                    </a:moveTo>
                    <a:cubicBezTo>
                      <a:pt x="1081943" y="1010845"/>
                      <a:pt x="1087636" y="1012145"/>
                      <a:pt x="1092841" y="1015070"/>
                    </a:cubicBezTo>
                    <a:lnTo>
                      <a:pt x="1179377" y="1063168"/>
                    </a:lnTo>
                    <a:cubicBezTo>
                      <a:pt x="1191739" y="1070318"/>
                      <a:pt x="1191089" y="1087868"/>
                      <a:pt x="1178726" y="1095017"/>
                    </a:cubicBezTo>
                    <a:lnTo>
                      <a:pt x="1086334" y="1148966"/>
                    </a:lnTo>
                    <a:cubicBezTo>
                      <a:pt x="1075924" y="1155466"/>
                      <a:pt x="1062911" y="1155466"/>
                      <a:pt x="1053151" y="1149616"/>
                    </a:cubicBezTo>
                    <a:lnTo>
                      <a:pt x="968567" y="1101517"/>
                    </a:lnTo>
                    <a:cubicBezTo>
                      <a:pt x="956205" y="1095017"/>
                      <a:pt x="956856" y="1076818"/>
                      <a:pt x="968567" y="1069668"/>
                    </a:cubicBezTo>
                    <a:lnTo>
                      <a:pt x="1059658" y="1015720"/>
                    </a:lnTo>
                    <a:cubicBezTo>
                      <a:pt x="1064863" y="1012795"/>
                      <a:pt x="1070556" y="1011170"/>
                      <a:pt x="1076249" y="1011007"/>
                    </a:cubicBezTo>
                    <a:close/>
                    <a:moveTo>
                      <a:pt x="2450028" y="912842"/>
                    </a:moveTo>
                    <a:cubicBezTo>
                      <a:pt x="2455821" y="912761"/>
                      <a:pt x="2461532" y="914233"/>
                      <a:pt x="2466428" y="917178"/>
                    </a:cubicBezTo>
                    <a:lnTo>
                      <a:pt x="2553241" y="965601"/>
                    </a:lnTo>
                    <a:cubicBezTo>
                      <a:pt x="2565642" y="972800"/>
                      <a:pt x="2564989" y="990468"/>
                      <a:pt x="2552588" y="997666"/>
                    </a:cubicBezTo>
                    <a:lnTo>
                      <a:pt x="1475592" y="1621286"/>
                    </a:lnTo>
                    <a:cubicBezTo>
                      <a:pt x="1465801" y="1627830"/>
                      <a:pt x="1452747" y="1627830"/>
                      <a:pt x="1442303" y="1621940"/>
                    </a:cubicBezTo>
                    <a:lnTo>
                      <a:pt x="1357449" y="1573517"/>
                    </a:lnTo>
                    <a:cubicBezTo>
                      <a:pt x="1345047" y="1566319"/>
                      <a:pt x="1345700" y="1548650"/>
                      <a:pt x="1357449" y="1541452"/>
                    </a:cubicBezTo>
                    <a:lnTo>
                      <a:pt x="2433139" y="917832"/>
                    </a:lnTo>
                    <a:cubicBezTo>
                      <a:pt x="2438361" y="914560"/>
                      <a:pt x="2444236" y="912924"/>
                      <a:pt x="2450028" y="912842"/>
                    </a:cubicBezTo>
                    <a:close/>
                    <a:moveTo>
                      <a:pt x="2032754" y="907308"/>
                    </a:moveTo>
                    <a:cubicBezTo>
                      <a:pt x="2038529" y="907146"/>
                      <a:pt x="2044222" y="908440"/>
                      <a:pt x="2049102" y="911352"/>
                    </a:cubicBezTo>
                    <a:lnTo>
                      <a:pt x="2135638" y="959886"/>
                    </a:lnTo>
                    <a:cubicBezTo>
                      <a:pt x="2148000" y="966357"/>
                      <a:pt x="2147350" y="983830"/>
                      <a:pt x="2135638" y="991595"/>
                    </a:cubicBezTo>
                    <a:lnTo>
                      <a:pt x="2042595" y="1045306"/>
                    </a:lnTo>
                    <a:cubicBezTo>
                      <a:pt x="2032836" y="1051777"/>
                      <a:pt x="2019823" y="1051777"/>
                      <a:pt x="2009412" y="1045953"/>
                    </a:cubicBezTo>
                    <a:lnTo>
                      <a:pt x="1924828" y="998066"/>
                    </a:lnTo>
                    <a:cubicBezTo>
                      <a:pt x="1912466" y="990948"/>
                      <a:pt x="1913117" y="973476"/>
                      <a:pt x="1924828" y="966357"/>
                    </a:cubicBezTo>
                    <a:lnTo>
                      <a:pt x="2015919" y="911999"/>
                    </a:lnTo>
                    <a:cubicBezTo>
                      <a:pt x="2021124" y="909087"/>
                      <a:pt x="2026980" y="907470"/>
                      <a:pt x="2032754" y="907308"/>
                    </a:cubicBezTo>
                    <a:close/>
                    <a:moveTo>
                      <a:pt x="883512" y="904111"/>
                    </a:moveTo>
                    <a:cubicBezTo>
                      <a:pt x="889287" y="903949"/>
                      <a:pt x="894980" y="905249"/>
                      <a:pt x="899860" y="907849"/>
                    </a:cubicBezTo>
                    <a:lnTo>
                      <a:pt x="986396" y="956597"/>
                    </a:lnTo>
                    <a:cubicBezTo>
                      <a:pt x="998758" y="963747"/>
                      <a:pt x="998108" y="981296"/>
                      <a:pt x="986396" y="987796"/>
                    </a:cubicBezTo>
                    <a:lnTo>
                      <a:pt x="893353" y="1042394"/>
                    </a:lnTo>
                    <a:cubicBezTo>
                      <a:pt x="883594" y="1048894"/>
                      <a:pt x="870581" y="1048894"/>
                      <a:pt x="860170" y="1043044"/>
                    </a:cubicBezTo>
                    <a:lnTo>
                      <a:pt x="775586" y="994946"/>
                    </a:lnTo>
                    <a:cubicBezTo>
                      <a:pt x="763224" y="987796"/>
                      <a:pt x="763875" y="970246"/>
                      <a:pt x="775586" y="963097"/>
                    </a:cubicBezTo>
                    <a:lnTo>
                      <a:pt x="866677" y="909149"/>
                    </a:lnTo>
                    <a:cubicBezTo>
                      <a:pt x="871882" y="905899"/>
                      <a:pt x="877738" y="904274"/>
                      <a:pt x="883512" y="904111"/>
                    </a:cubicBezTo>
                    <a:close/>
                    <a:moveTo>
                      <a:pt x="1649432" y="904110"/>
                    </a:moveTo>
                    <a:cubicBezTo>
                      <a:pt x="1655125" y="903948"/>
                      <a:pt x="1660818" y="905248"/>
                      <a:pt x="1666023" y="907848"/>
                    </a:cubicBezTo>
                    <a:lnTo>
                      <a:pt x="1752559" y="956596"/>
                    </a:lnTo>
                    <a:cubicBezTo>
                      <a:pt x="1764921" y="963746"/>
                      <a:pt x="1764271" y="981295"/>
                      <a:pt x="1751908" y="987795"/>
                    </a:cubicBezTo>
                    <a:lnTo>
                      <a:pt x="1659516" y="1042393"/>
                    </a:lnTo>
                    <a:cubicBezTo>
                      <a:pt x="1649106" y="1048893"/>
                      <a:pt x="1636093" y="1048893"/>
                      <a:pt x="1625683" y="1043043"/>
                    </a:cubicBezTo>
                    <a:lnTo>
                      <a:pt x="1541749" y="994945"/>
                    </a:lnTo>
                    <a:cubicBezTo>
                      <a:pt x="1529387" y="987795"/>
                      <a:pt x="1530038" y="970245"/>
                      <a:pt x="1541749" y="963096"/>
                    </a:cubicBezTo>
                    <a:lnTo>
                      <a:pt x="1632840" y="909148"/>
                    </a:lnTo>
                    <a:cubicBezTo>
                      <a:pt x="1638045" y="905898"/>
                      <a:pt x="1643738" y="904273"/>
                      <a:pt x="1649432" y="904110"/>
                    </a:cubicBezTo>
                    <a:close/>
                    <a:moveTo>
                      <a:pt x="1266681" y="898432"/>
                    </a:moveTo>
                    <a:cubicBezTo>
                      <a:pt x="1272390" y="898350"/>
                      <a:pt x="1278098" y="899813"/>
                      <a:pt x="1283318" y="902738"/>
                    </a:cubicBezTo>
                    <a:lnTo>
                      <a:pt x="1370094" y="950836"/>
                    </a:lnTo>
                    <a:cubicBezTo>
                      <a:pt x="1381838" y="957986"/>
                      <a:pt x="1381838" y="975535"/>
                      <a:pt x="1369441" y="982685"/>
                    </a:cubicBezTo>
                    <a:lnTo>
                      <a:pt x="1276794" y="1037283"/>
                    </a:lnTo>
                    <a:cubicBezTo>
                      <a:pt x="1266355" y="1043133"/>
                      <a:pt x="1253306" y="1043133"/>
                      <a:pt x="1242867" y="1037283"/>
                    </a:cubicBezTo>
                    <a:lnTo>
                      <a:pt x="1158049" y="989185"/>
                    </a:lnTo>
                    <a:cubicBezTo>
                      <a:pt x="1146305" y="982035"/>
                      <a:pt x="1146305" y="965135"/>
                      <a:pt x="1158049" y="957986"/>
                    </a:cubicBezTo>
                    <a:lnTo>
                      <a:pt x="1250044" y="903388"/>
                    </a:lnTo>
                    <a:cubicBezTo>
                      <a:pt x="1255264" y="900138"/>
                      <a:pt x="1260972" y="898513"/>
                      <a:pt x="1266681" y="898432"/>
                    </a:cubicBezTo>
                    <a:close/>
                    <a:moveTo>
                      <a:pt x="2608815" y="800737"/>
                    </a:moveTo>
                    <a:cubicBezTo>
                      <a:pt x="2614590" y="800575"/>
                      <a:pt x="2620283" y="801869"/>
                      <a:pt x="2625163" y="804781"/>
                    </a:cubicBezTo>
                    <a:lnTo>
                      <a:pt x="2711699" y="853315"/>
                    </a:lnTo>
                    <a:cubicBezTo>
                      <a:pt x="2724061" y="859786"/>
                      <a:pt x="2723411" y="877905"/>
                      <a:pt x="2711699" y="885023"/>
                    </a:cubicBezTo>
                    <a:lnTo>
                      <a:pt x="2618656" y="938734"/>
                    </a:lnTo>
                    <a:cubicBezTo>
                      <a:pt x="2608897" y="945205"/>
                      <a:pt x="2595884" y="945205"/>
                      <a:pt x="2585473" y="939381"/>
                    </a:cubicBezTo>
                    <a:lnTo>
                      <a:pt x="2500889" y="891495"/>
                    </a:lnTo>
                    <a:cubicBezTo>
                      <a:pt x="2488527" y="884376"/>
                      <a:pt x="2489178" y="866904"/>
                      <a:pt x="2500889" y="859786"/>
                    </a:cubicBezTo>
                    <a:lnTo>
                      <a:pt x="2591980" y="805428"/>
                    </a:lnTo>
                    <a:cubicBezTo>
                      <a:pt x="2597185" y="802516"/>
                      <a:pt x="2603041" y="800898"/>
                      <a:pt x="2608815" y="800737"/>
                    </a:cubicBezTo>
                    <a:close/>
                    <a:moveTo>
                      <a:pt x="2225492" y="794740"/>
                    </a:moveTo>
                    <a:cubicBezTo>
                      <a:pt x="2231185" y="794659"/>
                      <a:pt x="2236878" y="796121"/>
                      <a:pt x="2242083" y="799046"/>
                    </a:cubicBezTo>
                    <a:lnTo>
                      <a:pt x="2328619" y="847144"/>
                    </a:lnTo>
                    <a:cubicBezTo>
                      <a:pt x="2340981" y="854294"/>
                      <a:pt x="2340331" y="871844"/>
                      <a:pt x="2327968" y="878343"/>
                    </a:cubicBezTo>
                    <a:lnTo>
                      <a:pt x="2235576" y="932941"/>
                    </a:lnTo>
                    <a:cubicBezTo>
                      <a:pt x="2225166" y="939441"/>
                      <a:pt x="2212153" y="939441"/>
                      <a:pt x="2201743" y="933591"/>
                    </a:cubicBezTo>
                    <a:lnTo>
                      <a:pt x="2117809" y="885493"/>
                    </a:lnTo>
                    <a:cubicBezTo>
                      <a:pt x="2105447" y="878343"/>
                      <a:pt x="2106098" y="860794"/>
                      <a:pt x="2117809" y="853644"/>
                    </a:cubicBezTo>
                    <a:lnTo>
                      <a:pt x="2208900" y="799696"/>
                    </a:lnTo>
                    <a:cubicBezTo>
                      <a:pt x="2214105" y="796446"/>
                      <a:pt x="2219798" y="794821"/>
                      <a:pt x="2225492" y="794740"/>
                    </a:cubicBezTo>
                    <a:close/>
                    <a:moveTo>
                      <a:pt x="1076248" y="791861"/>
                    </a:moveTo>
                    <a:cubicBezTo>
                      <a:pt x="1081942" y="791779"/>
                      <a:pt x="1087635" y="793242"/>
                      <a:pt x="1092840" y="796167"/>
                    </a:cubicBezTo>
                    <a:lnTo>
                      <a:pt x="1179376" y="844265"/>
                    </a:lnTo>
                    <a:cubicBezTo>
                      <a:pt x="1191738" y="851415"/>
                      <a:pt x="1191088" y="868315"/>
                      <a:pt x="1178725" y="876114"/>
                    </a:cubicBezTo>
                    <a:lnTo>
                      <a:pt x="1086333" y="930713"/>
                    </a:lnTo>
                    <a:cubicBezTo>
                      <a:pt x="1075923" y="936563"/>
                      <a:pt x="1062910" y="936563"/>
                      <a:pt x="1053150" y="930713"/>
                    </a:cubicBezTo>
                    <a:lnTo>
                      <a:pt x="968566" y="882614"/>
                    </a:lnTo>
                    <a:cubicBezTo>
                      <a:pt x="956204" y="875464"/>
                      <a:pt x="956855" y="858565"/>
                      <a:pt x="968566" y="851415"/>
                    </a:cubicBezTo>
                    <a:lnTo>
                      <a:pt x="1059657" y="796817"/>
                    </a:lnTo>
                    <a:cubicBezTo>
                      <a:pt x="1064862" y="793567"/>
                      <a:pt x="1070555" y="791942"/>
                      <a:pt x="1076248" y="791861"/>
                    </a:cubicBezTo>
                    <a:close/>
                    <a:moveTo>
                      <a:pt x="1842422" y="791860"/>
                    </a:moveTo>
                    <a:cubicBezTo>
                      <a:pt x="1848146" y="791778"/>
                      <a:pt x="1853871" y="793241"/>
                      <a:pt x="1859105" y="796166"/>
                    </a:cubicBezTo>
                    <a:lnTo>
                      <a:pt x="1946120" y="844264"/>
                    </a:lnTo>
                    <a:cubicBezTo>
                      <a:pt x="1957897" y="851414"/>
                      <a:pt x="1957897" y="868314"/>
                      <a:pt x="1945466" y="876113"/>
                    </a:cubicBezTo>
                    <a:lnTo>
                      <a:pt x="1852562" y="930712"/>
                    </a:lnTo>
                    <a:cubicBezTo>
                      <a:pt x="1842094" y="936562"/>
                      <a:pt x="1829009" y="936562"/>
                      <a:pt x="1818541" y="930712"/>
                    </a:cubicBezTo>
                    <a:lnTo>
                      <a:pt x="1734143" y="882613"/>
                    </a:lnTo>
                    <a:cubicBezTo>
                      <a:pt x="1722366" y="875463"/>
                      <a:pt x="1722366" y="858564"/>
                      <a:pt x="1734143" y="851414"/>
                    </a:cubicBezTo>
                    <a:lnTo>
                      <a:pt x="1825738" y="796816"/>
                    </a:lnTo>
                    <a:cubicBezTo>
                      <a:pt x="1830972" y="793566"/>
                      <a:pt x="1836697" y="791941"/>
                      <a:pt x="1842422" y="791860"/>
                    </a:cubicBezTo>
                    <a:close/>
                    <a:moveTo>
                      <a:pt x="1459574" y="785938"/>
                    </a:moveTo>
                    <a:cubicBezTo>
                      <a:pt x="1465349" y="785857"/>
                      <a:pt x="1471042" y="787157"/>
                      <a:pt x="1475922" y="789757"/>
                    </a:cubicBezTo>
                    <a:lnTo>
                      <a:pt x="1562458" y="837855"/>
                    </a:lnTo>
                    <a:cubicBezTo>
                      <a:pt x="1574820" y="845005"/>
                      <a:pt x="1574170" y="862555"/>
                      <a:pt x="1562458" y="869704"/>
                    </a:cubicBezTo>
                    <a:lnTo>
                      <a:pt x="1469415" y="924303"/>
                    </a:lnTo>
                    <a:cubicBezTo>
                      <a:pt x="1459656" y="930803"/>
                      <a:pt x="1446643" y="930803"/>
                      <a:pt x="1436232" y="924953"/>
                    </a:cubicBezTo>
                    <a:lnTo>
                      <a:pt x="1351648" y="876204"/>
                    </a:lnTo>
                    <a:cubicBezTo>
                      <a:pt x="1339286" y="869054"/>
                      <a:pt x="1339937" y="852155"/>
                      <a:pt x="1351648" y="845005"/>
                    </a:cubicBezTo>
                    <a:lnTo>
                      <a:pt x="1442739" y="790407"/>
                    </a:lnTo>
                    <a:cubicBezTo>
                      <a:pt x="1447944" y="787482"/>
                      <a:pt x="1453800" y="786019"/>
                      <a:pt x="1459574" y="785938"/>
                    </a:cubicBezTo>
                    <a:close/>
                    <a:moveTo>
                      <a:pt x="2801553" y="688169"/>
                    </a:moveTo>
                    <a:cubicBezTo>
                      <a:pt x="2807246" y="688088"/>
                      <a:pt x="2812939" y="689550"/>
                      <a:pt x="2818144" y="692475"/>
                    </a:cubicBezTo>
                    <a:lnTo>
                      <a:pt x="2904680" y="740574"/>
                    </a:lnTo>
                    <a:cubicBezTo>
                      <a:pt x="2917042" y="747724"/>
                      <a:pt x="2916392" y="765273"/>
                      <a:pt x="2904029" y="771773"/>
                    </a:cubicBezTo>
                    <a:lnTo>
                      <a:pt x="2811637" y="826371"/>
                    </a:lnTo>
                    <a:cubicBezTo>
                      <a:pt x="2801227" y="832871"/>
                      <a:pt x="2788214" y="832871"/>
                      <a:pt x="2777804" y="827021"/>
                    </a:cubicBezTo>
                    <a:lnTo>
                      <a:pt x="2693870" y="778273"/>
                    </a:lnTo>
                    <a:cubicBezTo>
                      <a:pt x="2681508" y="771773"/>
                      <a:pt x="2681508" y="754223"/>
                      <a:pt x="2693870" y="747074"/>
                    </a:cubicBezTo>
                    <a:lnTo>
                      <a:pt x="2784961" y="693125"/>
                    </a:lnTo>
                    <a:cubicBezTo>
                      <a:pt x="2790166" y="689875"/>
                      <a:pt x="2795859" y="688250"/>
                      <a:pt x="2801553" y="688169"/>
                    </a:cubicBezTo>
                    <a:close/>
                    <a:moveTo>
                      <a:pt x="2418803" y="682409"/>
                    </a:moveTo>
                    <a:cubicBezTo>
                      <a:pt x="2424512" y="682328"/>
                      <a:pt x="2430221" y="683790"/>
                      <a:pt x="2435440" y="686715"/>
                    </a:cubicBezTo>
                    <a:lnTo>
                      <a:pt x="2522216" y="734814"/>
                    </a:lnTo>
                    <a:cubicBezTo>
                      <a:pt x="2533960" y="741314"/>
                      <a:pt x="2533960" y="759513"/>
                      <a:pt x="2521563" y="766663"/>
                    </a:cubicBezTo>
                    <a:lnTo>
                      <a:pt x="2428916" y="821261"/>
                    </a:lnTo>
                    <a:cubicBezTo>
                      <a:pt x="2418477" y="827111"/>
                      <a:pt x="2405428" y="827111"/>
                      <a:pt x="2394989" y="821261"/>
                    </a:cubicBezTo>
                    <a:lnTo>
                      <a:pt x="2310171" y="773163"/>
                    </a:lnTo>
                    <a:cubicBezTo>
                      <a:pt x="2298427" y="766013"/>
                      <a:pt x="2298427" y="749113"/>
                      <a:pt x="2310171" y="741314"/>
                    </a:cubicBezTo>
                    <a:lnTo>
                      <a:pt x="2402166" y="687365"/>
                    </a:lnTo>
                    <a:cubicBezTo>
                      <a:pt x="2407385" y="684115"/>
                      <a:pt x="2413094" y="682490"/>
                      <a:pt x="2418803" y="682409"/>
                    </a:cubicBezTo>
                    <a:close/>
                    <a:moveTo>
                      <a:pt x="1266680" y="676649"/>
                    </a:moveTo>
                    <a:cubicBezTo>
                      <a:pt x="1272389" y="676567"/>
                      <a:pt x="1278097" y="678030"/>
                      <a:pt x="1283317" y="680955"/>
                    </a:cubicBezTo>
                    <a:lnTo>
                      <a:pt x="1370093" y="729053"/>
                    </a:lnTo>
                    <a:cubicBezTo>
                      <a:pt x="1381837" y="736203"/>
                      <a:pt x="1381837" y="753753"/>
                      <a:pt x="1369440" y="760902"/>
                    </a:cubicBezTo>
                    <a:lnTo>
                      <a:pt x="1276793" y="815501"/>
                    </a:lnTo>
                    <a:cubicBezTo>
                      <a:pt x="1266354" y="821351"/>
                      <a:pt x="1253305" y="821351"/>
                      <a:pt x="1242866" y="816151"/>
                    </a:cubicBezTo>
                    <a:lnTo>
                      <a:pt x="1158048" y="767402"/>
                    </a:lnTo>
                    <a:cubicBezTo>
                      <a:pt x="1146304" y="760252"/>
                      <a:pt x="1146304" y="743353"/>
                      <a:pt x="1158048" y="736203"/>
                    </a:cubicBezTo>
                    <a:lnTo>
                      <a:pt x="1250043" y="681605"/>
                    </a:lnTo>
                    <a:cubicBezTo>
                      <a:pt x="1255263" y="678355"/>
                      <a:pt x="1260971" y="676730"/>
                      <a:pt x="1266680" y="676649"/>
                    </a:cubicBezTo>
                    <a:close/>
                    <a:moveTo>
                      <a:pt x="2032754" y="676648"/>
                    </a:moveTo>
                    <a:cubicBezTo>
                      <a:pt x="2038529" y="676566"/>
                      <a:pt x="2044222" y="678029"/>
                      <a:pt x="2049102" y="680954"/>
                    </a:cubicBezTo>
                    <a:lnTo>
                      <a:pt x="2135638" y="729052"/>
                    </a:lnTo>
                    <a:cubicBezTo>
                      <a:pt x="2148000" y="736202"/>
                      <a:pt x="2147350" y="753752"/>
                      <a:pt x="2135638" y="760901"/>
                    </a:cubicBezTo>
                    <a:lnTo>
                      <a:pt x="2042595" y="815500"/>
                    </a:lnTo>
                    <a:cubicBezTo>
                      <a:pt x="2032836" y="821350"/>
                      <a:pt x="2019823" y="821350"/>
                      <a:pt x="2009412" y="816150"/>
                    </a:cubicBezTo>
                    <a:lnTo>
                      <a:pt x="1924828" y="767401"/>
                    </a:lnTo>
                    <a:cubicBezTo>
                      <a:pt x="1912466" y="760251"/>
                      <a:pt x="1913117" y="743352"/>
                      <a:pt x="1924828" y="736202"/>
                    </a:cubicBezTo>
                    <a:lnTo>
                      <a:pt x="2015919" y="681604"/>
                    </a:lnTo>
                    <a:cubicBezTo>
                      <a:pt x="2021124" y="678354"/>
                      <a:pt x="2026980" y="676729"/>
                      <a:pt x="2032754" y="676648"/>
                    </a:cubicBezTo>
                    <a:close/>
                    <a:moveTo>
                      <a:pt x="1649431" y="674084"/>
                    </a:moveTo>
                    <a:cubicBezTo>
                      <a:pt x="1655124" y="674003"/>
                      <a:pt x="1660817" y="675459"/>
                      <a:pt x="1666022" y="678695"/>
                    </a:cubicBezTo>
                    <a:lnTo>
                      <a:pt x="1752558" y="726581"/>
                    </a:lnTo>
                    <a:cubicBezTo>
                      <a:pt x="1764920" y="733053"/>
                      <a:pt x="1764270" y="750525"/>
                      <a:pt x="1751907" y="757643"/>
                    </a:cubicBezTo>
                    <a:lnTo>
                      <a:pt x="1659515" y="812000"/>
                    </a:lnTo>
                    <a:cubicBezTo>
                      <a:pt x="1649105" y="818472"/>
                      <a:pt x="1636092" y="818472"/>
                      <a:pt x="1625682" y="812648"/>
                    </a:cubicBezTo>
                    <a:lnTo>
                      <a:pt x="1541748" y="764114"/>
                    </a:lnTo>
                    <a:cubicBezTo>
                      <a:pt x="1529386" y="757643"/>
                      <a:pt x="1530037" y="740171"/>
                      <a:pt x="1541748" y="733053"/>
                    </a:cubicBezTo>
                    <a:lnTo>
                      <a:pt x="1632839" y="678695"/>
                    </a:lnTo>
                    <a:cubicBezTo>
                      <a:pt x="1638044" y="675783"/>
                      <a:pt x="1643737" y="674165"/>
                      <a:pt x="1649431" y="674084"/>
                    </a:cubicBezTo>
                    <a:close/>
                    <a:moveTo>
                      <a:pt x="2991739" y="575837"/>
                    </a:moveTo>
                    <a:cubicBezTo>
                      <a:pt x="2997530" y="575756"/>
                      <a:pt x="3003402" y="577218"/>
                      <a:pt x="3008621" y="580143"/>
                    </a:cubicBezTo>
                    <a:lnTo>
                      <a:pt x="3095397" y="628241"/>
                    </a:lnTo>
                    <a:cubicBezTo>
                      <a:pt x="3107141" y="634741"/>
                      <a:pt x="3107141" y="652941"/>
                      <a:pt x="3094744" y="660090"/>
                    </a:cubicBezTo>
                    <a:lnTo>
                      <a:pt x="3002097" y="714688"/>
                    </a:lnTo>
                    <a:cubicBezTo>
                      <a:pt x="2991658" y="720538"/>
                      <a:pt x="2978609" y="720538"/>
                      <a:pt x="2968170" y="714688"/>
                    </a:cubicBezTo>
                    <a:lnTo>
                      <a:pt x="2883352" y="666590"/>
                    </a:lnTo>
                    <a:cubicBezTo>
                      <a:pt x="2871608" y="659440"/>
                      <a:pt x="2871608" y="642541"/>
                      <a:pt x="2883352" y="634741"/>
                    </a:cubicBezTo>
                    <a:lnTo>
                      <a:pt x="2975347" y="580793"/>
                    </a:lnTo>
                    <a:cubicBezTo>
                      <a:pt x="2980240" y="577543"/>
                      <a:pt x="2985949" y="575918"/>
                      <a:pt x="2991739" y="575837"/>
                    </a:cubicBezTo>
                    <a:close/>
                    <a:moveTo>
                      <a:pt x="2608815" y="570076"/>
                    </a:moveTo>
                    <a:cubicBezTo>
                      <a:pt x="2614590" y="569995"/>
                      <a:pt x="2620283" y="571457"/>
                      <a:pt x="2625163" y="574382"/>
                    </a:cubicBezTo>
                    <a:lnTo>
                      <a:pt x="2711699" y="622480"/>
                    </a:lnTo>
                    <a:cubicBezTo>
                      <a:pt x="2724061" y="629630"/>
                      <a:pt x="2723411" y="647180"/>
                      <a:pt x="2711699" y="654329"/>
                    </a:cubicBezTo>
                    <a:lnTo>
                      <a:pt x="2618656" y="708927"/>
                    </a:lnTo>
                    <a:cubicBezTo>
                      <a:pt x="2608897" y="714777"/>
                      <a:pt x="2595884" y="714777"/>
                      <a:pt x="2585473" y="708927"/>
                    </a:cubicBezTo>
                    <a:lnTo>
                      <a:pt x="2500889" y="660829"/>
                    </a:lnTo>
                    <a:cubicBezTo>
                      <a:pt x="2488527" y="653679"/>
                      <a:pt x="2489178" y="636780"/>
                      <a:pt x="2500889" y="629630"/>
                    </a:cubicBezTo>
                    <a:lnTo>
                      <a:pt x="2591980" y="575032"/>
                    </a:lnTo>
                    <a:cubicBezTo>
                      <a:pt x="2597185" y="571782"/>
                      <a:pt x="2603041" y="570157"/>
                      <a:pt x="2608815" y="570076"/>
                    </a:cubicBezTo>
                    <a:close/>
                    <a:moveTo>
                      <a:pt x="1459573" y="564552"/>
                    </a:moveTo>
                    <a:cubicBezTo>
                      <a:pt x="1465348" y="564391"/>
                      <a:pt x="1471041" y="565685"/>
                      <a:pt x="1475921" y="568597"/>
                    </a:cubicBezTo>
                    <a:lnTo>
                      <a:pt x="1562457" y="617130"/>
                    </a:lnTo>
                    <a:cubicBezTo>
                      <a:pt x="1574819" y="623602"/>
                      <a:pt x="1574169" y="641074"/>
                      <a:pt x="1562457" y="648192"/>
                    </a:cubicBezTo>
                    <a:lnTo>
                      <a:pt x="1469414" y="702549"/>
                    </a:lnTo>
                    <a:cubicBezTo>
                      <a:pt x="1459655" y="709021"/>
                      <a:pt x="1446642" y="709021"/>
                      <a:pt x="1436231" y="703197"/>
                    </a:cubicBezTo>
                    <a:lnTo>
                      <a:pt x="1351647" y="654663"/>
                    </a:lnTo>
                    <a:cubicBezTo>
                      <a:pt x="1339285" y="648192"/>
                      <a:pt x="1339936" y="630720"/>
                      <a:pt x="1351647" y="623602"/>
                    </a:cubicBezTo>
                    <a:lnTo>
                      <a:pt x="1442738" y="569244"/>
                    </a:lnTo>
                    <a:cubicBezTo>
                      <a:pt x="1447943" y="566332"/>
                      <a:pt x="1453799" y="564714"/>
                      <a:pt x="1459573" y="564552"/>
                    </a:cubicBezTo>
                    <a:close/>
                    <a:moveTo>
                      <a:pt x="2225491" y="564551"/>
                    </a:moveTo>
                    <a:cubicBezTo>
                      <a:pt x="2231185" y="564390"/>
                      <a:pt x="2236878" y="565684"/>
                      <a:pt x="2242083" y="568596"/>
                    </a:cubicBezTo>
                    <a:lnTo>
                      <a:pt x="2328619" y="617129"/>
                    </a:lnTo>
                    <a:cubicBezTo>
                      <a:pt x="2340981" y="623601"/>
                      <a:pt x="2340331" y="641073"/>
                      <a:pt x="2327968" y="648191"/>
                    </a:cubicBezTo>
                    <a:lnTo>
                      <a:pt x="2235576" y="702548"/>
                    </a:lnTo>
                    <a:cubicBezTo>
                      <a:pt x="2225166" y="709020"/>
                      <a:pt x="2212153" y="709020"/>
                      <a:pt x="2201743" y="703196"/>
                    </a:cubicBezTo>
                    <a:lnTo>
                      <a:pt x="2117809" y="654662"/>
                    </a:lnTo>
                    <a:cubicBezTo>
                      <a:pt x="2105447" y="648191"/>
                      <a:pt x="2106098" y="630719"/>
                      <a:pt x="2117809" y="623601"/>
                    </a:cubicBezTo>
                    <a:lnTo>
                      <a:pt x="2208900" y="569243"/>
                    </a:lnTo>
                    <a:cubicBezTo>
                      <a:pt x="2214105" y="566331"/>
                      <a:pt x="2219798" y="564713"/>
                      <a:pt x="2225491" y="564551"/>
                    </a:cubicBezTo>
                    <a:close/>
                    <a:moveTo>
                      <a:pt x="1842421" y="561274"/>
                    </a:moveTo>
                    <a:cubicBezTo>
                      <a:pt x="1848145" y="561193"/>
                      <a:pt x="1853870" y="562493"/>
                      <a:pt x="1859104" y="565093"/>
                    </a:cubicBezTo>
                    <a:lnTo>
                      <a:pt x="1946119" y="613841"/>
                    </a:lnTo>
                    <a:cubicBezTo>
                      <a:pt x="1957896" y="620991"/>
                      <a:pt x="1957896" y="637891"/>
                      <a:pt x="1945465" y="645690"/>
                    </a:cubicBezTo>
                    <a:lnTo>
                      <a:pt x="1852561" y="699639"/>
                    </a:lnTo>
                    <a:cubicBezTo>
                      <a:pt x="1842093" y="706139"/>
                      <a:pt x="1829008" y="706139"/>
                      <a:pt x="1818540" y="700289"/>
                    </a:cubicBezTo>
                    <a:lnTo>
                      <a:pt x="1734142" y="652190"/>
                    </a:lnTo>
                    <a:cubicBezTo>
                      <a:pt x="1722365" y="645040"/>
                      <a:pt x="1722365" y="627491"/>
                      <a:pt x="1734142" y="620341"/>
                    </a:cubicBezTo>
                    <a:lnTo>
                      <a:pt x="1825737" y="565743"/>
                    </a:lnTo>
                    <a:cubicBezTo>
                      <a:pt x="1830971" y="562818"/>
                      <a:pt x="1836696" y="561355"/>
                      <a:pt x="1842421" y="561274"/>
                    </a:cubicBezTo>
                    <a:close/>
                    <a:moveTo>
                      <a:pt x="3184875" y="463507"/>
                    </a:moveTo>
                    <a:cubicBezTo>
                      <a:pt x="3190650" y="463426"/>
                      <a:pt x="3196343" y="464888"/>
                      <a:pt x="3201223" y="467813"/>
                    </a:cubicBezTo>
                    <a:lnTo>
                      <a:pt x="3287759" y="515912"/>
                    </a:lnTo>
                    <a:cubicBezTo>
                      <a:pt x="3300121" y="523062"/>
                      <a:pt x="3299471" y="540611"/>
                      <a:pt x="3287759" y="547761"/>
                    </a:cubicBezTo>
                    <a:lnTo>
                      <a:pt x="3194716" y="602359"/>
                    </a:lnTo>
                    <a:cubicBezTo>
                      <a:pt x="3184957" y="608209"/>
                      <a:pt x="3171944" y="608209"/>
                      <a:pt x="3161533" y="603009"/>
                    </a:cubicBezTo>
                    <a:lnTo>
                      <a:pt x="3076949" y="554261"/>
                    </a:lnTo>
                    <a:cubicBezTo>
                      <a:pt x="3064587" y="547111"/>
                      <a:pt x="3065238" y="530211"/>
                      <a:pt x="3076949" y="523062"/>
                    </a:cubicBezTo>
                    <a:lnTo>
                      <a:pt x="3168040" y="468463"/>
                    </a:lnTo>
                    <a:cubicBezTo>
                      <a:pt x="3173245" y="465213"/>
                      <a:pt x="3179101" y="463588"/>
                      <a:pt x="3184875" y="463507"/>
                    </a:cubicBezTo>
                    <a:close/>
                    <a:moveTo>
                      <a:pt x="2801554" y="457982"/>
                    </a:moveTo>
                    <a:cubicBezTo>
                      <a:pt x="2807247" y="457820"/>
                      <a:pt x="2812940" y="459114"/>
                      <a:pt x="2818145" y="462026"/>
                    </a:cubicBezTo>
                    <a:lnTo>
                      <a:pt x="2904681" y="509913"/>
                    </a:lnTo>
                    <a:cubicBezTo>
                      <a:pt x="2917043" y="517031"/>
                      <a:pt x="2916393" y="534504"/>
                      <a:pt x="2904030" y="541622"/>
                    </a:cubicBezTo>
                    <a:lnTo>
                      <a:pt x="2811638" y="595980"/>
                    </a:lnTo>
                    <a:cubicBezTo>
                      <a:pt x="2801228" y="602451"/>
                      <a:pt x="2788215" y="602451"/>
                      <a:pt x="2777805" y="596627"/>
                    </a:cubicBezTo>
                    <a:lnTo>
                      <a:pt x="2693871" y="548093"/>
                    </a:lnTo>
                    <a:cubicBezTo>
                      <a:pt x="2681509" y="541622"/>
                      <a:pt x="2681509" y="524150"/>
                      <a:pt x="2693871" y="516384"/>
                    </a:cubicBezTo>
                    <a:lnTo>
                      <a:pt x="2784962" y="462673"/>
                    </a:lnTo>
                    <a:cubicBezTo>
                      <a:pt x="2790167" y="459761"/>
                      <a:pt x="2795860" y="458144"/>
                      <a:pt x="2801554" y="457982"/>
                    </a:cubicBezTo>
                    <a:close/>
                    <a:moveTo>
                      <a:pt x="2418803" y="452220"/>
                    </a:moveTo>
                    <a:cubicBezTo>
                      <a:pt x="2424512" y="452058"/>
                      <a:pt x="2430221" y="453352"/>
                      <a:pt x="2435440" y="456264"/>
                    </a:cubicBezTo>
                    <a:lnTo>
                      <a:pt x="2522216" y="504798"/>
                    </a:lnTo>
                    <a:cubicBezTo>
                      <a:pt x="2533960" y="511269"/>
                      <a:pt x="2533960" y="528742"/>
                      <a:pt x="2521563" y="536507"/>
                    </a:cubicBezTo>
                    <a:lnTo>
                      <a:pt x="2428916" y="590218"/>
                    </a:lnTo>
                    <a:cubicBezTo>
                      <a:pt x="2418477" y="596042"/>
                      <a:pt x="2405428" y="596689"/>
                      <a:pt x="2394989" y="590865"/>
                    </a:cubicBezTo>
                    <a:lnTo>
                      <a:pt x="2310171" y="542978"/>
                    </a:lnTo>
                    <a:cubicBezTo>
                      <a:pt x="2298427" y="535860"/>
                      <a:pt x="2298427" y="518388"/>
                      <a:pt x="2310171" y="511269"/>
                    </a:cubicBezTo>
                    <a:lnTo>
                      <a:pt x="2402166" y="456911"/>
                    </a:lnTo>
                    <a:cubicBezTo>
                      <a:pt x="2407385" y="453999"/>
                      <a:pt x="2413094" y="452382"/>
                      <a:pt x="2418803" y="452220"/>
                    </a:cubicBezTo>
                    <a:close/>
                    <a:moveTo>
                      <a:pt x="1649430" y="452220"/>
                    </a:moveTo>
                    <a:cubicBezTo>
                      <a:pt x="1655123" y="452059"/>
                      <a:pt x="1660816" y="453353"/>
                      <a:pt x="1666021" y="456265"/>
                    </a:cubicBezTo>
                    <a:lnTo>
                      <a:pt x="1752557" y="504799"/>
                    </a:lnTo>
                    <a:cubicBezTo>
                      <a:pt x="1764919" y="511270"/>
                      <a:pt x="1764269" y="528742"/>
                      <a:pt x="1751906" y="536508"/>
                    </a:cubicBezTo>
                    <a:lnTo>
                      <a:pt x="1659514" y="590218"/>
                    </a:lnTo>
                    <a:cubicBezTo>
                      <a:pt x="1649104" y="596043"/>
                      <a:pt x="1636091" y="596690"/>
                      <a:pt x="1625681" y="590866"/>
                    </a:cubicBezTo>
                    <a:lnTo>
                      <a:pt x="1541747" y="542979"/>
                    </a:lnTo>
                    <a:cubicBezTo>
                      <a:pt x="1529385" y="535860"/>
                      <a:pt x="1530036" y="518388"/>
                      <a:pt x="1541747" y="511270"/>
                    </a:cubicBezTo>
                    <a:lnTo>
                      <a:pt x="1632838" y="456912"/>
                    </a:lnTo>
                    <a:cubicBezTo>
                      <a:pt x="1638043" y="454000"/>
                      <a:pt x="1643736" y="452382"/>
                      <a:pt x="1649430" y="452220"/>
                    </a:cubicBezTo>
                    <a:close/>
                    <a:moveTo>
                      <a:pt x="2032754" y="446217"/>
                    </a:moveTo>
                    <a:cubicBezTo>
                      <a:pt x="2038529" y="446136"/>
                      <a:pt x="2044222" y="447592"/>
                      <a:pt x="2049102" y="450504"/>
                    </a:cubicBezTo>
                    <a:lnTo>
                      <a:pt x="2135638" y="498391"/>
                    </a:lnTo>
                    <a:cubicBezTo>
                      <a:pt x="2148000" y="504862"/>
                      <a:pt x="2147350" y="522335"/>
                      <a:pt x="2135638" y="529453"/>
                    </a:cubicBezTo>
                    <a:lnTo>
                      <a:pt x="2042595" y="584458"/>
                    </a:lnTo>
                    <a:cubicBezTo>
                      <a:pt x="2032836" y="590282"/>
                      <a:pt x="2019823" y="590929"/>
                      <a:pt x="2009412" y="584458"/>
                    </a:cubicBezTo>
                    <a:lnTo>
                      <a:pt x="1924828" y="535924"/>
                    </a:lnTo>
                    <a:cubicBezTo>
                      <a:pt x="1912466" y="529453"/>
                      <a:pt x="1913117" y="512628"/>
                      <a:pt x="1924828" y="504862"/>
                    </a:cubicBezTo>
                    <a:lnTo>
                      <a:pt x="2015919" y="451151"/>
                    </a:lnTo>
                    <a:cubicBezTo>
                      <a:pt x="2021124" y="447916"/>
                      <a:pt x="2026980" y="446298"/>
                      <a:pt x="2032754" y="446217"/>
                    </a:cubicBezTo>
                    <a:close/>
                    <a:moveTo>
                      <a:pt x="2991740" y="345333"/>
                    </a:moveTo>
                    <a:cubicBezTo>
                      <a:pt x="2997530" y="345170"/>
                      <a:pt x="3003402" y="346470"/>
                      <a:pt x="3008622" y="349070"/>
                    </a:cubicBezTo>
                    <a:lnTo>
                      <a:pt x="3095398" y="397818"/>
                    </a:lnTo>
                    <a:cubicBezTo>
                      <a:pt x="3107142" y="404318"/>
                      <a:pt x="3107142" y="422518"/>
                      <a:pt x="3094745" y="429667"/>
                    </a:cubicBezTo>
                    <a:lnTo>
                      <a:pt x="3002098" y="483615"/>
                    </a:lnTo>
                    <a:cubicBezTo>
                      <a:pt x="2991659" y="489465"/>
                      <a:pt x="2978610" y="490115"/>
                      <a:pt x="2968171" y="484265"/>
                    </a:cubicBezTo>
                    <a:lnTo>
                      <a:pt x="2883353" y="436167"/>
                    </a:lnTo>
                    <a:cubicBezTo>
                      <a:pt x="2871609" y="429017"/>
                      <a:pt x="2871609" y="411468"/>
                      <a:pt x="2883353" y="404318"/>
                    </a:cubicBezTo>
                    <a:lnTo>
                      <a:pt x="2975348" y="350370"/>
                    </a:lnTo>
                    <a:cubicBezTo>
                      <a:pt x="2980241" y="347120"/>
                      <a:pt x="2985950" y="345495"/>
                      <a:pt x="2991740" y="345333"/>
                    </a:cubicBezTo>
                    <a:close/>
                    <a:moveTo>
                      <a:pt x="1842420" y="339653"/>
                    </a:moveTo>
                    <a:cubicBezTo>
                      <a:pt x="1848144" y="339571"/>
                      <a:pt x="1853869" y="341034"/>
                      <a:pt x="1859103" y="343959"/>
                    </a:cubicBezTo>
                    <a:lnTo>
                      <a:pt x="1946118" y="392057"/>
                    </a:lnTo>
                    <a:cubicBezTo>
                      <a:pt x="1957895" y="398557"/>
                      <a:pt x="1957895" y="416106"/>
                      <a:pt x="1945464" y="423256"/>
                    </a:cubicBezTo>
                    <a:lnTo>
                      <a:pt x="1852560" y="477854"/>
                    </a:lnTo>
                    <a:cubicBezTo>
                      <a:pt x="1842092" y="484354"/>
                      <a:pt x="1829007" y="484354"/>
                      <a:pt x="1818539" y="478504"/>
                    </a:cubicBezTo>
                    <a:lnTo>
                      <a:pt x="1734141" y="429756"/>
                    </a:lnTo>
                    <a:cubicBezTo>
                      <a:pt x="1722364" y="423256"/>
                      <a:pt x="1722364" y="405706"/>
                      <a:pt x="1734141" y="398557"/>
                    </a:cubicBezTo>
                    <a:lnTo>
                      <a:pt x="1825736" y="344609"/>
                    </a:lnTo>
                    <a:cubicBezTo>
                      <a:pt x="1830970" y="341359"/>
                      <a:pt x="1836695" y="339734"/>
                      <a:pt x="1842420" y="339653"/>
                    </a:cubicBezTo>
                    <a:close/>
                    <a:moveTo>
                      <a:pt x="2608815" y="339652"/>
                    </a:moveTo>
                    <a:cubicBezTo>
                      <a:pt x="2614590" y="339571"/>
                      <a:pt x="2620283" y="341033"/>
                      <a:pt x="2625163" y="343958"/>
                    </a:cubicBezTo>
                    <a:lnTo>
                      <a:pt x="2711699" y="392056"/>
                    </a:lnTo>
                    <a:cubicBezTo>
                      <a:pt x="2724061" y="398556"/>
                      <a:pt x="2723411" y="416106"/>
                      <a:pt x="2711699" y="423255"/>
                    </a:cubicBezTo>
                    <a:lnTo>
                      <a:pt x="2618656" y="477853"/>
                    </a:lnTo>
                    <a:cubicBezTo>
                      <a:pt x="2608897" y="484353"/>
                      <a:pt x="2595884" y="484353"/>
                      <a:pt x="2585473" y="478503"/>
                    </a:cubicBezTo>
                    <a:lnTo>
                      <a:pt x="2500889" y="429755"/>
                    </a:lnTo>
                    <a:cubicBezTo>
                      <a:pt x="2488527" y="423255"/>
                      <a:pt x="2489178" y="405706"/>
                      <a:pt x="2500889" y="398556"/>
                    </a:cubicBezTo>
                    <a:lnTo>
                      <a:pt x="2591980" y="344608"/>
                    </a:lnTo>
                    <a:cubicBezTo>
                      <a:pt x="2597185" y="341358"/>
                      <a:pt x="2603041" y="339733"/>
                      <a:pt x="2608815" y="339652"/>
                    </a:cubicBezTo>
                    <a:close/>
                    <a:moveTo>
                      <a:pt x="2225492" y="333811"/>
                    </a:moveTo>
                    <a:cubicBezTo>
                      <a:pt x="2231185" y="333811"/>
                      <a:pt x="2236878" y="335273"/>
                      <a:pt x="2242083" y="338198"/>
                    </a:cubicBezTo>
                    <a:lnTo>
                      <a:pt x="2328619" y="386296"/>
                    </a:lnTo>
                    <a:cubicBezTo>
                      <a:pt x="2340981" y="393446"/>
                      <a:pt x="2340331" y="410996"/>
                      <a:pt x="2327968" y="418145"/>
                    </a:cubicBezTo>
                    <a:lnTo>
                      <a:pt x="2235576" y="472743"/>
                    </a:lnTo>
                    <a:cubicBezTo>
                      <a:pt x="2225166" y="478593"/>
                      <a:pt x="2212153" y="478593"/>
                      <a:pt x="2201743" y="472743"/>
                    </a:cubicBezTo>
                    <a:lnTo>
                      <a:pt x="2117809" y="424645"/>
                    </a:lnTo>
                    <a:cubicBezTo>
                      <a:pt x="2105447" y="417495"/>
                      <a:pt x="2106098" y="400596"/>
                      <a:pt x="2117809" y="393446"/>
                    </a:cubicBezTo>
                    <a:lnTo>
                      <a:pt x="2208900" y="338198"/>
                    </a:lnTo>
                    <a:cubicBezTo>
                      <a:pt x="2214105" y="335273"/>
                      <a:pt x="2219798" y="333811"/>
                      <a:pt x="2225492" y="333811"/>
                    </a:cubicBezTo>
                    <a:close/>
                    <a:moveTo>
                      <a:pt x="2801554" y="227322"/>
                    </a:moveTo>
                    <a:cubicBezTo>
                      <a:pt x="2807247" y="227241"/>
                      <a:pt x="2812940" y="228703"/>
                      <a:pt x="2818145" y="231628"/>
                    </a:cubicBezTo>
                    <a:lnTo>
                      <a:pt x="2904681" y="279727"/>
                    </a:lnTo>
                    <a:cubicBezTo>
                      <a:pt x="2917043" y="286227"/>
                      <a:pt x="2916393" y="304426"/>
                      <a:pt x="2904030" y="311576"/>
                    </a:cubicBezTo>
                    <a:lnTo>
                      <a:pt x="2811638" y="366174"/>
                    </a:lnTo>
                    <a:cubicBezTo>
                      <a:pt x="2801228" y="372024"/>
                      <a:pt x="2788215" y="372024"/>
                      <a:pt x="2777805" y="366174"/>
                    </a:cubicBezTo>
                    <a:lnTo>
                      <a:pt x="2693871" y="318076"/>
                    </a:lnTo>
                    <a:cubicBezTo>
                      <a:pt x="2681509" y="310926"/>
                      <a:pt x="2681509" y="294026"/>
                      <a:pt x="2693871" y="286227"/>
                    </a:cubicBezTo>
                    <a:lnTo>
                      <a:pt x="2784962" y="232278"/>
                    </a:lnTo>
                    <a:cubicBezTo>
                      <a:pt x="2790167" y="229028"/>
                      <a:pt x="2795860" y="227403"/>
                      <a:pt x="2801554" y="227322"/>
                    </a:cubicBezTo>
                    <a:close/>
                    <a:moveTo>
                      <a:pt x="2032752" y="227322"/>
                    </a:moveTo>
                    <a:cubicBezTo>
                      <a:pt x="2038527" y="227240"/>
                      <a:pt x="2044220" y="228703"/>
                      <a:pt x="2049100" y="231628"/>
                    </a:cubicBezTo>
                    <a:lnTo>
                      <a:pt x="2135636" y="279726"/>
                    </a:lnTo>
                    <a:cubicBezTo>
                      <a:pt x="2147998" y="286226"/>
                      <a:pt x="2147348" y="304426"/>
                      <a:pt x="2135636" y="311575"/>
                    </a:cubicBezTo>
                    <a:lnTo>
                      <a:pt x="2042593" y="366174"/>
                    </a:lnTo>
                    <a:cubicBezTo>
                      <a:pt x="2032834" y="372024"/>
                      <a:pt x="2019821" y="372024"/>
                      <a:pt x="2009410" y="366174"/>
                    </a:cubicBezTo>
                    <a:lnTo>
                      <a:pt x="1924826" y="318075"/>
                    </a:lnTo>
                    <a:cubicBezTo>
                      <a:pt x="1912464" y="310925"/>
                      <a:pt x="1913115" y="294026"/>
                      <a:pt x="1924826" y="286226"/>
                    </a:cubicBezTo>
                    <a:lnTo>
                      <a:pt x="2015917" y="232278"/>
                    </a:lnTo>
                    <a:cubicBezTo>
                      <a:pt x="2021122" y="229028"/>
                      <a:pt x="2026978" y="227403"/>
                      <a:pt x="2032752" y="227322"/>
                    </a:cubicBezTo>
                    <a:close/>
                    <a:moveTo>
                      <a:pt x="2418803" y="221560"/>
                    </a:moveTo>
                    <a:cubicBezTo>
                      <a:pt x="2424512" y="221479"/>
                      <a:pt x="2430221" y="222941"/>
                      <a:pt x="2435440" y="225866"/>
                    </a:cubicBezTo>
                    <a:lnTo>
                      <a:pt x="2522216" y="273965"/>
                    </a:lnTo>
                    <a:cubicBezTo>
                      <a:pt x="2533960" y="281115"/>
                      <a:pt x="2533960" y="298664"/>
                      <a:pt x="2521563" y="305814"/>
                    </a:cubicBezTo>
                    <a:lnTo>
                      <a:pt x="2428916" y="360412"/>
                    </a:lnTo>
                    <a:cubicBezTo>
                      <a:pt x="2418477" y="366262"/>
                      <a:pt x="2405428" y="366262"/>
                      <a:pt x="2394989" y="361062"/>
                    </a:cubicBezTo>
                    <a:lnTo>
                      <a:pt x="2310171" y="312314"/>
                    </a:lnTo>
                    <a:cubicBezTo>
                      <a:pt x="2298427" y="305164"/>
                      <a:pt x="2298427" y="288264"/>
                      <a:pt x="2310171" y="281115"/>
                    </a:cubicBezTo>
                    <a:lnTo>
                      <a:pt x="2402166" y="226516"/>
                    </a:lnTo>
                    <a:cubicBezTo>
                      <a:pt x="2407385" y="223266"/>
                      <a:pt x="2413094" y="221641"/>
                      <a:pt x="2418803" y="221560"/>
                    </a:cubicBezTo>
                    <a:close/>
                    <a:moveTo>
                      <a:pt x="2225490" y="112110"/>
                    </a:moveTo>
                    <a:cubicBezTo>
                      <a:pt x="2231183" y="112028"/>
                      <a:pt x="2236876" y="113491"/>
                      <a:pt x="2242081" y="116416"/>
                    </a:cubicBezTo>
                    <a:lnTo>
                      <a:pt x="2328617" y="164514"/>
                    </a:lnTo>
                    <a:cubicBezTo>
                      <a:pt x="2340979" y="171664"/>
                      <a:pt x="2340329" y="189214"/>
                      <a:pt x="2327966" y="196363"/>
                    </a:cubicBezTo>
                    <a:lnTo>
                      <a:pt x="2235574" y="250962"/>
                    </a:lnTo>
                    <a:cubicBezTo>
                      <a:pt x="2225164" y="256812"/>
                      <a:pt x="2212151" y="256812"/>
                      <a:pt x="2201741" y="251612"/>
                    </a:cubicBezTo>
                    <a:lnTo>
                      <a:pt x="2117807" y="202863"/>
                    </a:lnTo>
                    <a:cubicBezTo>
                      <a:pt x="2105445" y="196363"/>
                      <a:pt x="2106096" y="178164"/>
                      <a:pt x="2117807" y="171664"/>
                    </a:cubicBezTo>
                    <a:lnTo>
                      <a:pt x="2208898" y="117066"/>
                    </a:lnTo>
                    <a:cubicBezTo>
                      <a:pt x="2214103" y="113816"/>
                      <a:pt x="2219796" y="112191"/>
                      <a:pt x="2225490" y="112110"/>
                    </a:cubicBezTo>
                    <a:close/>
                    <a:moveTo>
                      <a:pt x="2608815" y="109464"/>
                    </a:moveTo>
                    <a:cubicBezTo>
                      <a:pt x="2614590" y="109302"/>
                      <a:pt x="2620283" y="110596"/>
                      <a:pt x="2625163" y="113508"/>
                    </a:cubicBezTo>
                    <a:lnTo>
                      <a:pt x="2711699" y="162042"/>
                    </a:lnTo>
                    <a:cubicBezTo>
                      <a:pt x="2724061" y="168513"/>
                      <a:pt x="2723411" y="185985"/>
                      <a:pt x="2711699" y="193103"/>
                    </a:cubicBezTo>
                    <a:lnTo>
                      <a:pt x="2618656" y="247461"/>
                    </a:lnTo>
                    <a:cubicBezTo>
                      <a:pt x="2608897" y="253932"/>
                      <a:pt x="2595884" y="253932"/>
                      <a:pt x="2585473" y="248108"/>
                    </a:cubicBezTo>
                    <a:lnTo>
                      <a:pt x="2500889" y="199575"/>
                    </a:lnTo>
                    <a:cubicBezTo>
                      <a:pt x="2488527" y="193103"/>
                      <a:pt x="2489178" y="175631"/>
                      <a:pt x="2500889" y="168513"/>
                    </a:cubicBezTo>
                    <a:lnTo>
                      <a:pt x="2591980" y="114155"/>
                    </a:lnTo>
                    <a:cubicBezTo>
                      <a:pt x="2597185" y="111243"/>
                      <a:pt x="2603041" y="109626"/>
                      <a:pt x="2608815" y="109464"/>
                    </a:cubicBezTo>
                    <a:close/>
                    <a:moveTo>
                      <a:pt x="2418801" y="13"/>
                    </a:moveTo>
                    <a:cubicBezTo>
                      <a:pt x="2424510" y="-148"/>
                      <a:pt x="2430219" y="1146"/>
                      <a:pt x="2435438" y="4058"/>
                    </a:cubicBezTo>
                    <a:lnTo>
                      <a:pt x="2522214" y="52591"/>
                    </a:lnTo>
                    <a:cubicBezTo>
                      <a:pt x="2533958" y="59063"/>
                      <a:pt x="2533958" y="76535"/>
                      <a:pt x="2521561" y="83653"/>
                    </a:cubicBezTo>
                    <a:lnTo>
                      <a:pt x="2428914" y="138010"/>
                    </a:lnTo>
                    <a:cubicBezTo>
                      <a:pt x="2418475" y="144482"/>
                      <a:pt x="2405426" y="144482"/>
                      <a:pt x="2394987" y="138658"/>
                    </a:cubicBezTo>
                    <a:lnTo>
                      <a:pt x="2310169" y="90124"/>
                    </a:lnTo>
                    <a:cubicBezTo>
                      <a:pt x="2298425" y="83653"/>
                      <a:pt x="2298425" y="66181"/>
                      <a:pt x="2310169" y="59063"/>
                    </a:cubicBezTo>
                    <a:lnTo>
                      <a:pt x="2402164" y="4705"/>
                    </a:lnTo>
                    <a:cubicBezTo>
                      <a:pt x="2407383" y="1793"/>
                      <a:pt x="2413092" y="175"/>
                      <a:pt x="2418801" y="13"/>
                    </a:cubicBezTo>
                    <a:close/>
                  </a:path>
                </a:pathLst>
              </a:custGeom>
              <a:solidFill>
                <a:schemeClr val="accent6">
                  <a:lumMod val="2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5" name="Freeform 123">
                <a:extLst>
                  <a:ext uri="{FF2B5EF4-FFF2-40B4-BE49-F238E27FC236}">
                    <a16:creationId xmlns:a16="http://schemas.microsoft.com/office/drawing/2014/main" id="{75194C11-554B-5640-8489-59DAB6061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4296" y="6690945"/>
                <a:ext cx="1480475" cy="959140"/>
              </a:xfrm>
              <a:custGeom>
                <a:avLst/>
                <a:gdLst>
                  <a:gd name="T0" fmla="*/ 0 w 2266"/>
                  <a:gd name="T1" fmla="*/ 456 h 1469"/>
                  <a:gd name="T2" fmla="*/ 0 w 2266"/>
                  <a:gd name="T3" fmla="*/ 456 h 1469"/>
                  <a:gd name="T4" fmla="*/ 0 w 2266"/>
                  <a:gd name="T5" fmla="*/ 456 h 1469"/>
                  <a:gd name="T6" fmla="*/ 0 w 2266"/>
                  <a:gd name="T7" fmla="*/ 456 h 1469"/>
                  <a:gd name="T8" fmla="*/ 4 w 2266"/>
                  <a:gd name="T9" fmla="*/ 429 h 1469"/>
                  <a:gd name="T10" fmla="*/ 4 w 2266"/>
                  <a:gd name="T11" fmla="*/ 429 h 1469"/>
                  <a:gd name="T12" fmla="*/ 63 w 2266"/>
                  <a:gd name="T13" fmla="*/ 346 h 1469"/>
                  <a:gd name="T14" fmla="*/ 588 w 2266"/>
                  <a:gd name="T15" fmla="*/ 44 h 1469"/>
                  <a:gd name="T16" fmla="*/ 588 w 2266"/>
                  <a:gd name="T17" fmla="*/ 44 h 1469"/>
                  <a:gd name="T18" fmla="*/ 871 w 2266"/>
                  <a:gd name="T19" fmla="*/ 44 h 1469"/>
                  <a:gd name="T20" fmla="*/ 2201 w 2266"/>
                  <a:gd name="T21" fmla="*/ 812 h 1469"/>
                  <a:gd name="T22" fmla="*/ 2201 w 2266"/>
                  <a:gd name="T23" fmla="*/ 812 h 1469"/>
                  <a:gd name="T24" fmla="*/ 2259 w 2266"/>
                  <a:gd name="T25" fmla="*/ 896 h 1469"/>
                  <a:gd name="T26" fmla="*/ 2259 w 2266"/>
                  <a:gd name="T27" fmla="*/ 896 h 1469"/>
                  <a:gd name="T28" fmla="*/ 2264 w 2266"/>
                  <a:gd name="T29" fmla="*/ 918 h 1469"/>
                  <a:gd name="T30" fmla="*/ 2264 w 2266"/>
                  <a:gd name="T31" fmla="*/ 918 h 1469"/>
                  <a:gd name="T32" fmla="*/ 2264 w 2266"/>
                  <a:gd name="T33" fmla="*/ 918 h 1469"/>
                  <a:gd name="T34" fmla="*/ 2264 w 2266"/>
                  <a:gd name="T35" fmla="*/ 921 h 1469"/>
                  <a:gd name="T36" fmla="*/ 2264 w 2266"/>
                  <a:gd name="T37" fmla="*/ 921 h 1469"/>
                  <a:gd name="T38" fmla="*/ 2264 w 2266"/>
                  <a:gd name="T39" fmla="*/ 923 h 1469"/>
                  <a:gd name="T40" fmla="*/ 2264 w 2266"/>
                  <a:gd name="T41" fmla="*/ 923 h 1469"/>
                  <a:gd name="T42" fmla="*/ 2264 w 2266"/>
                  <a:gd name="T43" fmla="*/ 1035 h 1469"/>
                  <a:gd name="T44" fmla="*/ 2264 w 2266"/>
                  <a:gd name="T45" fmla="*/ 1035 h 1469"/>
                  <a:gd name="T46" fmla="*/ 2206 w 2266"/>
                  <a:gd name="T47" fmla="*/ 1119 h 1469"/>
                  <a:gd name="T48" fmla="*/ 1679 w 2266"/>
                  <a:gd name="T49" fmla="*/ 1422 h 1469"/>
                  <a:gd name="T50" fmla="*/ 1679 w 2266"/>
                  <a:gd name="T51" fmla="*/ 1422 h 1469"/>
                  <a:gd name="T52" fmla="*/ 1396 w 2266"/>
                  <a:gd name="T53" fmla="*/ 1422 h 1469"/>
                  <a:gd name="T54" fmla="*/ 151 w 2266"/>
                  <a:gd name="T55" fmla="*/ 704 h 1469"/>
                  <a:gd name="T56" fmla="*/ 151 w 2266"/>
                  <a:gd name="T57" fmla="*/ 704 h 1469"/>
                  <a:gd name="T58" fmla="*/ 130 w 2266"/>
                  <a:gd name="T59" fmla="*/ 692 h 1469"/>
                  <a:gd name="T60" fmla="*/ 58 w 2266"/>
                  <a:gd name="T61" fmla="*/ 650 h 1469"/>
                  <a:gd name="T62" fmla="*/ 58 w 2266"/>
                  <a:gd name="T63" fmla="*/ 650 h 1469"/>
                  <a:gd name="T64" fmla="*/ 0 w 2266"/>
                  <a:gd name="T65" fmla="*/ 570 h 1469"/>
                  <a:gd name="T66" fmla="*/ 0 w 2266"/>
                  <a:gd name="T67" fmla="*/ 570 h 1469"/>
                  <a:gd name="T68" fmla="*/ 0 w 2266"/>
                  <a:gd name="T69" fmla="*/ 456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66" h="1469">
                    <a:moveTo>
                      <a:pt x="0" y="456"/>
                    </a:moveTo>
                    <a:lnTo>
                      <a:pt x="0" y="456"/>
                    </a:lnTo>
                    <a:lnTo>
                      <a:pt x="0" y="456"/>
                    </a:lnTo>
                    <a:lnTo>
                      <a:pt x="0" y="456"/>
                    </a:lnTo>
                    <a:cubicBezTo>
                      <a:pt x="0" y="446"/>
                      <a:pt x="1" y="437"/>
                      <a:pt x="4" y="429"/>
                    </a:cubicBezTo>
                    <a:lnTo>
                      <a:pt x="4" y="429"/>
                    </a:lnTo>
                    <a:cubicBezTo>
                      <a:pt x="4" y="399"/>
                      <a:pt x="24" y="368"/>
                      <a:pt x="63" y="346"/>
                    </a:cubicBezTo>
                    <a:lnTo>
                      <a:pt x="588" y="44"/>
                    </a:lnTo>
                    <a:lnTo>
                      <a:pt x="588" y="44"/>
                    </a:lnTo>
                    <a:cubicBezTo>
                      <a:pt x="666" y="0"/>
                      <a:pt x="793" y="0"/>
                      <a:pt x="871" y="44"/>
                    </a:cubicBezTo>
                    <a:lnTo>
                      <a:pt x="2201" y="812"/>
                    </a:lnTo>
                    <a:lnTo>
                      <a:pt x="2201" y="812"/>
                    </a:lnTo>
                    <a:cubicBezTo>
                      <a:pt x="2241" y="835"/>
                      <a:pt x="2261" y="866"/>
                      <a:pt x="2259" y="896"/>
                    </a:cubicBezTo>
                    <a:lnTo>
                      <a:pt x="2259" y="896"/>
                    </a:lnTo>
                    <a:cubicBezTo>
                      <a:pt x="2262" y="904"/>
                      <a:pt x="2264" y="911"/>
                      <a:pt x="2264" y="918"/>
                    </a:cubicBezTo>
                    <a:lnTo>
                      <a:pt x="2264" y="918"/>
                    </a:lnTo>
                    <a:lnTo>
                      <a:pt x="2264" y="918"/>
                    </a:lnTo>
                    <a:lnTo>
                      <a:pt x="2264" y="921"/>
                    </a:lnTo>
                    <a:lnTo>
                      <a:pt x="2264" y="921"/>
                    </a:lnTo>
                    <a:cubicBezTo>
                      <a:pt x="2264" y="921"/>
                      <a:pt x="2264" y="922"/>
                      <a:pt x="2264" y="923"/>
                    </a:cubicBezTo>
                    <a:lnTo>
                      <a:pt x="2264" y="923"/>
                    </a:lnTo>
                    <a:cubicBezTo>
                      <a:pt x="2264" y="945"/>
                      <a:pt x="2264" y="1025"/>
                      <a:pt x="2264" y="1035"/>
                    </a:cubicBezTo>
                    <a:lnTo>
                      <a:pt x="2264" y="1035"/>
                    </a:lnTo>
                    <a:cubicBezTo>
                      <a:pt x="2265" y="1065"/>
                      <a:pt x="2246" y="1096"/>
                      <a:pt x="2206" y="1119"/>
                    </a:cubicBezTo>
                    <a:lnTo>
                      <a:pt x="1679" y="1422"/>
                    </a:lnTo>
                    <a:lnTo>
                      <a:pt x="1679" y="1422"/>
                    </a:lnTo>
                    <a:cubicBezTo>
                      <a:pt x="1601" y="1468"/>
                      <a:pt x="1474" y="1468"/>
                      <a:pt x="1396" y="1422"/>
                    </a:cubicBezTo>
                    <a:lnTo>
                      <a:pt x="151" y="704"/>
                    </a:lnTo>
                    <a:lnTo>
                      <a:pt x="151" y="704"/>
                    </a:lnTo>
                    <a:lnTo>
                      <a:pt x="130" y="692"/>
                    </a:lnTo>
                    <a:lnTo>
                      <a:pt x="58" y="650"/>
                    </a:lnTo>
                    <a:lnTo>
                      <a:pt x="58" y="650"/>
                    </a:lnTo>
                    <a:cubicBezTo>
                      <a:pt x="20" y="628"/>
                      <a:pt x="0" y="599"/>
                      <a:pt x="0" y="570"/>
                    </a:cubicBezTo>
                    <a:lnTo>
                      <a:pt x="0" y="570"/>
                    </a:lnTo>
                    <a:cubicBezTo>
                      <a:pt x="0" y="550"/>
                      <a:pt x="0" y="482"/>
                      <a:pt x="0" y="456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6" name="Freeform 124">
                <a:extLst>
                  <a:ext uri="{FF2B5EF4-FFF2-40B4-BE49-F238E27FC236}">
                    <a16:creationId xmlns:a16="http://schemas.microsoft.com/office/drawing/2014/main" id="{DE8066D7-1925-914D-A583-8CE86837E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97987" y="6719748"/>
                <a:ext cx="1480475" cy="869851"/>
              </a:xfrm>
              <a:custGeom>
                <a:avLst/>
                <a:gdLst>
                  <a:gd name="T0" fmla="*/ 2206 w 2266"/>
                  <a:gd name="T1" fmla="*/ 816 h 1330"/>
                  <a:gd name="T2" fmla="*/ 2206 w 2266"/>
                  <a:gd name="T3" fmla="*/ 816 h 1330"/>
                  <a:gd name="T4" fmla="*/ 2265 w 2266"/>
                  <a:gd name="T5" fmla="*/ 779 h 1330"/>
                  <a:gd name="T6" fmla="*/ 2265 w 2266"/>
                  <a:gd name="T7" fmla="*/ 779 h 1330"/>
                  <a:gd name="T8" fmla="*/ 2265 w 2266"/>
                  <a:gd name="T9" fmla="*/ 897 h 1330"/>
                  <a:gd name="T10" fmla="*/ 2265 w 2266"/>
                  <a:gd name="T11" fmla="*/ 897 h 1330"/>
                  <a:gd name="T12" fmla="*/ 2206 w 2266"/>
                  <a:gd name="T13" fmla="*/ 980 h 1330"/>
                  <a:gd name="T14" fmla="*/ 1680 w 2266"/>
                  <a:gd name="T15" fmla="*/ 1284 h 1330"/>
                  <a:gd name="T16" fmla="*/ 1680 w 2266"/>
                  <a:gd name="T17" fmla="*/ 1284 h 1330"/>
                  <a:gd name="T18" fmla="*/ 1396 w 2266"/>
                  <a:gd name="T19" fmla="*/ 1284 h 1330"/>
                  <a:gd name="T20" fmla="*/ 59 w 2266"/>
                  <a:gd name="T21" fmla="*/ 512 h 1330"/>
                  <a:gd name="T22" fmla="*/ 59 w 2266"/>
                  <a:gd name="T23" fmla="*/ 512 h 1330"/>
                  <a:gd name="T24" fmla="*/ 0 w 2266"/>
                  <a:gd name="T25" fmla="*/ 431 h 1330"/>
                  <a:gd name="T26" fmla="*/ 0 w 2266"/>
                  <a:gd name="T27" fmla="*/ 431 h 1330"/>
                  <a:gd name="T28" fmla="*/ 0 w 2266"/>
                  <a:gd name="T29" fmla="*/ 317 h 1330"/>
                  <a:gd name="T30" fmla="*/ 0 w 2266"/>
                  <a:gd name="T31" fmla="*/ 317 h 1330"/>
                  <a:gd name="T32" fmla="*/ 59 w 2266"/>
                  <a:gd name="T33" fmla="*/ 348 h 1330"/>
                  <a:gd name="T34" fmla="*/ 586 w 2266"/>
                  <a:gd name="T35" fmla="*/ 46 h 1330"/>
                  <a:gd name="T36" fmla="*/ 586 w 2266"/>
                  <a:gd name="T37" fmla="*/ 46 h 1330"/>
                  <a:gd name="T38" fmla="*/ 870 w 2266"/>
                  <a:gd name="T39" fmla="*/ 46 h 1330"/>
                  <a:gd name="T40" fmla="*/ 2206 w 2266"/>
                  <a:gd name="T41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66" h="1330">
                    <a:moveTo>
                      <a:pt x="2206" y="816"/>
                    </a:moveTo>
                    <a:lnTo>
                      <a:pt x="2206" y="816"/>
                    </a:lnTo>
                    <a:cubicBezTo>
                      <a:pt x="2228" y="829"/>
                      <a:pt x="2265" y="779"/>
                      <a:pt x="2265" y="779"/>
                    </a:cubicBezTo>
                    <a:lnTo>
                      <a:pt x="2265" y="779"/>
                    </a:lnTo>
                    <a:cubicBezTo>
                      <a:pt x="2265" y="779"/>
                      <a:pt x="2265" y="884"/>
                      <a:pt x="2265" y="897"/>
                    </a:cubicBezTo>
                    <a:lnTo>
                      <a:pt x="2265" y="897"/>
                    </a:lnTo>
                    <a:cubicBezTo>
                      <a:pt x="2265" y="927"/>
                      <a:pt x="2246" y="957"/>
                      <a:pt x="2206" y="980"/>
                    </a:cubicBezTo>
                    <a:lnTo>
                      <a:pt x="1680" y="1284"/>
                    </a:lnTo>
                    <a:lnTo>
                      <a:pt x="1680" y="1284"/>
                    </a:lnTo>
                    <a:cubicBezTo>
                      <a:pt x="1602" y="1329"/>
                      <a:pt x="1474" y="1329"/>
                      <a:pt x="1396" y="1284"/>
                    </a:cubicBezTo>
                    <a:lnTo>
                      <a:pt x="59" y="512"/>
                    </a:lnTo>
                    <a:lnTo>
                      <a:pt x="59" y="512"/>
                    </a:lnTo>
                    <a:cubicBezTo>
                      <a:pt x="20" y="489"/>
                      <a:pt x="0" y="460"/>
                      <a:pt x="0" y="431"/>
                    </a:cubicBezTo>
                    <a:lnTo>
                      <a:pt x="0" y="431"/>
                    </a:lnTo>
                    <a:cubicBezTo>
                      <a:pt x="0" y="411"/>
                      <a:pt x="0" y="343"/>
                      <a:pt x="0" y="317"/>
                    </a:cubicBezTo>
                    <a:lnTo>
                      <a:pt x="0" y="317"/>
                    </a:lnTo>
                    <a:cubicBezTo>
                      <a:pt x="0" y="301"/>
                      <a:pt x="41" y="358"/>
                      <a:pt x="59" y="348"/>
                    </a:cubicBezTo>
                    <a:lnTo>
                      <a:pt x="586" y="46"/>
                    </a:lnTo>
                    <a:lnTo>
                      <a:pt x="586" y="46"/>
                    </a:lnTo>
                    <a:cubicBezTo>
                      <a:pt x="664" y="0"/>
                      <a:pt x="792" y="0"/>
                      <a:pt x="870" y="46"/>
                    </a:cubicBezTo>
                    <a:lnTo>
                      <a:pt x="2206" y="816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7" name="Freeform 125">
                <a:extLst>
                  <a:ext uri="{FF2B5EF4-FFF2-40B4-BE49-F238E27FC236}">
                    <a16:creationId xmlns:a16="http://schemas.microsoft.com/office/drawing/2014/main" id="{37D7AC8E-2FDD-7D44-B824-BC0EF2135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3585" y="6647740"/>
                <a:ext cx="1506397" cy="869851"/>
              </a:xfrm>
              <a:custGeom>
                <a:avLst/>
                <a:gdLst>
                  <a:gd name="T0" fmla="*/ 2226 w 2305"/>
                  <a:gd name="T1" fmla="*/ 816 h 1330"/>
                  <a:gd name="T2" fmla="*/ 2226 w 2305"/>
                  <a:gd name="T3" fmla="*/ 816 h 1330"/>
                  <a:gd name="T4" fmla="*/ 2226 w 2305"/>
                  <a:gd name="T5" fmla="*/ 979 h 1330"/>
                  <a:gd name="T6" fmla="*/ 1700 w 2305"/>
                  <a:gd name="T7" fmla="*/ 1283 h 1330"/>
                  <a:gd name="T8" fmla="*/ 1700 w 2305"/>
                  <a:gd name="T9" fmla="*/ 1283 h 1330"/>
                  <a:gd name="T10" fmla="*/ 1416 w 2305"/>
                  <a:gd name="T11" fmla="*/ 1283 h 1330"/>
                  <a:gd name="T12" fmla="*/ 79 w 2305"/>
                  <a:gd name="T13" fmla="*/ 511 h 1330"/>
                  <a:gd name="T14" fmla="*/ 79 w 2305"/>
                  <a:gd name="T15" fmla="*/ 511 h 1330"/>
                  <a:gd name="T16" fmla="*/ 79 w 2305"/>
                  <a:gd name="T17" fmla="*/ 347 h 1330"/>
                  <a:gd name="T18" fmla="*/ 606 w 2305"/>
                  <a:gd name="T19" fmla="*/ 45 h 1330"/>
                  <a:gd name="T20" fmla="*/ 606 w 2305"/>
                  <a:gd name="T21" fmla="*/ 45 h 1330"/>
                  <a:gd name="T22" fmla="*/ 890 w 2305"/>
                  <a:gd name="T23" fmla="*/ 45 h 1330"/>
                  <a:gd name="T24" fmla="*/ 2226 w 2305"/>
                  <a:gd name="T25" fmla="*/ 816 h 1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05" h="1330">
                    <a:moveTo>
                      <a:pt x="2226" y="816"/>
                    </a:moveTo>
                    <a:lnTo>
                      <a:pt x="2226" y="816"/>
                    </a:lnTo>
                    <a:cubicBezTo>
                      <a:pt x="2304" y="861"/>
                      <a:pt x="2304" y="935"/>
                      <a:pt x="2226" y="979"/>
                    </a:cubicBezTo>
                    <a:lnTo>
                      <a:pt x="1700" y="1283"/>
                    </a:lnTo>
                    <a:lnTo>
                      <a:pt x="1700" y="1283"/>
                    </a:lnTo>
                    <a:cubicBezTo>
                      <a:pt x="1622" y="1329"/>
                      <a:pt x="1494" y="1329"/>
                      <a:pt x="1416" y="1283"/>
                    </a:cubicBezTo>
                    <a:lnTo>
                      <a:pt x="79" y="511"/>
                    </a:lnTo>
                    <a:lnTo>
                      <a:pt x="79" y="511"/>
                    </a:lnTo>
                    <a:cubicBezTo>
                      <a:pt x="0" y="466"/>
                      <a:pt x="0" y="392"/>
                      <a:pt x="79" y="347"/>
                    </a:cubicBezTo>
                    <a:lnTo>
                      <a:pt x="606" y="45"/>
                    </a:lnTo>
                    <a:lnTo>
                      <a:pt x="606" y="45"/>
                    </a:lnTo>
                    <a:cubicBezTo>
                      <a:pt x="684" y="0"/>
                      <a:pt x="812" y="0"/>
                      <a:pt x="890" y="45"/>
                    </a:cubicBezTo>
                    <a:lnTo>
                      <a:pt x="2226" y="816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8" name="Freeform 126">
                <a:extLst>
                  <a:ext uri="{FF2B5EF4-FFF2-40B4-BE49-F238E27FC236}">
                    <a16:creationId xmlns:a16="http://schemas.microsoft.com/office/drawing/2014/main" id="{6F43A7E6-1880-404F-84BD-8619C3136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86465" y="6630457"/>
                <a:ext cx="1497757" cy="864091"/>
              </a:xfrm>
              <a:custGeom>
                <a:avLst/>
                <a:gdLst>
                  <a:gd name="T0" fmla="*/ 2217 w 2295"/>
                  <a:gd name="T1" fmla="*/ 813 h 1324"/>
                  <a:gd name="T2" fmla="*/ 2217 w 2295"/>
                  <a:gd name="T3" fmla="*/ 813 h 1324"/>
                  <a:gd name="T4" fmla="*/ 2217 w 2295"/>
                  <a:gd name="T5" fmla="*/ 975 h 1324"/>
                  <a:gd name="T6" fmla="*/ 1692 w 2295"/>
                  <a:gd name="T7" fmla="*/ 1278 h 1324"/>
                  <a:gd name="T8" fmla="*/ 1692 w 2295"/>
                  <a:gd name="T9" fmla="*/ 1278 h 1324"/>
                  <a:gd name="T10" fmla="*/ 1410 w 2295"/>
                  <a:gd name="T11" fmla="*/ 1278 h 1324"/>
                  <a:gd name="T12" fmla="*/ 78 w 2295"/>
                  <a:gd name="T13" fmla="*/ 509 h 1324"/>
                  <a:gd name="T14" fmla="*/ 78 w 2295"/>
                  <a:gd name="T15" fmla="*/ 509 h 1324"/>
                  <a:gd name="T16" fmla="*/ 78 w 2295"/>
                  <a:gd name="T17" fmla="*/ 346 h 1324"/>
                  <a:gd name="T18" fmla="*/ 603 w 2295"/>
                  <a:gd name="T19" fmla="*/ 45 h 1324"/>
                  <a:gd name="T20" fmla="*/ 603 w 2295"/>
                  <a:gd name="T21" fmla="*/ 45 h 1324"/>
                  <a:gd name="T22" fmla="*/ 886 w 2295"/>
                  <a:gd name="T23" fmla="*/ 45 h 1324"/>
                  <a:gd name="T24" fmla="*/ 2217 w 2295"/>
                  <a:gd name="T25" fmla="*/ 813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95" h="1324">
                    <a:moveTo>
                      <a:pt x="2217" y="813"/>
                    </a:moveTo>
                    <a:lnTo>
                      <a:pt x="2217" y="813"/>
                    </a:lnTo>
                    <a:cubicBezTo>
                      <a:pt x="2294" y="857"/>
                      <a:pt x="2294" y="931"/>
                      <a:pt x="2217" y="975"/>
                    </a:cubicBezTo>
                    <a:lnTo>
                      <a:pt x="1692" y="1278"/>
                    </a:lnTo>
                    <a:lnTo>
                      <a:pt x="1692" y="1278"/>
                    </a:lnTo>
                    <a:cubicBezTo>
                      <a:pt x="1615" y="1323"/>
                      <a:pt x="1488" y="1323"/>
                      <a:pt x="1410" y="1278"/>
                    </a:cubicBezTo>
                    <a:lnTo>
                      <a:pt x="78" y="509"/>
                    </a:lnTo>
                    <a:lnTo>
                      <a:pt x="78" y="509"/>
                    </a:lnTo>
                    <a:cubicBezTo>
                      <a:pt x="0" y="464"/>
                      <a:pt x="0" y="391"/>
                      <a:pt x="78" y="346"/>
                    </a:cubicBezTo>
                    <a:lnTo>
                      <a:pt x="603" y="45"/>
                    </a:lnTo>
                    <a:lnTo>
                      <a:pt x="603" y="45"/>
                    </a:lnTo>
                    <a:cubicBezTo>
                      <a:pt x="681" y="0"/>
                      <a:pt x="808" y="0"/>
                      <a:pt x="886" y="45"/>
                    </a:cubicBezTo>
                    <a:lnTo>
                      <a:pt x="2217" y="813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59" name="Freeform 127">
                <a:extLst>
                  <a:ext uri="{FF2B5EF4-FFF2-40B4-BE49-F238E27FC236}">
                    <a16:creationId xmlns:a16="http://schemas.microsoft.com/office/drawing/2014/main" id="{28D9288C-5D06-C646-BD54-23665BEE7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64234" y="6679424"/>
                <a:ext cx="1322058" cy="754639"/>
              </a:xfrm>
              <a:custGeom>
                <a:avLst/>
                <a:gdLst>
                  <a:gd name="T0" fmla="*/ 2001 w 2026"/>
                  <a:gd name="T1" fmla="*/ 826 h 1157"/>
                  <a:gd name="T2" fmla="*/ 1497 w 2026"/>
                  <a:gd name="T3" fmla="*/ 1117 h 1157"/>
                  <a:gd name="T4" fmla="*/ 1497 w 2026"/>
                  <a:gd name="T5" fmla="*/ 1117 h 1157"/>
                  <a:gd name="T6" fmla="*/ 1283 w 2026"/>
                  <a:gd name="T7" fmla="*/ 1117 h 1157"/>
                  <a:gd name="T8" fmla="*/ 23 w 2026"/>
                  <a:gd name="T9" fmla="*/ 388 h 1157"/>
                  <a:gd name="T10" fmla="*/ 23 w 2026"/>
                  <a:gd name="T11" fmla="*/ 388 h 1157"/>
                  <a:gd name="T12" fmla="*/ 23 w 2026"/>
                  <a:gd name="T13" fmla="*/ 328 h 1157"/>
                  <a:gd name="T14" fmla="*/ 528 w 2026"/>
                  <a:gd name="T15" fmla="*/ 38 h 1157"/>
                  <a:gd name="T16" fmla="*/ 528 w 2026"/>
                  <a:gd name="T17" fmla="*/ 38 h 1157"/>
                  <a:gd name="T18" fmla="*/ 742 w 2026"/>
                  <a:gd name="T19" fmla="*/ 38 h 1157"/>
                  <a:gd name="T20" fmla="*/ 2001 w 2026"/>
                  <a:gd name="T21" fmla="*/ 767 h 1157"/>
                  <a:gd name="T22" fmla="*/ 2001 w 2026"/>
                  <a:gd name="T23" fmla="*/ 767 h 1157"/>
                  <a:gd name="T24" fmla="*/ 2001 w 2026"/>
                  <a:gd name="T25" fmla="*/ 826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26" h="1157">
                    <a:moveTo>
                      <a:pt x="2001" y="826"/>
                    </a:moveTo>
                    <a:lnTo>
                      <a:pt x="1497" y="1117"/>
                    </a:lnTo>
                    <a:lnTo>
                      <a:pt x="1497" y="1117"/>
                    </a:lnTo>
                    <a:cubicBezTo>
                      <a:pt x="1430" y="1156"/>
                      <a:pt x="1349" y="1156"/>
                      <a:pt x="1283" y="1117"/>
                    </a:cubicBezTo>
                    <a:lnTo>
                      <a:pt x="23" y="388"/>
                    </a:lnTo>
                    <a:lnTo>
                      <a:pt x="23" y="388"/>
                    </a:lnTo>
                    <a:cubicBezTo>
                      <a:pt x="0" y="375"/>
                      <a:pt x="0" y="342"/>
                      <a:pt x="23" y="328"/>
                    </a:cubicBezTo>
                    <a:lnTo>
                      <a:pt x="528" y="38"/>
                    </a:lnTo>
                    <a:lnTo>
                      <a:pt x="528" y="38"/>
                    </a:lnTo>
                    <a:cubicBezTo>
                      <a:pt x="594" y="0"/>
                      <a:pt x="676" y="0"/>
                      <a:pt x="742" y="38"/>
                    </a:cubicBezTo>
                    <a:lnTo>
                      <a:pt x="2001" y="767"/>
                    </a:lnTo>
                    <a:lnTo>
                      <a:pt x="2001" y="767"/>
                    </a:lnTo>
                    <a:cubicBezTo>
                      <a:pt x="2025" y="780"/>
                      <a:pt x="2025" y="813"/>
                      <a:pt x="2001" y="82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0" name="Freeform 128">
                <a:extLst>
                  <a:ext uri="{FF2B5EF4-FFF2-40B4-BE49-F238E27FC236}">
                    <a16:creationId xmlns:a16="http://schemas.microsoft.com/office/drawing/2014/main" id="{4DB4FD22-9478-B04B-9716-0265422A2A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8635" y="6999136"/>
                <a:ext cx="17282" cy="92170"/>
              </a:xfrm>
              <a:custGeom>
                <a:avLst/>
                <a:gdLst>
                  <a:gd name="T0" fmla="*/ 0 w 28"/>
                  <a:gd name="T1" fmla="*/ 123 h 140"/>
                  <a:gd name="T2" fmla="*/ 27 w 28"/>
                  <a:gd name="T3" fmla="*/ 139 h 140"/>
                  <a:gd name="T4" fmla="*/ 27 w 28"/>
                  <a:gd name="T5" fmla="*/ 16 h 140"/>
                  <a:gd name="T6" fmla="*/ 0 w 28"/>
                  <a:gd name="T7" fmla="*/ 0 h 140"/>
                  <a:gd name="T8" fmla="*/ 0 w 28"/>
                  <a:gd name="T9" fmla="*/ 12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40">
                    <a:moveTo>
                      <a:pt x="0" y="123"/>
                    </a:moveTo>
                    <a:lnTo>
                      <a:pt x="27" y="139"/>
                    </a:lnTo>
                    <a:lnTo>
                      <a:pt x="27" y="16"/>
                    </a:lnTo>
                    <a:lnTo>
                      <a:pt x="0" y="0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1" name="Freeform 460">
                <a:extLst>
                  <a:ext uri="{FF2B5EF4-FFF2-40B4-BE49-F238E27FC236}">
                    <a16:creationId xmlns:a16="http://schemas.microsoft.com/office/drawing/2014/main" id="{E1A53468-CF2D-6D40-94A7-B5DE83E02C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0614" y="4334923"/>
                <a:ext cx="1272442" cy="1168310"/>
              </a:xfrm>
              <a:custGeom>
                <a:avLst/>
                <a:gdLst>
                  <a:gd name="connsiteX0" fmla="*/ 461324 w 1272442"/>
                  <a:gd name="connsiteY0" fmla="*/ 585318 h 1168310"/>
                  <a:gd name="connsiteX1" fmla="*/ 393533 w 1272442"/>
                  <a:gd name="connsiteY1" fmla="*/ 591543 h 1168310"/>
                  <a:gd name="connsiteX2" fmla="*/ 312090 w 1272442"/>
                  <a:gd name="connsiteY2" fmla="*/ 627441 h 1168310"/>
                  <a:gd name="connsiteX3" fmla="*/ 191554 w 1272442"/>
                  <a:gd name="connsiteY3" fmla="*/ 748189 h 1168310"/>
                  <a:gd name="connsiteX4" fmla="*/ 147900 w 1272442"/>
                  <a:gd name="connsiteY4" fmla="*/ 910057 h 1168310"/>
                  <a:gd name="connsiteX5" fmla="*/ 191554 w 1272442"/>
                  <a:gd name="connsiteY5" fmla="*/ 1019057 h 1168310"/>
                  <a:gd name="connsiteX6" fmla="*/ 312090 w 1272442"/>
                  <a:gd name="connsiteY6" fmla="*/ 996213 h 1168310"/>
                  <a:gd name="connsiteX7" fmla="*/ 393533 w 1272442"/>
                  <a:gd name="connsiteY7" fmla="*/ 934860 h 1168310"/>
                  <a:gd name="connsiteX8" fmla="*/ 432137 w 1272442"/>
                  <a:gd name="connsiteY8" fmla="*/ 895127 h 1168310"/>
                  <a:gd name="connsiteX9" fmla="*/ 462527 w 1272442"/>
                  <a:gd name="connsiteY9" fmla="*/ 858983 h 1168310"/>
                  <a:gd name="connsiteX10" fmla="*/ 462527 w 1272442"/>
                  <a:gd name="connsiteY10" fmla="*/ 846493 h 1168310"/>
                  <a:gd name="connsiteX11" fmla="*/ 565464 w 1272442"/>
                  <a:gd name="connsiteY11" fmla="*/ 828234 h 1168310"/>
                  <a:gd name="connsiteX12" fmla="*/ 660582 w 1272442"/>
                  <a:gd name="connsiteY12" fmla="*/ 784544 h 1168310"/>
                  <a:gd name="connsiteX13" fmla="*/ 732247 w 1272442"/>
                  <a:gd name="connsiteY13" fmla="*/ 726507 h 1168310"/>
                  <a:gd name="connsiteX14" fmla="*/ 757655 w 1272442"/>
                  <a:gd name="connsiteY14" fmla="*/ 667167 h 1168310"/>
                  <a:gd name="connsiteX15" fmla="*/ 740716 w 1272442"/>
                  <a:gd name="connsiteY15" fmla="*/ 636518 h 1168310"/>
                  <a:gd name="connsiteX16" fmla="*/ 672961 w 1272442"/>
                  <a:gd name="connsiteY16" fmla="*/ 651516 h 1168310"/>
                  <a:gd name="connsiteX17" fmla="*/ 618235 w 1272442"/>
                  <a:gd name="connsiteY17" fmla="*/ 672383 h 1168310"/>
                  <a:gd name="connsiteX18" fmla="*/ 495754 w 1272442"/>
                  <a:gd name="connsiteY18" fmla="*/ 688686 h 1168310"/>
                  <a:gd name="connsiteX19" fmla="*/ 457967 w 1272442"/>
                  <a:gd name="connsiteY19" fmla="*/ 605869 h 1168310"/>
                  <a:gd name="connsiteX20" fmla="*/ 841958 w 1272442"/>
                  <a:gd name="connsiteY20" fmla="*/ 343988 h 1168310"/>
                  <a:gd name="connsiteX21" fmla="*/ 770034 w 1272442"/>
                  <a:gd name="connsiteY21" fmla="*/ 361985 h 1168310"/>
                  <a:gd name="connsiteX22" fmla="*/ 687945 w 1272442"/>
                  <a:gd name="connsiteY22" fmla="*/ 400459 h 1168310"/>
                  <a:gd name="connsiteX23" fmla="*/ 611720 w 1272442"/>
                  <a:gd name="connsiteY23" fmla="*/ 459800 h 1168310"/>
                  <a:gd name="connsiteX24" fmla="*/ 587615 w 1272442"/>
                  <a:gd name="connsiteY24" fmla="*/ 518488 h 1168310"/>
                  <a:gd name="connsiteX25" fmla="*/ 603902 w 1272442"/>
                  <a:gd name="connsiteY25" fmla="*/ 543268 h 1168310"/>
                  <a:gd name="connsiteX26" fmla="*/ 663840 w 1272442"/>
                  <a:gd name="connsiteY26" fmla="*/ 528922 h 1168310"/>
                  <a:gd name="connsiteX27" fmla="*/ 724429 w 1272442"/>
                  <a:gd name="connsiteY27" fmla="*/ 504794 h 1168310"/>
                  <a:gd name="connsiteX28" fmla="*/ 856032 w 1272442"/>
                  <a:gd name="connsiteY28" fmla="*/ 482623 h 1168310"/>
                  <a:gd name="connsiteX29" fmla="*/ 895122 w 1272442"/>
                  <a:gd name="connsiteY29" fmla="*/ 567396 h 1168310"/>
                  <a:gd name="connsiteX30" fmla="*/ 887676 w 1272442"/>
                  <a:gd name="connsiteY30" fmla="*/ 615634 h 1168310"/>
                  <a:gd name="connsiteX31" fmla="*/ 942785 w 1272442"/>
                  <a:gd name="connsiteY31" fmla="*/ 605797 h 1168310"/>
                  <a:gd name="connsiteX32" fmla="*/ 1038555 w 1272442"/>
                  <a:gd name="connsiteY32" fmla="*/ 562758 h 1168310"/>
                  <a:gd name="connsiteX33" fmla="*/ 1110220 w 1272442"/>
                  <a:gd name="connsiteY33" fmla="*/ 504070 h 1168310"/>
                  <a:gd name="connsiteX34" fmla="*/ 1134977 w 1272442"/>
                  <a:gd name="connsiteY34" fmla="*/ 444729 h 1168310"/>
                  <a:gd name="connsiteX35" fmla="*/ 1118038 w 1272442"/>
                  <a:gd name="connsiteY35" fmla="*/ 414733 h 1168310"/>
                  <a:gd name="connsiteX36" fmla="*/ 1050934 w 1272442"/>
                  <a:gd name="connsiteY36" fmla="*/ 429731 h 1168310"/>
                  <a:gd name="connsiteX37" fmla="*/ 995557 w 1272442"/>
                  <a:gd name="connsiteY37" fmla="*/ 450598 h 1168310"/>
                  <a:gd name="connsiteX38" fmla="*/ 873727 w 1272442"/>
                  <a:gd name="connsiteY38" fmla="*/ 466248 h 1168310"/>
                  <a:gd name="connsiteX39" fmla="*/ 835288 w 1272442"/>
                  <a:gd name="connsiteY39" fmla="*/ 384084 h 1168310"/>
                  <a:gd name="connsiteX40" fmla="*/ 1236610 w 1272442"/>
                  <a:gd name="connsiteY40" fmla="*/ 0 h 1168310"/>
                  <a:gd name="connsiteX41" fmla="*/ 1236610 w 1272442"/>
                  <a:gd name="connsiteY41" fmla="*/ 117377 h 1168310"/>
                  <a:gd name="connsiteX42" fmla="*/ 1147355 w 1272442"/>
                  <a:gd name="connsiteY42" fmla="*/ 140201 h 1168310"/>
                  <a:gd name="connsiteX43" fmla="*/ 1065267 w 1272442"/>
                  <a:gd name="connsiteY43" fmla="*/ 178674 h 1168310"/>
                  <a:gd name="connsiteX44" fmla="*/ 989693 w 1272442"/>
                  <a:gd name="connsiteY44" fmla="*/ 237363 h 1168310"/>
                  <a:gd name="connsiteX45" fmla="*/ 964936 w 1272442"/>
                  <a:gd name="connsiteY45" fmla="*/ 296051 h 1168310"/>
                  <a:gd name="connsiteX46" fmla="*/ 981875 w 1272442"/>
                  <a:gd name="connsiteY46" fmla="*/ 321483 h 1168310"/>
                  <a:gd name="connsiteX47" fmla="*/ 1041813 w 1272442"/>
                  <a:gd name="connsiteY47" fmla="*/ 306485 h 1168310"/>
                  <a:gd name="connsiteX48" fmla="*/ 1102402 w 1272442"/>
                  <a:gd name="connsiteY48" fmla="*/ 283010 h 1168310"/>
                  <a:gd name="connsiteX49" fmla="*/ 1233353 w 1272442"/>
                  <a:gd name="connsiteY49" fmla="*/ 260838 h 1168310"/>
                  <a:gd name="connsiteX50" fmla="*/ 1272442 w 1272442"/>
                  <a:gd name="connsiteY50" fmla="*/ 345611 h 1168310"/>
                  <a:gd name="connsiteX51" fmla="*/ 1218368 w 1272442"/>
                  <a:gd name="connsiteY51" fmla="*/ 514503 h 1168310"/>
                  <a:gd name="connsiteX52" fmla="*/ 1052237 w 1272442"/>
                  <a:gd name="connsiteY52" fmla="*/ 657964 h 1168310"/>
                  <a:gd name="connsiteX53" fmla="*/ 946043 w 1272442"/>
                  <a:gd name="connsiteY53" fmla="*/ 711436 h 1168310"/>
                  <a:gd name="connsiteX54" fmla="*/ 840500 w 1272442"/>
                  <a:gd name="connsiteY54" fmla="*/ 745345 h 1168310"/>
                  <a:gd name="connsiteX55" fmla="*/ 840500 w 1272442"/>
                  <a:gd name="connsiteY55" fmla="*/ 736878 h 1168310"/>
                  <a:gd name="connsiteX56" fmla="*/ 771907 w 1272442"/>
                  <a:gd name="connsiteY56" fmla="*/ 810791 h 1168310"/>
                  <a:gd name="connsiteX57" fmla="*/ 674915 w 1272442"/>
                  <a:gd name="connsiteY57" fmla="*/ 880402 h 1168310"/>
                  <a:gd name="connsiteX58" fmla="*/ 568721 w 1272442"/>
                  <a:gd name="connsiteY58" fmla="*/ 933222 h 1168310"/>
                  <a:gd name="connsiteX59" fmla="*/ 469789 w 1272442"/>
                  <a:gd name="connsiteY59" fmla="*/ 964813 h 1168310"/>
                  <a:gd name="connsiteX60" fmla="*/ 389624 w 1272442"/>
                  <a:gd name="connsiteY60" fmla="*/ 1043207 h 1168310"/>
                  <a:gd name="connsiteX61" fmla="*/ 300362 w 1272442"/>
                  <a:gd name="connsiteY61" fmla="*/ 1107171 h 1168310"/>
                  <a:gd name="connsiteX62" fmla="*/ 81443 w 1272442"/>
                  <a:gd name="connsiteY62" fmla="*/ 1160692 h 1168310"/>
                  <a:gd name="connsiteX63" fmla="*/ 0 w 1272442"/>
                  <a:gd name="connsiteY63" fmla="*/ 998171 h 1168310"/>
                  <a:gd name="connsiteX64" fmla="*/ 81443 w 1272442"/>
                  <a:gd name="connsiteY64" fmla="*/ 739704 h 1168310"/>
                  <a:gd name="connsiteX65" fmla="*/ 300362 w 1272442"/>
                  <a:gd name="connsiteY65" fmla="*/ 530842 h 1168310"/>
                  <a:gd name="connsiteX66" fmla="*/ 389624 w 1272442"/>
                  <a:gd name="connsiteY66" fmla="*/ 487765 h 1168310"/>
                  <a:gd name="connsiteX67" fmla="*/ 471718 w 1272442"/>
                  <a:gd name="connsiteY67" fmla="*/ 469489 h 1168310"/>
                  <a:gd name="connsiteX68" fmla="*/ 471718 w 1272442"/>
                  <a:gd name="connsiteY68" fmla="*/ 523677 h 1168310"/>
                  <a:gd name="connsiteX69" fmla="*/ 511390 w 1272442"/>
                  <a:gd name="connsiteY69" fmla="*/ 446758 h 1168310"/>
                  <a:gd name="connsiteX70" fmla="*/ 665143 w 1272442"/>
                  <a:gd name="connsiteY70" fmla="*/ 310469 h 1168310"/>
                  <a:gd name="connsiteX71" fmla="*/ 758958 w 1272442"/>
                  <a:gd name="connsiteY71" fmla="*/ 260910 h 1168310"/>
                  <a:gd name="connsiteX72" fmla="*/ 858638 w 1272442"/>
                  <a:gd name="connsiteY72" fmla="*/ 221784 h 1168310"/>
                  <a:gd name="connsiteX73" fmla="*/ 858638 w 1272442"/>
                  <a:gd name="connsiteY73" fmla="*/ 283639 h 1168310"/>
                  <a:gd name="connsiteX74" fmla="*/ 888711 w 1272442"/>
                  <a:gd name="connsiteY74" fmla="*/ 224973 h 1168310"/>
                  <a:gd name="connsiteX75" fmla="*/ 1042464 w 1272442"/>
                  <a:gd name="connsiteY75" fmla="*/ 88685 h 1168310"/>
                  <a:gd name="connsiteX76" fmla="*/ 1136280 w 1272442"/>
                  <a:gd name="connsiteY76" fmla="*/ 39126 h 1168310"/>
                  <a:gd name="connsiteX77" fmla="*/ 1236610 w 1272442"/>
                  <a:gd name="connsiteY77" fmla="*/ 0 h 116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72442" h="1168310">
                    <a:moveTo>
                      <a:pt x="461324" y="585318"/>
                    </a:moveTo>
                    <a:lnTo>
                      <a:pt x="393533" y="591543"/>
                    </a:lnTo>
                    <a:cubicBezTo>
                      <a:pt x="367471" y="598723"/>
                      <a:pt x="340758" y="610471"/>
                      <a:pt x="312090" y="627441"/>
                    </a:cubicBezTo>
                    <a:cubicBezTo>
                      <a:pt x="261269" y="658118"/>
                      <a:pt x="220873" y="697932"/>
                      <a:pt x="191554" y="748189"/>
                    </a:cubicBezTo>
                    <a:cubicBezTo>
                      <a:pt x="162234" y="798447"/>
                      <a:pt x="147900" y="852620"/>
                      <a:pt x="147900" y="910057"/>
                    </a:cubicBezTo>
                    <a:cubicBezTo>
                      <a:pt x="147900" y="967494"/>
                      <a:pt x="162234" y="1003393"/>
                      <a:pt x="191554" y="1019057"/>
                    </a:cubicBezTo>
                    <a:cubicBezTo>
                      <a:pt x="220873" y="1034069"/>
                      <a:pt x="261269" y="1026890"/>
                      <a:pt x="312090" y="996213"/>
                    </a:cubicBezTo>
                    <a:cubicBezTo>
                      <a:pt x="340758" y="979243"/>
                      <a:pt x="367471" y="959009"/>
                      <a:pt x="393533" y="934860"/>
                    </a:cubicBezTo>
                    <a:cubicBezTo>
                      <a:pt x="406238" y="922785"/>
                      <a:pt x="419106" y="909568"/>
                      <a:pt x="432137" y="895127"/>
                    </a:cubicBezTo>
                    <a:lnTo>
                      <a:pt x="462527" y="858983"/>
                    </a:lnTo>
                    <a:lnTo>
                      <a:pt x="462527" y="846493"/>
                    </a:lnTo>
                    <a:cubicBezTo>
                      <a:pt x="498360" y="843885"/>
                      <a:pt x="532237" y="838016"/>
                      <a:pt x="565464" y="828234"/>
                    </a:cubicBezTo>
                    <a:cubicBezTo>
                      <a:pt x="598690" y="817801"/>
                      <a:pt x="629962" y="802803"/>
                      <a:pt x="660582" y="784544"/>
                    </a:cubicBezTo>
                    <a:cubicBezTo>
                      <a:pt x="691854" y="766285"/>
                      <a:pt x="715960" y="746722"/>
                      <a:pt x="732247" y="726507"/>
                    </a:cubicBezTo>
                    <a:cubicBezTo>
                      <a:pt x="749186" y="706292"/>
                      <a:pt x="757655" y="686077"/>
                      <a:pt x="757655" y="667167"/>
                    </a:cubicBezTo>
                    <a:cubicBezTo>
                      <a:pt x="757655" y="649560"/>
                      <a:pt x="751792" y="639778"/>
                      <a:pt x="740716" y="636518"/>
                    </a:cubicBezTo>
                    <a:cubicBezTo>
                      <a:pt x="729641" y="634562"/>
                      <a:pt x="706839" y="639126"/>
                      <a:pt x="672961" y="651516"/>
                    </a:cubicBezTo>
                    <a:lnTo>
                      <a:pt x="618235" y="672383"/>
                    </a:lnTo>
                    <a:cubicBezTo>
                      <a:pt x="562858" y="693902"/>
                      <a:pt x="521813" y="699119"/>
                      <a:pt x="495754" y="688686"/>
                    </a:cubicBezTo>
                    <a:cubicBezTo>
                      <a:pt x="470997" y="677600"/>
                      <a:pt x="457967" y="650212"/>
                      <a:pt x="457967" y="605869"/>
                    </a:cubicBezTo>
                    <a:close/>
                    <a:moveTo>
                      <a:pt x="841958" y="343988"/>
                    </a:moveTo>
                    <a:lnTo>
                      <a:pt x="770034" y="361985"/>
                    </a:lnTo>
                    <a:cubicBezTo>
                      <a:pt x="740716" y="372419"/>
                      <a:pt x="713354" y="385461"/>
                      <a:pt x="687945" y="400459"/>
                    </a:cubicBezTo>
                    <a:cubicBezTo>
                      <a:pt x="653416" y="420674"/>
                      <a:pt x="628659" y="440889"/>
                      <a:pt x="611720" y="459800"/>
                    </a:cubicBezTo>
                    <a:cubicBezTo>
                      <a:pt x="595433" y="478710"/>
                      <a:pt x="587615" y="498273"/>
                      <a:pt x="587615" y="518488"/>
                    </a:cubicBezTo>
                    <a:cubicBezTo>
                      <a:pt x="587615" y="532835"/>
                      <a:pt x="592827" y="541312"/>
                      <a:pt x="603902" y="543268"/>
                    </a:cubicBezTo>
                    <a:cubicBezTo>
                      <a:pt x="614978" y="544572"/>
                      <a:pt x="634522" y="540008"/>
                      <a:pt x="663840" y="528922"/>
                    </a:cubicBezTo>
                    <a:lnTo>
                      <a:pt x="724429" y="504794"/>
                    </a:lnTo>
                    <a:cubicBezTo>
                      <a:pt x="786321" y="480015"/>
                      <a:pt x="829972" y="472842"/>
                      <a:pt x="856032" y="482623"/>
                    </a:cubicBezTo>
                    <a:cubicBezTo>
                      <a:pt x="882092" y="492405"/>
                      <a:pt x="895122" y="521097"/>
                      <a:pt x="895122" y="567396"/>
                    </a:cubicBezTo>
                    <a:lnTo>
                      <a:pt x="887676" y="615634"/>
                    </a:lnTo>
                    <a:lnTo>
                      <a:pt x="942785" y="605797"/>
                    </a:lnTo>
                    <a:cubicBezTo>
                      <a:pt x="976012" y="595363"/>
                      <a:pt x="1007935" y="581017"/>
                      <a:pt x="1038555" y="562758"/>
                    </a:cubicBezTo>
                    <a:cubicBezTo>
                      <a:pt x="1069176" y="544500"/>
                      <a:pt x="1093933" y="524937"/>
                      <a:pt x="1110220" y="504070"/>
                    </a:cubicBezTo>
                    <a:cubicBezTo>
                      <a:pt x="1127159" y="483855"/>
                      <a:pt x="1134977" y="464292"/>
                      <a:pt x="1134977" y="444729"/>
                    </a:cubicBezTo>
                    <a:cubicBezTo>
                      <a:pt x="1134977" y="427775"/>
                      <a:pt x="1129113" y="417993"/>
                      <a:pt x="1118038" y="414733"/>
                    </a:cubicBezTo>
                    <a:cubicBezTo>
                      <a:pt x="1106962" y="412124"/>
                      <a:pt x="1084160" y="417341"/>
                      <a:pt x="1050934" y="429731"/>
                    </a:cubicBezTo>
                    <a:lnTo>
                      <a:pt x="995557" y="450598"/>
                    </a:lnTo>
                    <a:cubicBezTo>
                      <a:pt x="940179" y="471465"/>
                      <a:pt x="899135" y="477334"/>
                      <a:pt x="873727" y="466248"/>
                    </a:cubicBezTo>
                    <a:cubicBezTo>
                      <a:pt x="847667" y="455815"/>
                      <a:pt x="835288" y="427775"/>
                      <a:pt x="835288" y="384084"/>
                    </a:cubicBezTo>
                    <a:close/>
                    <a:moveTo>
                      <a:pt x="1236610" y="0"/>
                    </a:moveTo>
                    <a:lnTo>
                      <a:pt x="1236610" y="117377"/>
                    </a:lnTo>
                    <a:cubicBezTo>
                      <a:pt x="1205990" y="121942"/>
                      <a:pt x="1176021" y="129767"/>
                      <a:pt x="1147355" y="140201"/>
                    </a:cubicBezTo>
                    <a:cubicBezTo>
                      <a:pt x="1118689" y="150634"/>
                      <a:pt x="1090675" y="163024"/>
                      <a:pt x="1065267" y="178674"/>
                    </a:cubicBezTo>
                    <a:cubicBezTo>
                      <a:pt x="1031389" y="198889"/>
                      <a:pt x="1005980" y="218452"/>
                      <a:pt x="989693" y="237363"/>
                    </a:cubicBezTo>
                    <a:cubicBezTo>
                      <a:pt x="972754" y="256926"/>
                      <a:pt x="964936" y="276489"/>
                      <a:pt x="964936" y="296051"/>
                    </a:cubicBezTo>
                    <a:cubicBezTo>
                      <a:pt x="964936" y="311050"/>
                      <a:pt x="970148" y="319527"/>
                      <a:pt x="981875" y="321483"/>
                    </a:cubicBezTo>
                    <a:cubicBezTo>
                      <a:pt x="992299" y="322787"/>
                      <a:pt x="1012495" y="318223"/>
                      <a:pt x="1041813" y="306485"/>
                    </a:cubicBezTo>
                    <a:lnTo>
                      <a:pt x="1102402" y="283010"/>
                    </a:lnTo>
                    <a:cubicBezTo>
                      <a:pt x="1164294" y="258230"/>
                      <a:pt x="1207944" y="251057"/>
                      <a:pt x="1233353" y="260838"/>
                    </a:cubicBezTo>
                    <a:cubicBezTo>
                      <a:pt x="1259413" y="270620"/>
                      <a:pt x="1272442" y="298660"/>
                      <a:pt x="1272442" y="345611"/>
                    </a:cubicBezTo>
                    <a:cubicBezTo>
                      <a:pt x="1272442" y="406908"/>
                      <a:pt x="1254852" y="462988"/>
                      <a:pt x="1218368" y="514503"/>
                    </a:cubicBezTo>
                    <a:cubicBezTo>
                      <a:pt x="1181884" y="566019"/>
                      <a:pt x="1127159" y="613622"/>
                      <a:pt x="1052237" y="657964"/>
                    </a:cubicBezTo>
                    <a:cubicBezTo>
                      <a:pt x="1017056" y="679484"/>
                      <a:pt x="981875" y="697090"/>
                      <a:pt x="946043" y="711436"/>
                    </a:cubicBezTo>
                    <a:cubicBezTo>
                      <a:pt x="910862" y="725782"/>
                      <a:pt x="875681" y="736868"/>
                      <a:pt x="840500" y="745345"/>
                    </a:cubicBezTo>
                    <a:lnTo>
                      <a:pt x="840500" y="736878"/>
                    </a:lnTo>
                    <a:lnTo>
                      <a:pt x="771907" y="810791"/>
                    </a:lnTo>
                    <a:cubicBezTo>
                      <a:pt x="744300" y="834755"/>
                      <a:pt x="712050" y="857905"/>
                      <a:pt x="674915" y="880402"/>
                    </a:cubicBezTo>
                    <a:cubicBezTo>
                      <a:pt x="639083" y="901269"/>
                      <a:pt x="603902" y="918876"/>
                      <a:pt x="568721" y="933222"/>
                    </a:cubicBezTo>
                    <a:lnTo>
                      <a:pt x="469789" y="964813"/>
                    </a:lnTo>
                    <a:lnTo>
                      <a:pt x="389624" y="1043207"/>
                    </a:lnTo>
                    <a:cubicBezTo>
                      <a:pt x="360956" y="1066704"/>
                      <a:pt x="331636" y="1088243"/>
                      <a:pt x="300362" y="1107171"/>
                    </a:cubicBezTo>
                    <a:cubicBezTo>
                      <a:pt x="208494" y="1161997"/>
                      <a:pt x="134870" y="1180273"/>
                      <a:pt x="81443" y="1160692"/>
                    </a:cubicBezTo>
                    <a:cubicBezTo>
                      <a:pt x="27365" y="1141111"/>
                      <a:pt x="0" y="1086937"/>
                      <a:pt x="0" y="998171"/>
                    </a:cubicBezTo>
                    <a:cubicBezTo>
                      <a:pt x="0" y="909405"/>
                      <a:pt x="27365" y="823249"/>
                      <a:pt x="81443" y="739704"/>
                    </a:cubicBezTo>
                    <a:cubicBezTo>
                      <a:pt x="134870" y="655507"/>
                      <a:pt x="208494" y="585669"/>
                      <a:pt x="300362" y="530842"/>
                    </a:cubicBezTo>
                    <a:cubicBezTo>
                      <a:pt x="331636" y="511914"/>
                      <a:pt x="360956" y="497555"/>
                      <a:pt x="389624" y="487765"/>
                    </a:cubicBezTo>
                    <a:cubicBezTo>
                      <a:pt x="418292" y="477974"/>
                      <a:pt x="445656" y="471447"/>
                      <a:pt x="471718" y="469489"/>
                    </a:cubicBezTo>
                    <a:lnTo>
                      <a:pt x="471718" y="523677"/>
                    </a:lnTo>
                    <a:lnTo>
                      <a:pt x="511390" y="446758"/>
                    </a:lnTo>
                    <a:cubicBezTo>
                      <a:pt x="546570" y="395894"/>
                      <a:pt x="598039" y="350247"/>
                      <a:pt x="665143" y="310469"/>
                    </a:cubicBezTo>
                    <a:cubicBezTo>
                      <a:pt x="695112" y="292211"/>
                      <a:pt x="726384" y="275908"/>
                      <a:pt x="758958" y="260910"/>
                    </a:cubicBezTo>
                    <a:cubicBezTo>
                      <a:pt x="790882" y="246564"/>
                      <a:pt x="824760" y="233522"/>
                      <a:pt x="858638" y="221784"/>
                    </a:cubicBezTo>
                    <a:lnTo>
                      <a:pt x="858638" y="283639"/>
                    </a:lnTo>
                    <a:lnTo>
                      <a:pt x="888711" y="224973"/>
                    </a:lnTo>
                    <a:cubicBezTo>
                      <a:pt x="924543" y="174110"/>
                      <a:pt x="976012" y="128463"/>
                      <a:pt x="1042464" y="88685"/>
                    </a:cubicBezTo>
                    <a:cubicBezTo>
                      <a:pt x="1073085" y="70427"/>
                      <a:pt x="1104357" y="54124"/>
                      <a:pt x="1136280" y="39126"/>
                    </a:cubicBezTo>
                    <a:cubicBezTo>
                      <a:pt x="1168855" y="24780"/>
                      <a:pt x="1202081" y="11086"/>
                      <a:pt x="12366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2" name="Freeform 132">
                <a:extLst>
                  <a:ext uri="{FF2B5EF4-FFF2-40B4-BE49-F238E27FC236}">
                    <a16:creationId xmlns:a16="http://schemas.microsoft.com/office/drawing/2014/main" id="{7B167701-A517-8142-B062-F04F01EDE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12680" y="4026664"/>
                <a:ext cx="861211" cy="532857"/>
              </a:xfrm>
              <a:custGeom>
                <a:avLst/>
                <a:gdLst>
                  <a:gd name="T0" fmla="*/ 51 w 1317"/>
                  <a:gd name="T1" fmla="*/ 380 h 818"/>
                  <a:gd name="T2" fmla="*/ 672 w 1317"/>
                  <a:gd name="T3" fmla="*/ 23 h 818"/>
                  <a:gd name="T4" fmla="*/ 672 w 1317"/>
                  <a:gd name="T5" fmla="*/ 23 h 818"/>
                  <a:gd name="T6" fmla="*/ 802 w 1317"/>
                  <a:gd name="T7" fmla="*/ 25 h 818"/>
                  <a:gd name="T8" fmla="*/ 1268 w 1317"/>
                  <a:gd name="T9" fmla="*/ 307 h 818"/>
                  <a:gd name="T10" fmla="*/ 1268 w 1317"/>
                  <a:gd name="T11" fmla="*/ 307 h 818"/>
                  <a:gd name="T12" fmla="*/ 1266 w 1317"/>
                  <a:gd name="T13" fmla="*/ 434 h 818"/>
                  <a:gd name="T14" fmla="*/ 642 w 1317"/>
                  <a:gd name="T15" fmla="*/ 793 h 818"/>
                  <a:gd name="T16" fmla="*/ 642 w 1317"/>
                  <a:gd name="T17" fmla="*/ 793 h 818"/>
                  <a:gd name="T18" fmla="*/ 512 w 1317"/>
                  <a:gd name="T19" fmla="*/ 792 h 818"/>
                  <a:gd name="T20" fmla="*/ 50 w 1317"/>
                  <a:gd name="T21" fmla="*/ 512 h 818"/>
                  <a:gd name="T22" fmla="*/ 50 w 1317"/>
                  <a:gd name="T23" fmla="*/ 512 h 818"/>
                  <a:gd name="T24" fmla="*/ 51 w 1317"/>
                  <a:gd name="T25" fmla="*/ 380 h 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7" h="818">
                    <a:moveTo>
                      <a:pt x="51" y="380"/>
                    </a:moveTo>
                    <a:lnTo>
                      <a:pt x="672" y="23"/>
                    </a:lnTo>
                    <a:lnTo>
                      <a:pt x="672" y="23"/>
                    </a:lnTo>
                    <a:cubicBezTo>
                      <a:pt x="712" y="0"/>
                      <a:pt x="762" y="0"/>
                      <a:pt x="802" y="25"/>
                    </a:cubicBezTo>
                    <a:lnTo>
                      <a:pt x="1268" y="307"/>
                    </a:lnTo>
                    <a:lnTo>
                      <a:pt x="1268" y="307"/>
                    </a:lnTo>
                    <a:cubicBezTo>
                      <a:pt x="1316" y="336"/>
                      <a:pt x="1315" y="406"/>
                      <a:pt x="1266" y="434"/>
                    </a:cubicBezTo>
                    <a:lnTo>
                      <a:pt x="642" y="793"/>
                    </a:lnTo>
                    <a:lnTo>
                      <a:pt x="642" y="793"/>
                    </a:lnTo>
                    <a:cubicBezTo>
                      <a:pt x="601" y="817"/>
                      <a:pt x="552" y="816"/>
                      <a:pt x="512" y="792"/>
                    </a:cubicBezTo>
                    <a:lnTo>
                      <a:pt x="50" y="512"/>
                    </a:lnTo>
                    <a:lnTo>
                      <a:pt x="50" y="512"/>
                    </a:lnTo>
                    <a:cubicBezTo>
                      <a:pt x="0" y="482"/>
                      <a:pt x="1" y="409"/>
                      <a:pt x="51" y="38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3" name="Freeform 133">
                <a:extLst>
                  <a:ext uri="{FF2B5EF4-FFF2-40B4-BE49-F238E27FC236}">
                    <a16:creationId xmlns:a16="http://schemas.microsoft.com/office/drawing/2014/main" id="{FF94A1A2-25D5-2E4C-AB6A-0DAC891EB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0510" y="3850966"/>
                <a:ext cx="780563" cy="633667"/>
              </a:xfrm>
              <a:custGeom>
                <a:avLst/>
                <a:gdLst>
                  <a:gd name="T0" fmla="*/ 515 w 1196"/>
                  <a:gd name="T1" fmla="*/ 392 h 968"/>
                  <a:gd name="T2" fmla="*/ 0 w 1196"/>
                  <a:gd name="T3" fmla="*/ 71 h 968"/>
                  <a:gd name="T4" fmla="*/ 110 w 1196"/>
                  <a:gd name="T5" fmla="*/ 685 h 968"/>
                  <a:gd name="T6" fmla="*/ 110 w 1196"/>
                  <a:gd name="T7" fmla="*/ 685 h 968"/>
                  <a:gd name="T8" fmla="*/ 164 w 1196"/>
                  <a:gd name="T9" fmla="*/ 765 h 968"/>
                  <a:gd name="T10" fmla="*/ 433 w 1196"/>
                  <a:gd name="T11" fmla="*/ 934 h 968"/>
                  <a:gd name="T12" fmla="*/ 433 w 1196"/>
                  <a:gd name="T13" fmla="*/ 934 h 968"/>
                  <a:gd name="T14" fmla="*/ 598 w 1196"/>
                  <a:gd name="T15" fmla="*/ 937 h 968"/>
                  <a:gd name="T16" fmla="*/ 1010 w 1196"/>
                  <a:gd name="T17" fmla="*/ 700 h 968"/>
                  <a:gd name="T18" fmla="*/ 1010 w 1196"/>
                  <a:gd name="T19" fmla="*/ 700 h 968"/>
                  <a:gd name="T20" fmla="*/ 1090 w 1196"/>
                  <a:gd name="T21" fmla="*/ 587 h 968"/>
                  <a:gd name="T22" fmla="*/ 1195 w 1196"/>
                  <a:gd name="T23" fmla="*/ 0 h 968"/>
                  <a:gd name="T24" fmla="*/ 515 w 1196"/>
                  <a:gd name="T25" fmla="*/ 39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6" h="968">
                    <a:moveTo>
                      <a:pt x="515" y="392"/>
                    </a:moveTo>
                    <a:lnTo>
                      <a:pt x="0" y="71"/>
                    </a:lnTo>
                    <a:lnTo>
                      <a:pt x="110" y="685"/>
                    </a:lnTo>
                    <a:lnTo>
                      <a:pt x="110" y="685"/>
                    </a:lnTo>
                    <a:cubicBezTo>
                      <a:pt x="116" y="718"/>
                      <a:pt x="136" y="747"/>
                      <a:pt x="164" y="765"/>
                    </a:cubicBezTo>
                    <a:lnTo>
                      <a:pt x="433" y="934"/>
                    </a:lnTo>
                    <a:lnTo>
                      <a:pt x="433" y="934"/>
                    </a:lnTo>
                    <a:cubicBezTo>
                      <a:pt x="483" y="965"/>
                      <a:pt x="547" y="967"/>
                      <a:pt x="598" y="937"/>
                    </a:cubicBezTo>
                    <a:lnTo>
                      <a:pt x="1010" y="700"/>
                    </a:lnTo>
                    <a:lnTo>
                      <a:pt x="1010" y="700"/>
                    </a:lnTo>
                    <a:cubicBezTo>
                      <a:pt x="1052" y="676"/>
                      <a:pt x="1081" y="635"/>
                      <a:pt x="1090" y="587"/>
                    </a:cubicBezTo>
                    <a:lnTo>
                      <a:pt x="1195" y="0"/>
                    </a:lnTo>
                    <a:lnTo>
                      <a:pt x="515" y="392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4" name="Freeform 134">
                <a:extLst>
                  <a:ext uri="{FF2B5EF4-FFF2-40B4-BE49-F238E27FC236}">
                    <a16:creationId xmlns:a16="http://schemas.microsoft.com/office/drawing/2014/main" id="{FC0B9677-030D-D844-8928-070EF5EAC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32030" y="3850967"/>
                <a:ext cx="771921" cy="627906"/>
              </a:xfrm>
              <a:custGeom>
                <a:avLst/>
                <a:gdLst>
                  <a:gd name="T0" fmla="*/ 1148 w 1180"/>
                  <a:gd name="T1" fmla="*/ 170 h 960"/>
                  <a:gd name="T2" fmla="*/ 1179 w 1180"/>
                  <a:gd name="T3" fmla="*/ 0 h 960"/>
                  <a:gd name="T4" fmla="*/ 499 w 1180"/>
                  <a:gd name="T5" fmla="*/ 392 h 960"/>
                  <a:gd name="T6" fmla="*/ 52 w 1180"/>
                  <a:gd name="T7" fmla="*/ 114 h 960"/>
                  <a:gd name="T8" fmla="*/ 44 w 1180"/>
                  <a:gd name="T9" fmla="*/ 118 h 960"/>
                  <a:gd name="T10" fmla="*/ 44 w 1180"/>
                  <a:gd name="T11" fmla="*/ 118 h 960"/>
                  <a:gd name="T12" fmla="*/ 0 w 1180"/>
                  <a:gd name="T13" fmla="*/ 160 h 960"/>
                  <a:gd name="T14" fmla="*/ 32 w 1180"/>
                  <a:gd name="T15" fmla="*/ 337 h 960"/>
                  <a:gd name="T16" fmla="*/ 32 w 1180"/>
                  <a:gd name="T17" fmla="*/ 337 h 960"/>
                  <a:gd name="T18" fmla="*/ 42 w 1180"/>
                  <a:gd name="T19" fmla="*/ 344 h 960"/>
                  <a:gd name="T20" fmla="*/ 413 w 1180"/>
                  <a:gd name="T21" fmla="*/ 569 h 960"/>
                  <a:gd name="T22" fmla="*/ 413 w 1180"/>
                  <a:gd name="T23" fmla="*/ 569 h 960"/>
                  <a:gd name="T24" fmla="*/ 414 w 1180"/>
                  <a:gd name="T25" fmla="*/ 569 h 960"/>
                  <a:gd name="T26" fmla="*/ 414 w 1180"/>
                  <a:gd name="T27" fmla="*/ 569 h 960"/>
                  <a:gd name="T28" fmla="*/ 499 w 1180"/>
                  <a:gd name="T29" fmla="*/ 714 h 960"/>
                  <a:gd name="T30" fmla="*/ 499 w 1180"/>
                  <a:gd name="T31" fmla="*/ 958 h 960"/>
                  <a:gd name="T32" fmla="*/ 499 w 1180"/>
                  <a:gd name="T33" fmla="*/ 958 h 960"/>
                  <a:gd name="T34" fmla="*/ 582 w 1180"/>
                  <a:gd name="T35" fmla="*/ 937 h 960"/>
                  <a:gd name="T36" fmla="*/ 994 w 1180"/>
                  <a:gd name="T37" fmla="*/ 700 h 960"/>
                  <a:gd name="T38" fmla="*/ 994 w 1180"/>
                  <a:gd name="T39" fmla="*/ 700 h 960"/>
                  <a:gd name="T40" fmla="*/ 1009 w 1180"/>
                  <a:gd name="T41" fmla="*/ 690 h 960"/>
                  <a:gd name="T42" fmla="*/ 1009 w 1180"/>
                  <a:gd name="T43" fmla="*/ 690 h 960"/>
                  <a:gd name="T44" fmla="*/ 1074 w 1180"/>
                  <a:gd name="T45" fmla="*/ 587 h 960"/>
                  <a:gd name="T46" fmla="*/ 1132 w 1180"/>
                  <a:gd name="T47" fmla="*/ 263 h 960"/>
                  <a:gd name="T48" fmla="*/ 1148 w 1180"/>
                  <a:gd name="T49" fmla="*/ 17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0" h="960">
                    <a:moveTo>
                      <a:pt x="1148" y="170"/>
                    </a:moveTo>
                    <a:lnTo>
                      <a:pt x="1179" y="0"/>
                    </a:lnTo>
                    <a:lnTo>
                      <a:pt x="499" y="392"/>
                    </a:lnTo>
                    <a:lnTo>
                      <a:pt x="52" y="114"/>
                    </a:lnTo>
                    <a:lnTo>
                      <a:pt x="44" y="118"/>
                    </a:lnTo>
                    <a:lnTo>
                      <a:pt x="44" y="118"/>
                    </a:lnTo>
                    <a:cubicBezTo>
                      <a:pt x="25" y="129"/>
                      <a:pt x="11" y="144"/>
                      <a:pt x="0" y="160"/>
                    </a:cubicBezTo>
                    <a:lnTo>
                      <a:pt x="32" y="337"/>
                    </a:lnTo>
                    <a:lnTo>
                      <a:pt x="32" y="337"/>
                    </a:lnTo>
                    <a:cubicBezTo>
                      <a:pt x="35" y="339"/>
                      <a:pt x="38" y="342"/>
                      <a:pt x="42" y="344"/>
                    </a:cubicBezTo>
                    <a:lnTo>
                      <a:pt x="413" y="569"/>
                    </a:lnTo>
                    <a:lnTo>
                      <a:pt x="413" y="569"/>
                    </a:lnTo>
                    <a:lnTo>
                      <a:pt x="414" y="569"/>
                    </a:lnTo>
                    <a:lnTo>
                      <a:pt x="414" y="569"/>
                    </a:lnTo>
                    <a:cubicBezTo>
                      <a:pt x="465" y="600"/>
                      <a:pt x="499" y="654"/>
                      <a:pt x="499" y="714"/>
                    </a:cubicBezTo>
                    <a:lnTo>
                      <a:pt x="499" y="958"/>
                    </a:lnTo>
                    <a:lnTo>
                      <a:pt x="499" y="958"/>
                    </a:lnTo>
                    <a:cubicBezTo>
                      <a:pt x="527" y="959"/>
                      <a:pt x="556" y="952"/>
                      <a:pt x="582" y="937"/>
                    </a:cubicBezTo>
                    <a:lnTo>
                      <a:pt x="994" y="700"/>
                    </a:lnTo>
                    <a:lnTo>
                      <a:pt x="994" y="700"/>
                    </a:lnTo>
                    <a:cubicBezTo>
                      <a:pt x="999" y="697"/>
                      <a:pt x="1004" y="694"/>
                      <a:pt x="1009" y="690"/>
                    </a:cubicBezTo>
                    <a:lnTo>
                      <a:pt x="1009" y="690"/>
                    </a:lnTo>
                    <a:cubicBezTo>
                      <a:pt x="1043" y="665"/>
                      <a:pt x="1066" y="629"/>
                      <a:pt x="1074" y="587"/>
                    </a:cubicBezTo>
                    <a:lnTo>
                      <a:pt x="1132" y="263"/>
                    </a:lnTo>
                    <a:lnTo>
                      <a:pt x="1148" y="170"/>
                    </a:lnTo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5" name="Freeform 135">
                <a:extLst>
                  <a:ext uri="{FF2B5EF4-FFF2-40B4-BE49-F238E27FC236}">
                    <a16:creationId xmlns:a16="http://schemas.microsoft.com/office/drawing/2014/main" id="{A0CE5AD9-1560-D54C-A30E-0792F022B4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17631" y="3669506"/>
                <a:ext cx="789203" cy="541497"/>
              </a:xfrm>
              <a:custGeom>
                <a:avLst/>
                <a:gdLst>
                  <a:gd name="T0" fmla="*/ 1208 w 1209"/>
                  <a:gd name="T1" fmla="*/ 236 h 827"/>
                  <a:gd name="T2" fmla="*/ 785 w 1209"/>
                  <a:gd name="T3" fmla="*/ 35 h 827"/>
                  <a:gd name="T4" fmla="*/ 785 w 1209"/>
                  <a:gd name="T5" fmla="*/ 35 h 827"/>
                  <a:gd name="T6" fmla="*/ 598 w 1209"/>
                  <a:gd name="T7" fmla="*/ 34 h 827"/>
                  <a:gd name="T8" fmla="*/ 0 w 1209"/>
                  <a:gd name="T9" fmla="*/ 324 h 827"/>
                  <a:gd name="T10" fmla="*/ 0 w 1209"/>
                  <a:gd name="T11" fmla="*/ 462 h 827"/>
                  <a:gd name="T12" fmla="*/ 0 w 1209"/>
                  <a:gd name="T13" fmla="*/ 462 h 827"/>
                  <a:gd name="T14" fmla="*/ 63 w 1209"/>
                  <a:gd name="T15" fmla="*/ 566 h 827"/>
                  <a:gd name="T16" fmla="*/ 434 w 1209"/>
                  <a:gd name="T17" fmla="*/ 791 h 827"/>
                  <a:gd name="T18" fmla="*/ 434 w 1209"/>
                  <a:gd name="T19" fmla="*/ 791 h 827"/>
                  <a:gd name="T20" fmla="*/ 621 w 1209"/>
                  <a:gd name="T21" fmla="*/ 793 h 827"/>
                  <a:gd name="T22" fmla="*/ 1140 w 1209"/>
                  <a:gd name="T23" fmla="*/ 494 h 827"/>
                  <a:gd name="T24" fmla="*/ 1140 w 1209"/>
                  <a:gd name="T25" fmla="*/ 494 h 827"/>
                  <a:gd name="T26" fmla="*/ 1208 w 1209"/>
                  <a:gd name="T27" fmla="*/ 376 h 827"/>
                  <a:gd name="T28" fmla="*/ 1208 w 1209"/>
                  <a:gd name="T29" fmla="*/ 236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09" h="827">
                    <a:moveTo>
                      <a:pt x="1208" y="236"/>
                    </a:moveTo>
                    <a:lnTo>
                      <a:pt x="785" y="35"/>
                    </a:lnTo>
                    <a:lnTo>
                      <a:pt x="785" y="35"/>
                    </a:lnTo>
                    <a:cubicBezTo>
                      <a:pt x="727" y="1"/>
                      <a:pt x="656" y="0"/>
                      <a:pt x="598" y="34"/>
                    </a:cubicBezTo>
                    <a:lnTo>
                      <a:pt x="0" y="324"/>
                    </a:lnTo>
                    <a:lnTo>
                      <a:pt x="0" y="462"/>
                    </a:lnTo>
                    <a:lnTo>
                      <a:pt x="0" y="462"/>
                    </a:lnTo>
                    <a:cubicBezTo>
                      <a:pt x="3" y="503"/>
                      <a:pt x="23" y="542"/>
                      <a:pt x="63" y="566"/>
                    </a:cubicBezTo>
                    <a:lnTo>
                      <a:pt x="434" y="791"/>
                    </a:lnTo>
                    <a:lnTo>
                      <a:pt x="434" y="791"/>
                    </a:lnTo>
                    <a:cubicBezTo>
                      <a:pt x="491" y="825"/>
                      <a:pt x="563" y="826"/>
                      <a:pt x="621" y="793"/>
                    </a:cubicBezTo>
                    <a:lnTo>
                      <a:pt x="1140" y="494"/>
                    </a:lnTo>
                    <a:lnTo>
                      <a:pt x="1140" y="494"/>
                    </a:lnTo>
                    <a:cubicBezTo>
                      <a:pt x="1186" y="467"/>
                      <a:pt x="1208" y="424"/>
                      <a:pt x="1208" y="376"/>
                    </a:cubicBezTo>
                    <a:lnTo>
                      <a:pt x="1208" y="236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6" name="Freeform 136">
                <a:extLst>
                  <a:ext uri="{FF2B5EF4-FFF2-40B4-BE49-F238E27FC236}">
                    <a16:creationId xmlns:a16="http://schemas.microsoft.com/office/drawing/2014/main" id="{F2616461-A943-654B-94D9-CA3BC5BF3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99900" y="3689670"/>
                <a:ext cx="506933" cy="512694"/>
              </a:xfrm>
              <a:custGeom>
                <a:avLst/>
                <a:gdLst>
                  <a:gd name="T0" fmla="*/ 164 w 775"/>
                  <a:gd name="T1" fmla="*/ 3 h 786"/>
                  <a:gd name="T2" fmla="*/ 118 w 775"/>
                  <a:gd name="T3" fmla="*/ 24 h 786"/>
                  <a:gd name="T4" fmla="*/ 0 w 775"/>
                  <a:gd name="T5" fmla="*/ 635 h 786"/>
                  <a:gd name="T6" fmla="*/ 0 w 775"/>
                  <a:gd name="T7" fmla="*/ 635 h 786"/>
                  <a:gd name="T8" fmla="*/ 118 w 775"/>
                  <a:gd name="T9" fmla="*/ 785 h 786"/>
                  <a:gd name="T10" fmla="*/ 118 w 775"/>
                  <a:gd name="T11" fmla="*/ 785 h 786"/>
                  <a:gd name="T12" fmla="*/ 187 w 775"/>
                  <a:gd name="T13" fmla="*/ 762 h 786"/>
                  <a:gd name="T14" fmla="*/ 706 w 775"/>
                  <a:gd name="T15" fmla="*/ 463 h 786"/>
                  <a:gd name="T16" fmla="*/ 706 w 775"/>
                  <a:gd name="T17" fmla="*/ 463 h 786"/>
                  <a:gd name="T18" fmla="*/ 774 w 775"/>
                  <a:gd name="T19" fmla="*/ 345 h 786"/>
                  <a:gd name="T20" fmla="*/ 774 w 775"/>
                  <a:gd name="T21" fmla="*/ 205 h 786"/>
                  <a:gd name="T22" fmla="*/ 351 w 775"/>
                  <a:gd name="T23" fmla="*/ 4 h 786"/>
                  <a:gd name="T24" fmla="*/ 351 w 775"/>
                  <a:gd name="T25" fmla="*/ 4 h 786"/>
                  <a:gd name="T26" fmla="*/ 341 w 775"/>
                  <a:gd name="T27" fmla="*/ 0 h 786"/>
                  <a:gd name="T28" fmla="*/ 169 w 775"/>
                  <a:gd name="T29" fmla="*/ 0 h 786"/>
                  <a:gd name="T30" fmla="*/ 169 w 775"/>
                  <a:gd name="T31" fmla="*/ 0 h 786"/>
                  <a:gd name="T32" fmla="*/ 164 w 775"/>
                  <a:gd name="T3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5" h="786">
                    <a:moveTo>
                      <a:pt x="164" y="3"/>
                    </a:moveTo>
                    <a:lnTo>
                      <a:pt x="118" y="24"/>
                    </a:lnTo>
                    <a:lnTo>
                      <a:pt x="0" y="635"/>
                    </a:lnTo>
                    <a:lnTo>
                      <a:pt x="0" y="635"/>
                    </a:lnTo>
                    <a:cubicBezTo>
                      <a:pt x="73" y="664"/>
                      <a:pt x="114" y="713"/>
                      <a:pt x="118" y="785"/>
                    </a:cubicBezTo>
                    <a:lnTo>
                      <a:pt x="118" y="785"/>
                    </a:lnTo>
                    <a:cubicBezTo>
                      <a:pt x="142" y="782"/>
                      <a:pt x="166" y="774"/>
                      <a:pt x="187" y="762"/>
                    </a:cubicBezTo>
                    <a:lnTo>
                      <a:pt x="706" y="463"/>
                    </a:lnTo>
                    <a:lnTo>
                      <a:pt x="706" y="463"/>
                    </a:lnTo>
                    <a:cubicBezTo>
                      <a:pt x="752" y="436"/>
                      <a:pt x="774" y="393"/>
                      <a:pt x="774" y="345"/>
                    </a:cubicBezTo>
                    <a:lnTo>
                      <a:pt x="774" y="205"/>
                    </a:lnTo>
                    <a:lnTo>
                      <a:pt x="351" y="4"/>
                    </a:lnTo>
                    <a:lnTo>
                      <a:pt x="351" y="4"/>
                    </a:lnTo>
                    <a:cubicBezTo>
                      <a:pt x="348" y="3"/>
                      <a:pt x="344" y="2"/>
                      <a:pt x="341" y="0"/>
                    </a:cubicBezTo>
                    <a:lnTo>
                      <a:pt x="169" y="0"/>
                    </a:lnTo>
                    <a:lnTo>
                      <a:pt x="169" y="0"/>
                    </a:lnTo>
                    <a:cubicBezTo>
                      <a:pt x="168" y="1"/>
                      <a:pt x="165" y="2"/>
                      <a:pt x="164" y="3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7" name="Freeform 137">
                <a:extLst>
                  <a:ext uri="{FF2B5EF4-FFF2-40B4-BE49-F238E27FC236}">
                    <a16:creationId xmlns:a16="http://schemas.microsoft.com/office/drawing/2014/main" id="{8DFA35F4-993F-0748-84C6-6F8A2FB2E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03227" y="3588858"/>
                <a:ext cx="820887" cy="541497"/>
              </a:xfrm>
              <a:custGeom>
                <a:avLst/>
                <a:gdLst>
                  <a:gd name="T0" fmla="*/ 88 w 1258"/>
                  <a:gd name="T1" fmla="*/ 340 h 827"/>
                  <a:gd name="T2" fmla="*/ 621 w 1258"/>
                  <a:gd name="T3" fmla="*/ 33 h 827"/>
                  <a:gd name="T4" fmla="*/ 621 w 1258"/>
                  <a:gd name="T5" fmla="*/ 33 h 827"/>
                  <a:gd name="T6" fmla="*/ 808 w 1258"/>
                  <a:gd name="T7" fmla="*/ 35 h 827"/>
                  <a:gd name="T8" fmla="*/ 1165 w 1258"/>
                  <a:gd name="T9" fmla="*/ 252 h 827"/>
                  <a:gd name="T10" fmla="*/ 1165 w 1258"/>
                  <a:gd name="T11" fmla="*/ 252 h 827"/>
                  <a:gd name="T12" fmla="*/ 1162 w 1258"/>
                  <a:gd name="T13" fmla="*/ 494 h 827"/>
                  <a:gd name="T14" fmla="*/ 644 w 1258"/>
                  <a:gd name="T15" fmla="*/ 792 h 827"/>
                  <a:gd name="T16" fmla="*/ 644 w 1258"/>
                  <a:gd name="T17" fmla="*/ 792 h 827"/>
                  <a:gd name="T18" fmla="*/ 457 w 1258"/>
                  <a:gd name="T19" fmla="*/ 790 h 827"/>
                  <a:gd name="T20" fmla="*/ 86 w 1258"/>
                  <a:gd name="T21" fmla="*/ 565 h 827"/>
                  <a:gd name="T22" fmla="*/ 86 w 1258"/>
                  <a:gd name="T23" fmla="*/ 565 h 827"/>
                  <a:gd name="T24" fmla="*/ 88 w 1258"/>
                  <a:gd name="T25" fmla="*/ 340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58" h="827">
                    <a:moveTo>
                      <a:pt x="88" y="340"/>
                    </a:moveTo>
                    <a:lnTo>
                      <a:pt x="621" y="33"/>
                    </a:lnTo>
                    <a:lnTo>
                      <a:pt x="621" y="33"/>
                    </a:lnTo>
                    <a:cubicBezTo>
                      <a:pt x="679" y="0"/>
                      <a:pt x="750" y="0"/>
                      <a:pt x="808" y="35"/>
                    </a:cubicBezTo>
                    <a:lnTo>
                      <a:pt x="1165" y="252"/>
                    </a:lnTo>
                    <a:lnTo>
                      <a:pt x="1165" y="252"/>
                    </a:lnTo>
                    <a:cubicBezTo>
                      <a:pt x="1257" y="307"/>
                      <a:pt x="1255" y="440"/>
                      <a:pt x="1162" y="494"/>
                    </a:cubicBezTo>
                    <a:lnTo>
                      <a:pt x="644" y="792"/>
                    </a:lnTo>
                    <a:lnTo>
                      <a:pt x="644" y="792"/>
                    </a:lnTo>
                    <a:cubicBezTo>
                      <a:pt x="586" y="826"/>
                      <a:pt x="514" y="825"/>
                      <a:pt x="457" y="790"/>
                    </a:cubicBezTo>
                    <a:lnTo>
                      <a:pt x="86" y="565"/>
                    </a:lnTo>
                    <a:lnTo>
                      <a:pt x="86" y="565"/>
                    </a:lnTo>
                    <a:cubicBezTo>
                      <a:pt x="0" y="514"/>
                      <a:pt x="2" y="390"/>
                      <a:pt x="88" y="340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8" name="Freeform 138">
                <a:extLst>
                  <a:ext uri="{FF2B5EF4-FFF2-40B4-BE49-F238E27FC236}">
                    <a16:creationId xmlns:a16="http://schemas.microsoft.com/office/drawing/2014/main" id="{21F8B16C-8A64-2346-99E4-32A4B4A7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403242"/>
              </a:xfrm>
              <a:custGeom>
                <a:avLst/>
                <a:gdLst>
                  <a:gd name="T0" fmla="*/ 38 w 996"/>
                  <a:gd name="T1" fmla="*/ 289 h 617"/>
                  <a:gd name="T2" fmla="*/ 504 w 996"/>
                  <a:gd name="T3" fmla="*/ 20 h 617"/>
                  <a:gd name="T4" fmla="*/ 504 w 996"/>
                  <a:gd name="T5" fmla="*/ 20 h 617"/>
                  <a:gd name="T6" fmla="*/ 614 w 996"/>
                  <a:gd name="T7" fmla="*/ 21 h 617"/>
                  <a:gd name="T8" fmla="*/ 956 w 996"/>
                  <a:gd name="T9" fmla="*/ 229 h 617"/>
                  <a:gd name="T10" fmla="*/ 956 w 996"/>
                  <a:gd name="T11" fmla="*/ 229 h 617"/>
                  <a:gd name="T12" fmla="*/ 955 w 996"/>
                  <a:gd name="T13" fmla="*/ 331 h 617"/>
                  <a:gd name="T14" fmla="*/ 493 w 996"/>
                  <a:gd name="T15" fmla="*/ 597 h 617"/>
                  <a:gd name="T16" fmla="*/ 493 w 996"/>
                  <a:gd name="T17" fmla="*/ 597 h 617"/>
                  <a:gd name="T18" fmla="*/ 383 w 996"/>
                  <a:gd name="T19" fmla="*/ 596 h 617"/>
                  <a:gd name="T20" fmla="*/ 37 w 996"/>
                  <a:gd name="T21" fmla="*/ 386 h 617"/>
                  <a:gd name="T22" fmla="*/ 37 w 996"/>
                  <a:gd name="T23" fmla="*/ 386 h 617"/>
                  <a:gd name="T24" fmla="*/ 38 w 996"/>
                  <a:gd name="T25" fmla="*/ 289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6" h="617">
                    <a:moveTo>
                      <a:pt x="38" y="289"/>
                    </a:moveTo>
                    <a:lnTo>
                      <a:pt x="504" y="20"/>
                    </a:lnTo>
                    <a:lnTo>
                      <a:pt x="504" y="20"/>
                    </a:lnTo>
                    <a:cubicBezTo>
                      <a:pt x="538" y="0"/>
                      <a:pt x="580" y="1"/>
                      <a:pt x="614" y="21"/>
                    </a:cubicBezTo>
                    <a:lnTo>
                      <a:pt x="956" y="229"/>
                    </a:lnTo>
                    <a:lnTo>
                      <a:pt x="956" y="229"/>
                    </a:lnTo>
                    <a:cubicBezTo>
                      <a:pt x="995" y="252"/>
                      <a:pt x="994" y="308"/>
                      <a:pt x="955" y="331"/>
                    </a:cubicBezTo>
                    <a:lnTo>
                      <a:pt x="493" y="597"/>
                    </a:lnTo>
                    <a:lnTo>
                      <a:pt x="493" y="597"/>
                    </a:lnTo>
                    <a:cubicBezTo>
                      <a:pt x="459" y="616"/>
                      <a:pt x="417" y="616"/>
                      <a:pt x="383" y="596"/>
                    </a:cubicBezTo>
                    <a:lnTo>
                      <a:pt x="37" y="386"/>
                    </a:lnTo>
                    <a:lnTo>
                      <a:pt x="37" y="386"/>
                    </a:lnTo>
                    <a:cubicBezTo>
                      <a:pt x="0" y="364"/>
                      <a:pt x="1" y="310"/>
                      <a:pt x="38" y="289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69" name="Freeform 139">
                <a:extLst>
                  <a:ext uri="{FF2B5EF4-FFF2-40B4-BE49-F238E27FC236}">
                    <a16:creationId xmlns:a16="http://schemas.microsoft.com/office/drawing/2014/main" id="{5F013D9C-2113-1747-B77C-10D24817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89638" y="3655106"/>
                <a:ext cx="650948" cy="247706"/>
              </a:xfrm>
              <a:custGeom>
                <a:avLst/>
                <a:gdLst>
                  <a:gd name="T0" fmla="*/ 956 w 995"/>
                  <a:gd name="T1" fmla="*/ 313 h 381"/>
                  <a:gd name="T2" fmla="*/ 956 w 995"/>
                  <a:gd name="T3" fmla="*/ 313 h 381"/>
                  <a:gd name="T4" fmla="*/ 967 w 995"/>
                  <a:gd name="T5" fmla="*/ 321 h 381"/>
                  <a:gd name="T6" fmla="*/ 967 w 995"/>
                  <a:gd name="T7" fmla="*/ 321 h 381"/>
                  <a:gd name="T8" fmla="*/ 956 w 995"/>
                  <a:gd name="T9" fmla="*/ 229 h 381"/>
                  <a:gd name="T10" fmla="*/ 614 w 995"/>
                  <a:gd name="T11" fmla="*/ 21 h 381"/>
                  <a:gd name="T12" fmla="*/ 614 w 995"/>
                  <a:gd name="T13" fmla="*/ 21 h 381"/>
                  <a:gd name="T14" fmla="*/ 504 w 995"/>
                  <a:gd name="T15" fmla="*/ 20 h 381"/>
                  <a:gd name="T16" fmla="*/ 38 w 995"/>
                  <a:gd name="T17" fmla="*/ 289 h 381"/>
                  <a:gd name="T18" fmla="*/ 38 w 995"/>
                  <a:gd name="T19" fmla="*/ 289 h 381"/>
                  <a:gd name="T20" fmla="*/ 28 w 995"/>
                  <a:gd name="T21" fmla="*/ 380 h 381"/>
                  <a:gd name="T22" fmla="*/ 28 w 995"/>
                  <a:gd name="T23" fmla="*/ 380 h 381"/>
                  <a:gd name="T24" fmla="*/ 38 w 995"/>
                  <a:gd name="T25" fmla="*/ 373 h 381"/>
                  <a:gd name="T26" fmla="*/ 504 w 995"/>
                  <a:gd name="T27" fmla="*/ 105 h 381"/>
                  <a:gd name="T28" fmla="*/ 504 w 995"/>
                  <a:gd name="T29" fmla="*/ 105 h 381"/>
                  <a:gd name="T30" fmla="*/ 614 w 995"/>
                  <a:gd name="T31" fmla="*/ 106 h 381"/>
                  <a:gd name="T32" fmla="*/ 956 w 995"/>
                  <a:gd name="T33" fmla="*/ 3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5" h="381">
                    <a:moveTo>
                      <a:pt x="956" y="313"/>
                    </a:moveTo>
                    <a:lnTo>
                      <a:pt x="956" y="313"/>
                    </a:lnTo>
                    <a:cubicBezTo>
                      <a:pt x="960" y="316"/>
                      <a:pt x="964" y="319"/>
                      <a:pt x="967" y="321"/>
                    </a:cubicBezTo>
                    <a:lnTo>
                      <a:pt x="967" y="321"/>
                    </a:lnTo>
                    <a:cubicBezTo>
                      <a:pt x="994" y="296"/>
                      <a:pt x="990" y="249"/>
                      <a:pt x="956" y="229"/>
                    </a:cubicBezTo>
                    <a:lnTo>
                      <a:pt x="614" y="21"/>
                    </a:lnTo>
                    <a:lnTo>
                      <a:pt x="614" y="21"/>
                    </a:lnTo>
                    <a:cubicBezTo>
                      <a:pt x="580" y="1"/>
                      <a:pt x="538" y="0"/>
                      <a:pt x="504" y="20"/>
                    </a:cubicBezTo>
                    <a:lnTo>
                      <a:pt x="38" y="289"/>
                    </a:lnTo>
                    <a:lnTo>
                      <a:pt x="38" y="289"/>
                    </a:lnTo>
                    <a:cubicBezTo>
                      <a:pt x="4" y="309"/>
                      <a:pt x="0" y="355"/>
                      <a:pt x="28" y="380"/>
                    </a:cubicBezTo>
                    <a:lnTo>
                      <a:pt x="28" y="380"/>
                    </a:lnTo>
                    <a:cubicBezTo>
                      <a:pt x="32" y="377"/>
                      <a:pt x="34" y="375"/>
                      <a:pt x="38" y="373"/>
                    </a:cubicBezTo>
                    <a:lnTo>
                      <a:pt x="504" y="105"/>
                    </a:lnTo>
                    <a:lnTo>
                      <a:pt x="504" y="105"/>
                    </a:lnTo>
                    <a:cubicBezTo>
                      <a:pt x="538" y="85"/>
                      <a:pt x="580" y="85"/>
                      <a:pt x="614" y="106"/>
                    </a:cubicBezTo>
                    <a:lnTo>
                      <a:pt x="956" y="313"/>
                    </a:ln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0" name="Freeform 140">
                <a:extLst>
                  <a:ext uri="{FF2B5EF4-FFF2-40B4-BE49-F238E27FC236}">
                    <a16:creationId xmlns:a16="http://schemas.microsoft.com/office/drawing/2014/main" id="{0A605F91-5FEC-314F-A398-4C9F33014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28703" y="2802536"/>
                <a:ext cx="567419" cy="1091634"/>
              </a:xfrm>
              <a:custGeom>
                <a:avLst/>
                <a:gdLst>
                  <a:gd name="T0" fmla="*/ 126 w 869"/>
                  <a:gd name="T1" fmla="*/ 1672 h 1673"/>
                  <a:gd name="T2" fmla="*/ 126 w 869"/>
                  <a:gd name="T3" fmla="*/ 1672 h 1673"/>
                  <a:gd name="T4" fmla="*/ 112 w 869"/>
                  <a:gd name="T5" fmla="*/ 1119 h 1673"/>
                  <a:gd name="T6" fmla="*/ 112 w 869"/>
                  <a:gd name="T7" fmla="*/ 1119 h 1673"/>
                  <a:gd name="T8" fmla="*/ 90 w 869"/>
                  <a:gd name="T9" fmla="*/ 836 h 1673"/>
                  <a:gd name="T10" fmla="*/ 90 w 869"/>
                  <a:gd name="T11" fmla="*/ 836 h 1673"/>
                  <a:gd name="T12" fmla="*/ 260 w 869"/>
                  <a:gd name="T13" fmla="*/ 377 h 1673"/>
                  <a:gd name="T14" fmla="*/ 260 w 869"/>
                  <a:gd name="T15" fmla="*/ 377 h 1673"/>
                  <a:gd name="T16" fmla="*/ 566 w 869"/>
                  <a:gd name="T17" fmla="*/ 85 h 1673"/>
                  <a:gd name="T18" fmla="*/ 566 w 869"/>
                  <a:gd name="T19" fmla="*/ 85 h 1673"/>
                  <a:gd name="T20" fmla="*/ 773 w 869"/>
                  <a:gd name="T21" fmla="*/ 485 h 1673"/>
                  <a:gd name="T22" fmla="*/ 773 w 869"/>
                  <a:gd name="T23" fmla="*/ 485 h 1673"/>
                  <a:gd name="T24" fmla="*/ 810 w 869"/>
                  <a:gd name="T25" fmla="*/ 894 h 1673"/>
                  <a:gd name="T26" fmla="*/ 810 w 869"/>
                  <a:gd name="T27" fmla="*/ 894 h 1673"/>
                  <a:gd name="T28" fmla="*/ 499 w 869"/>
                  <a:gd name="T29" fmla="*/ 1196 h 1673"/>
                  <a:gd name="T30" fmla="*/ 499 w 869"/>
                  <a:gd name="T31" fmla="*/ 1196 h 1673"/>
                  <a:gd name="T32" fmla="*/ 126 w 869"/>
                  <a:gd name="T33" fmla="*/ 1672 h 1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9" h="1673">
                    <a:moveTo>
                      <a:pt x="126" y="1672"/>
                    </a:moveTo>
                    <a:lnTo>
                      <a:pt x="126" y="1672"/>
                    </a:lnTo>
                    <a:cubicBezTo>
                      <a:pt x="126" y="1672"/>
                      <a:pt x="49" y="1281"/>
                      <a:pt x="112" y="1119"/>
                    </a:cubicBezTo>
                    <a:lnTo>
                      <a:pt x="112" y="1119"/>
                    </a:lnTo>
                    <a:cubicBezTo>
                      <a:pt x="175" y="958"/>
                      <a:pt x="144" y="962"/>
                      <a:pt x="90" y="836"/>
                    </a:cubicBezTo>
                    <a:lnTo>
                      <a:pt x="90" y="836"/>
                    </a:lnTo>
                    <a:cubicBezTo>
                      <a:pt x="35" y="710"/>
                      <a:pt x="0" y="404"/>
                      <a:pt x="260" y="377"/>
                    </a:cubicBezTo>
                    <a:lnTo>
                      <a:pt x="260" y="377"/>
                    </a:lnTo>
                    <a:cubicBezTo>
                      <a:pt x="521" y="350"/>
                      <a:pt x="447" y="129"/>
                      <a:pt x="566" y="85"/>
                    </a:cubicBezTo>
                    <a:lnTo>
                      <a:pt x="566" y="85"/>
                    </a:lnTo>
                    <a:cubicBezTo>
                      <a:pt x="800" y="0"/>
                      <a:pt x="854" y="319"/>
                      <a:pt x="773" y="485"/>
                    </a:cubicBezTo>
                    <a:lnTo>
                      <a:pt x="773" y="485"/>
                    </a:lnTo>
                    <a:cubicBezTo>
                      <a:pt x="692" y="652"/>
                      <a:pt x="868" y="715"/>
                      <a:pt x="810" y="894"/>
                    </a:cubicBezTo>
                    <a:lnTo>
                      <a:pt x="810" y="894"/>
                    </a:lnTo>
                    <a:cubicBezTo>
                      <a:pt x="751" y="1075"/>
                      <a:pt x="548" y="1075"/>
                      <a:pt x="499" y="1196"/>
                    </a:cubicBezTo>
                    <a:lnTo>
                      <a:pt x="499" y="1196"/>
                    </a:lnTo>
                    <a:cubicBezTo>
                      <a:pt x="449" y="1318"/>
                      <a:pt x="388" y="1503"/>
                      <a:pt x="126" y="1672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1" name="Freeform 141">
                <a:extLst>
                  <a:ext uri="{FF2B5EF4-FFF2-40B4-BE49-F238E27FC236}">
                    <a16:creationId xmlns:a16="http://schemas.microsoft.com/office/drawing/2014/main" id="{D6B28205-96D0-3445-A7C2-F2128A26B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1122" y="3283546"/>
                <a:ext cx="673991" cy="616385"/>
              </a:xfrm>
              <a:custGeom>
                <a:avLst/>
                <a:gdLst>
                  <a:gd name="T0" fmla="*/ 1031 w 1032"/>
                  <a:gd name="T1" fmla="*/ 944 h 945"/>
                  <a:gd name="T2" fmla="*/ 1031 w 1032"/>
                  <a:gd name="T3" fmla="*/ 944 h 945"/>
                  <a:gd name="T4" fmla="*/ 793 w 1032"/>
                  <a:gd name="T5" fmla="*/ 332 h 945"/>
                  <a:gd name="T6" fmla="*/ 793 w 1032"/>
                  <a:gd name="T7" fmla="*/ 332 h 945"/>
                  <a:gd name="T8" fmla="*/ 470 w 1032"/>
                  <a:gd name="T9" fmla="*/ 23 h 945"/>
                  <a:gd name="T10" fmla="*/ 470 w 1032"/>
                  <a:gd name="T11" fmla="*/ 23 h 945"/>
                  <a:gd name="T12" fmla="*/ 294 w 1032"/>
                  <a:gd name="T13" fmla="*/ 52 h 945"/>
                  <a:gd name="T14" fmla="*/ 294 w 1032"/>
                  <a:gd name="T15" fmla="*/ 52 h 945"/>
                  <a:gd name="T16" fmla="*/ 33 w 1032"/>
                  <a:gd name="T17" fmla="*/ 61 h 945"/>
                  <a:gd name="T18" fmla="*/ 33 w 1032"/>
                  <a:gd name="T19" fmla="*/ 61 h 945"/>
                  <a:gd name="T20" fmla="*/ 318 w 1032"/>
                  <a:gd name="T21" fmla="*/ 441 h 945"/>
                  <a:gd name="T22" fmla="*/ 318 w 1032"/>
                  <a:gd name="T23" fmla="*/ 441 h 945"/>
                  <a:gd name="T24" fmla="*/ 446 w 1032"/>
                  <a:gd name="T25" fmla="*/ 726 h 945"/>
                  <a:gd name="T26" fmla="*/ 446 w 1032"/>
                  <a:gd name="T27" fmla="*/ 726 h 945"/>
                  <a:gd name="T28" fmla="*/ 1031 w 1032"/>
                  <a:gd name="T29" fmla="*/ 944 h 9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945">
                    <a:moveTo>
                      <a:pt x="1031" y="944"/>
                    </a:moveTo>
                    <a:lnTo>
                      <a:pt x="1031" y="944"/>
                    </a:lnTo>
                    <a:cubicBezTo>
                      <a:pt x="1031" y="944"/>
                      <a:pt x="926" y="299"/>
                      <a:pt x="793" y="332"/>
                    </a:cubicBezTo>
                    <a:lnTo>
                      <a:pt x="793" y="332"/>
                    </a:lnTo>
                    <a:cubicBezTo>
                      <a:pt x="603" y="379"/>
                      <a:pt x="717" y="123"/>
                      <a:pt x="470" y="23"/>
                    </a:cubicBezTo>
                    <a:lnTo>
                      <a:pt x="470" y="23"/>
                    </a:lnTo>
                    <a:cubicBezTo>
                      <a:pt x="435" y="9"/>
                      <a:pt x="367" y="56"/>
                      <a:pt x="294" y="52"/>
                    </a:cubicBezTo>
                    <a:lnTo>
                      <a:pt x="294" y="52"/>
                    </a:lnTo>
                    <a:cubicBezTo>
                      <a:pt x="179" y="45"/>
                      <a:pt x="53" y="0"/>
                      <a:pt x="33" y="61"/>
                    </a:cubicBezTo>
                    <a:lnTo>
                      <a:pt x="33" y="61"/>
                    </a:lnTo>
                    <a:cubicBezTo>
                      <a:pt x="0" y="161"/>
                      <a:pt x="318" y="304"/>
                      <a:pt x="318" y="441"/>
                    </a:cubicBezTo>
                    <a:lnTo>
                      <a:pt x="318" y="441"/>
                    </a:lnTo>
                    <a:cubicBezTo>
                      <a:pt x="318" y="579"/>
                      <a:pt x="228" y="726"/>
                      <a:pt x="446" y="726"/>
                    </a:cubicBezTo>
                    <a:lnTo>
                      <a:pt x="446" y="726"/>
                    </a:lnTo>
                    <a:cubicBezTo>
                      <a:pt x="665" y="726"/>
                      <a:pt x="1031" y="944"/>
                      <a:pt x="1031" y="9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2" name="Freeform 142">
                <a:extLst>
                  <a:ext uri="{FF2B5EF4-FFF2-40B4-BE49-F238E27FC236}">
                    <a16:creationId xmlns:a16="http://schemas.microsoft.com/office/drawing/2014/main" id="{D710F819-305A-764B-A8E8-83497CD0E3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15112" y="3058882"/>
                <a:ext cx="296670" cy="841048"/>
              </a:xfrm>
              <a:custGeom>
                <a:avLst/>
                <a:gdLst>
                  <a:gd name="T0" fmla="*/ 0 w 453"/>
                  <a:gd name="T1" fmla="*/ 1287 h 1288"/>
                  <a:gd name="T2" fmla="*/ 0 w 453"/>
                  <a:gd name="T3" fmla="*/ 1287 h 1288"/>
                  <a:gd name="T4" fmla="*/ 452 w 453"/>
                  <a:gd name="T5" fmla="*/ 0 h 1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3" h="1288">
                    <a:moveTo>
                      <a:pt x="0" y="1287"/>
                    </a:moveTo>
                    <a:lnTo>
                      <a:pt x="0" y="1287"/>
                    </a:lnTo>
                    <a:cubicBezTo>
                      <a:pt x="114" y="780"/>
                      <a:pt x="263" y="383"/>
                      <a:pt x="452" y="0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3" name="Freeform 143">
                <a:extLst>
                  <a:ext uri="{FF2B5EF4-FFF2-40B4-BE49-F238E27FC236}">
                    <a16:creationId xmlns:a16="http://schemas.microsoft.com/office/drawing/2014/main" id="{B9FF4156-B7EA-6D40-9BFC-AE13A66BD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88016" y="3378597"/>
                <a:ext cx="512694" cy="512694"/>
              </a:xfrm>
              <a:custGeom>
                <a:avLst/>
                <a:gdLst>
                  <a:gd name="T0" fmla="*/ 0 w 787"/>
                  <a:gd name="T1" fmla="*/ 0 h 787"/>
                  <a:gd name="T2" fmla="*/ 0 w 787"/>
                  <a:gd name="T3" fmla="*/ 0 h 787"/>
                  <a:gd name="T4" fmla="*/ 786 w 787"/>
                  <a:gd name="T5" fmla="*/ 786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7" h="787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695" y="421"/>
                      <a:pt x="786" y="786"/>
                    </a:cubicBezTo>
                  </a:path>
                </a:pathLst>
              </a:custGeom>
              <a:noFill/>
              <a:ln w="1800" cap="flat">
                <a:solidFill>
                  <a:schemeClr val="accent2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4" name="Freeform 144">
                <a:extLst>
                  <a:ext uri="{FF2B5EF4-FFF2-40B4-BE49-F238E27FC236}">
                    <a16:creationId xmlns:a16="http://schemas.microsoft.com/office/drawing/2014/main" id="{7563DBD3-E515-BA49-908B-30F2F7B50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0224" y="3859607"/>
                <a:ext cx="135373" cy="63367"/>
              </a:xfrm>
              <a:custGeom>
                <a:avLst/>
                <a:gdLst>
                  <a:gd name="T0" fmla="*/ 206 w 207"/>
                  <a:gd name="T1" fmla="*/ 47 h 96"/>
                  <a:gd name="T2" fmla="*/ 206 w 207"/>
                  <a:gd name="T3" fmla="*/ 47 h 96"/>
                  <a:gd name="T4" fmla="*/ 104 w 207"/>
                  <a:gd name="T5" fmla="*/ 95 h 96"/>
                  <a:gd name="T6" fmla="*/ 104 w 207"/>
                  <a:gd name="T7" fmla="*/ 95 h 96"/>
                  <a:gd name="T8" fmla="*/ 0 w 207"/>
                  <a:gd name="T9" fmla="*/ 47 h 96"/>
                  <a:gd name="T10" fmla="*/ 0 w 207"/>
                  <a:gd name="T11" fmla="*/ 47 h 96"/>
                  <a:gd name="T12" fmla="*/ 104 w 207"/>
                  <a:gd name="T13" fmla="*/ 0 h 96"/>
                  <a:gd name="T14" fmla="*/ 104 w 207"/>
                  <a:gd name="T15" fmla="*/ 0 h 96"/>
                  <a:gd name="T16" fmla="*/ 206 w 207"/>
                  <a:gd name="T1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" h="96">
                    <a:moveTo>
                      <a:pt x="206" y="47"/>
                    </a:moveTo>
                    <a:lnTo>
                      <a:pt x="206" y="47"/>
                    </a:lnTo>
                    <a:cubicBezTo>
                      <a:pt x="206" y="74"/>
                      <a:pt x="160" y="95"/>
                      <a:pt x="104" y="95"/>
                    </a:cubicBezTo>
                    <a:lnTo>
                      <a:pt x="104" y="95"/>
                    </a:lnTo>
                    <a:cubicBezTo>
                      <a:pt x="47" y="95"/>
                      <a:pt x="0" y="74"/>
                      <a:pt x="0" y="47"/>
                    </a:cubicBezTo>
                    <a:lnTo>
                      <a:pt x="0" y="47"/>
                    </a:lnTo>
                    <a:cubicBezTo>
                      <a:pt x="0" y="22"/>
                      <a:pt x="47" y="0"/>
                      <a:pt x="104" y="0"/>
                    </a:cubicBezTo>
                    <a:lnTo>
                      <a:pt x="104" y="0"/>
                    </a:lnTo>
                    <a:cubicBezTo>
                      <a:pt x="160" y="0"/>
                      <a:pt x="206" y="22"/>
                      <a:pt x="206" y="47"/>
                    </a:cubicBezTo>
                  </a:path>
                </a:pathLst>
              </a:custGeom>
              <a:solidFill>
                <a:srgbClr val="AF916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5" name="Freeform 145">
                <a:extLst>
                  <a:ext uri="{FF2B5EF4-FFF2-40B4-BE49-F238E27FC236}">
                    <a16:creationId xmlns:a16="http://schemas.microsoft.com/office/drawing/2014/main" id="{0E148F1D-93AB-3C40-8B8D-EDF2F41B1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76872" y="6748550"/>
                <a:ext cx="622145" cy="2739167"/>
              </a:xfrm>
              <a:custGeom>
                <a:avLst/>
                <a:gdLst>
                  <a:gd name="T0" fmla="*/ 0 w 954"/>
                  <a:gd name="T1" fmla="*/ 121 h 4192"/>
                  <a:gd name="T2" fmla="*/ 0 w 954"/>
                  <a:gd name="T3" fmla="*/ 121 h 4192"/>
                  <a:gd name="T4" fmla="*/ 408 w 954"/>
                  <a:gd name="T5" fmla="*/ 499 h 4192"/>
                  <a:gd name="T6" fmla="*/ 408 w 954"/>
                  <a:gd name="T7" fmla="*/ 499 h 4192"/>
                  <a:gd name="T8" fmla="*/ 363 w 954"/>
                  <a:gd name="T9" fmla="*/ 3404 h 4192"/>
                  <a:gd name="T10" fmla="*/ 363 w 954"/>
                  <a:gd name="T11" fmla="*/ 3404 h 4192"/>
                  <a:gd name="T12" fmla="*/ 166 w 954"/>
                  <a:gd name="T13" fmla="*/ 4161 h 4192"/>
                  <a:gd name="T14" fmla="*/ 166 w 954"/>
                  <a:gd name="T15" fmla="*/ 4161 h 4192"/>
                  <a:gd name="T16" fmla="*/ 666 w 954"/>
                  <a:gd name="T17" fmla="*/ 3783 h 4192"/>
                  <a:gd name="T18" fmla="*/ 666 w 954"/>
                  <a:gd name="T19" fmla="*/ 3783 h 4192"/>
                  <a:gd name="T20" fmla="*/ 878 w 954"/>
                  <a:gd name="T21" fmla="*/ 408 h 4192"/>
                  <a:gd name="T22" fmla="*/ 878 w 954"/>
                  <a:gd name="T23" fmla="*/ 408 h 4192"/>
                  <a:gd name="T24" fmla="*/ 0 w 954"/>
                  <a:gd name="T25" fmla="*/ 121 h 4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4" h="4192">
                    <a:moveTo>
                      <a:pt x="0" y="121"/>
                    </a:moveTo>
                    <a:lnTo>
                      <a:pt x="0" y="121"/>
                    </a:lnTo>
                    <a:cubicBezTo>
                      <a:pt x="0" y="121"/>
                      <a:pt x="317" y="211"/>
                      <a:pt x="408" y="499"/>
                    </a:cubicBezTo>
                    <a:lnTo>
                      <a:pt x="408" y="499"/>
                    </a:lnTo>
                    <a:cubicBezTo>
                      <a:pt x="484" y="737"/>
                      <a:pt x="363" y="3162"/>
                      <a:pt x="363" y="3404"/>
                    </a:cubicBezTo>
                    <a:lnTo>
                      <a:pt x="363" y="3404"/>
                    </a:lnTo>
                    <a:cubicBezTo>
                      <a:pt x="363" y="3646"/>
                      <a:pt x="317" y="3949"/>
                      <a:pt x="166" y="4161"/>
                    </a:cubicBezTo>
                    <a:lnTo>
                      <a:pt x="166" y="4161"/>
                    </a:lnTo>
                    <a:cubicBezTo>
                      <a:pt x="166" y="4161"/>
                      <a:pt x="545" y="4191"/>
                      <a:pt x="666" y="3783"/>
                    </a:cubicBezTo>
                    <a:lnTo>
                      <a:pt x="666" y="3783"/>
                    </a:lnTo>
                    <a:cubicBezTo>
                      <a:pt x="787" y="3374"/>
                      <a:pt x="953" y="604"/>
                      <a:pt x="878" y="408"/>
                    </a:cubicBezTo>
                    <a:lnTo>
                      <a:pt x="878" y="408"/>
                    </a:lnTo>
                    <a:cubicBezTo>
                      <a:pt x="802" y="211"/>
                      <a:pt x="166" y="0"/>
                      <a:pt x="0" y="121"/>
                    </a:cubicBezTo>
                  </a:path>
                </a:pathLst>
              </a:custGeom>
              <a:solidFill>
                <a:srgbClr val="41538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1D7F22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6" name="Freeform 146">
                <a:extLst>
                  <a:ext uri="{FF2B5EF4-FFF2-40B4-BE49-F238E27FC236}">
                    <a16:creationId xmlns:a16="http://schemas.microsoft.com/office/drawing/2014/main" id="{339D1072-AA16-5E42-9D40-0D67D695E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6934" y="4326215"/>
                <a:ext cx="259227" cy="325475"/>
              </a:xfrm>
              <a:custGeom>
                <a:avLst/>
                <a:gdLst>
                  <a:gd name="T0" fmla="*/ 181 w 397"/>
                  <a:gd name="T1" fmla="*/ 0 h 498"/>
                  <a:gd name="T2" fmla="*/ 0 w 397"/>
                  <a:gd name="T3" fmla="*/ 85 h 498"/>
                  <a:gd name="T4" fmla="*/ 0 w 397"/>
                  <a:gd name="T5" fmla="*/ 85 h 498"/>
                  <a:gd name="T6" fmla="*/ 102 w 397"/>
                  <a:gd name="T7" fmla="*/ 453 h 498"/>
                  <a:gd name="T8" fmla="*/ 102 w 397"/>
                  <a:gd name="T9" fmla="*/ 453 h 498"/>
                  <a:gd name="T10" fmla="*/ 379 w 397"/>
                  <a:gd name="T11" fmla="*/ 408 h 498"/>
                  <a:gd name="T12" fmla="*/ 379 w 397"/>
                  <a:gd name="T13" fmla="*/ 408 h 498"/>
                  <a:gd name="T14" fmla="*/ 181 w 397"/>
                  <a:gd name="T1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498">
                    <a:moveTo>
                      <a:pt x="181" y="0"/>
                    </a:moveTo>
                    <a:lnTo>
                      <a:pt x="0" y="85"/>
                    </a:lnTo>
                    <a:lnTo>
                      <a:pt x="0" y="85"/>
                    </a:lnTo>
                    <a:cubicBezTo>
                      <a:pt x="0" y="85"/>
                      <a:pt x="0" y="368"/>
                      <a:pt x="102" y="453"/>
                    </a:cubicBezTo>
                    <a:lnTo>
                      <a:pt x="102" y="453"/>
                    </a:lnTo>
                    <a:cubicBezTo>
                      <a:pt x="155" y="497"/>
                      <a:pt x="362" y="465"/>
                      <a:pt x="379" y="408"/>
                    </a:cubicBezTo>
                    <a:lnTo>
                      <a:pt x="379" y="408"/>
                    </a:lnTo>
                    <a:cubicBezTo>
                      <a:pt x="396" y="351"/>
                      <a:pt x="181" y="0"/>
                      <a:pt x="181" y="0"/>
                    </a:cubicBezTo>
                  </a:path>
                </a:pathLst>
              </a:custGeom>
              <a:noFill/>
              <a:ln w="5760" cap="flat">
                <a:solidFill>
                  <a:schemeClr val="accent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7" name="Freeform 147">
                <a:extLst>
                  <a:ext uri="{FF2B5EF4-FFF2-40B4-BE49-F238E27FC236}">
                    <a16:creationId xmlns:a16="http://schemas.microsoft.com/office/drawing/2014/main" id="{B398778B-EA52-5D47-BE41-9787BE8E7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71098" y="5207589"/>
                <a:ext cx="1592806" cy="1195326"/>
              </a:xfrm>
              <a:custGeom>
                <a:avLst/>
                <a:gdLst>
                  <a:gd name="T0" fmla="*/ 2439 w 2440"/>
                  <a:gd name="T1" fmla="*/ 1076 h 1829"/>
                  <a:gd name="T2" fmla="*/ 2439 w 2440"/>
                  <a:gd name="T3" fmla="*/ 1076 h 1829"/>
                  <a:gd name="T4" fmla="*/ 226 w 2440"/>
                  <a:gd name="T5" fmla="*/ 0 h 1829"/>
                  <a:gd name="T6" fmla="*/ 0 w 2440"/>
                  <a:gd name="T7" fmla="*/ 312 h 1829"/>
                  <a:gd name="T8" fmla="*/ 0 w 2440"/>
                  <a:gd name="T9" fmla="*/ 312 h 1829"/>
                  <a:gd name="T10" fmla="*/ 2312 w 2440"/>
                  <a:gd name="T11" fmla="*/ 1828 h 1829"/>
                  <a:gd name="T12" fmla="*/ 2439 w 2440"/>
                  <a:gd name="T13" fmla="*/ 1076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0" h="1829">
                    <a:moveTo>
                      <a:pt x="2439" y="1076"/>
                    </a:moveTo>
                    <a:lnTo>
                      <a:pt x="2439" y="1076"/>
                    </a:lnTo>
                    <a:cubicBezTo>
                      <a:pt x="2439" y="1076"/>
                      <a:pt x="593" y="153"/>
                      <a:pt x="226" y="0"/>
                    </a:cubicBezTo>
                    <a:lnTo>
                      <a:pt x="0" y="312"/>
                    </a:lnTo>
                    <a:lnTo>
                      <a:pt x="0" y="312"/>
                    </a:lnTo>
                    <a:cubicBezTo>
                      <a:pt x="0" y="312"/>
                      <a:pt x="972" y="1265"/>
                      <a:pt x="2312" y="1828"/>
                    </a:cubicBezTo>
                    <a:lnTo>
                      <a:pt x="2439" y="1076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8" name="Freeform 148">
                <a:extLst>
                  <a:ext uri="{FF2B5EF4-FFF2-40B4-BE49-F238E27FC236}">
                    <a16:creationId xmlns:a16="http://schemas.microsoft.com/office/drawing/2014/main" id="{6362887A-B983-4546-8443-22CE2BD2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43103" y="5256555"/>
                <a:ext cx="1673457" cy="1238530"/>
              </a:xfrm>
              <a:custGeom>
                <a:avLst/>
                <a:gdLst>
                  <a:gd name="T0" fmla="*/ 2559 w 2560"/>
                  <a:gd name="T1" fmla="*/ 298 h 1897"/>
                  <a:gd name="T2" fmla="*/ 2559 w 2560"/>
                  <a:gd name="T3" fmla="*/ 298 h 1897"/>
                  <a:gd name="T4" fmla="*/ 2116 w 2560"/>
                  <a:gd name="T5" fmla="*/ 646 h 1897"/>
                  <a:gd name="T6" fmla="*/ 2116 w 2560"/>
                  <a:gd name="T7" fmla="*/ 646 h 1897"/>
                  <a:gd name="T8" fmla="*/ 425 w 2560"/>
                  <a:gd name="T9" fmla="*/ 8 h 1897"/>
                  <a:gd name="T10" fmla="*/ 425 w 2560"/>
                  <a:gd name="T11" fmla="*/ 8 h 1897"/>
                  <a:gd name="T12" fmla="*/ 311 w 2560"/>
                  <a:gd name="T13" fmla="*/ 27 h 1897"/>
                  <a:gd name="T14" fmla="*/ 311 w 2560"/>
                  <a:gd name="T15" fmla="*/ 27 h 1897"/>
                  <a:gd name="T16" fmla="*/ 23 w 2560"/>
                  <a:gd name="T17" fmla="*/ 353 h 1897"/>
                  <a:gd name="T18" fmla="*/ 23 w 2560"/>
                  <a:gd name="T19" fmla="*/ 353 h 1897"/>
                  <a:gd name="T20" fmla="*/ 70 w 2560"/>
                  <a:gd name="T21" fmla="*/ 547 h 1897"/>
                  <a:gd name="T22" fmla="*/ 70 w 2560"/>
                  <a:gd name="T23" fmla="*/ 547 h 1897"/>
                  <a:gd name="T24" fmla="*/ 2361 w 2560"/>
                  <a:gd name="T25" fmla="*/ 1896 h 1897"/>
                  <a:gd name="T26" fmla="*/ 2559 w 2560"/>
                  <a:gd name="T27" fmla="*/ 298 h 1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60" h="1897">
                    <a:moveTo>
                      <a:pt x="2559" y="298"/>
                    </a:moveTo>
                    <a:lnTo>
                      <a:pt x="2559" y="298"/>
                    </a:lnTo>
                    <a:cubicBezTo>
                      <a:pt x="2473" y="642"/>
                      <a:pt x="2321" y="730"/>
                      <a:pt x="2116" y="646"/>
                    </a:cubicBezTo>
                    <a:lnTo>
                      <a:pt x="2116" y="646"/>
                    </a:lnTo>
                    <a:cubicBezTo>
                      <a:pt x="1575" y="425"/>
                      <a:pt x="925" y="114"/>
                      <a:pt x="425" y="8"/>
                    </a:cubicBezTo>
                    <a:lnTo>
                      <a:pt x="425" y="8"/>
                    </a:lnTo>
                    <a:cubicBezTo>
                      <a:pt x="386" y="0"/>
                      <a:pt x="346" y="7"/>
                      <a:pt x="311" y="27"/>
                    </a:cubicBezTo>
                    <a:lnTo>
                      <a:pt x="311" y="27"/>
                    </a:lnTo>
                    <a:cubicBezTo>
                      <a:pt x="172" y="108"/>
                      <a:pt x="65" y="224"/>
                      <a:pt x="23" y="353"/>
                    </a:cubicBezTo>
                    <a:lnTo>
                      <a:pt x="23" y="353"/>
                    </a:lnTo>
                    <a:cubicBezTo>
                      <a:pt x="0" y="421"/>
                      <a:pt x="20" y="495"/>
                      <a:pt x="70" y="547"/>
                    </a:cubicBezTo>
                    <a:lnTo>
                      <a:pt x="70" y="547"/>
                    </a:lnTo>
                    <a:cubicBezTo>
                      <a:pt x="328" y="808"/>
                      <a:pt x="1286" y="1712"/>
                      <a:pt x="2361" y="1896"/>
                    </a:cubicBezTo>
                    <a:lnTo>
                      <a:pt x="2559" y="298"/>
                    </a:ln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9CB8714D-FAE9-034E-AF3B-3128216D8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8079" y="10841459"/>
                <a:ext cx="1316297" cy="843930"/>
              </a:xfrm>
              <a:custGeom>
                <a:avLst/>
                <a:gdLst>
                  <a:gd name="T0" fmla="*/ 1889 w 2017"/>
                  <a:gd name="T1" fmla="*/ 1128 h 1292"/>
                  <a:gd name="T2" fmla="*/ 1889 w 2017"/>
                  <a:gd name="T3" fmla="*/ 1128 h 1292"/>
                  <a:gd name="T4" fmla="*/ 1908 w 2017"/>
                  <a:gd name="T5" fmla="*/ 843 h 1292"/>
                  <a:gd name="T6" fmla="*/ 531 w 2017"/>
                  <a:gd name="T7" fmla="*/ 8 h 1292"/>
                  <a:gd name="T8" fmla="*/ 531 w 2017"/>
                  <a:gd name="T9" fmla="*/ 8 h 1292"/>
                  <a:gd name="T10" fmla="*/ 491 w 2017"/>
                  <a:gd name="T11" fmla="*/ 6 h 1292"/>
                  <a:gd name="T12" fmla="*/ 131 w 2017"/>
                  <a:gd name="T13" fmla="*/ 180 h 1292"/>
                  <a:gd name="T14" fmla="*/ 131 w 2017"/>
                  <a:gd name="T15" fmla="*/ 180 h 1292"/>
                  <a:gd name="T16" fmla="*/ 117 w 2017"/>
                  <a:gd name="T17" fmla="*/ 528 h 1292"/>
                  <a:gd name="T18" fmla="*/ 117 w 2017"/>
                  <a:gd name="T19" fmla="*/ 528 h 1292"/>
                  <a:gd name="T20" fmla="*/ 1106 w 2017"/>
                  <a:gd name="T21" fmla="*/ 1147 h 1292"/>
                  <a:gd name="T22" fmla="*/ 1106 w 2017"/>
                  <a:gd name="T23" fmla="*/ 1147 h 1292"/>
                  <a:gd name="T24" fmla="*/ 1889 w 2017"/>
                  <a:gd name="T25" fmla="*/ 1128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7" h="1292">
                    <a:moveTo>
                      <a:pt x="1889" y="1128"/>
                    </a:moveTo>
                    <a:lnTo>
                      <a:pt x="1889" y="1128"/>
                    </a:lnTo>
                    <a:cubicBezTo>
                      <a:pt x="2001" y="1063"/>
                      <a:pt x="2016" y="916"/>
                      <a:pt x="1908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0"/>
                      <a:pt x="504" y="0"/>
                      <a:pt x="491" y="6"/>
                    </a:cubicBezTo>
                    <a:lnTo>
                      <a:pt x="131" y="180"/>
                    </a:lnTo>
                    <a:lnTo>
                      <a:pt x="131" y="180"/>
                    </a:lnTo>
                    <a:cubicBezTo>
                      <a:pt x="0" y="244"/>
                      <a:pt x="7" y="433"/>
                      <a:pt x="117" y="528"/>
                    </a:cubicBezTo>
                    <a:lnTo>
                      <a:pt x="117" y="528"/>
                    </a:lnTo>
                    <a:cubicBezTo>
                      <a:pt x="315" y="699"/>
                      <a:pt x="573" y="917"/>
                      <a:pt x="1106" y="1147"/>
                    </a:cubicBezTo>
                    <a:lnTo>
                      <a:pt x="1106" y="1147"/>
                    </a:lnTo>
                    <a:cubicBezTo>
                      <a:pt x="1371" y="1263"/>
                      <a:pt x="1604" y="1291"/>
                      <a:pt x="1889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B6528DEC-434D-E24E-812E-80EA41E0A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5361" y="10648480"/>
                <a:ext cx="1270212" cy="1002345"/>
              </a:xfrm>
              <a:custGeom>
                <a:avLst/>
                <a:gdLst>
                  <a:gd name="T0" fmla="*/ 1899 w 1946"/>
                  <a:gd name="T1" fmla="*/ 1203 h 1533"/>
                  <a:gd name="T2" fmla="*/ 1899 w 1946"/>
                  <a:gd name="T3" fmla="*/ 1203 h 1533"/>
                  <a:gd name="T4" fmla="*/ 1760 w 1946"/>
                  <a:gd name="T5" fmla="*/ 539 h 1533"/>
                  <a:gd name="T6" fmla="*/ 1760 w 1946"/>
                  <a:gd name="T7" fmla="*/ 539 h 1533"/>
                  <a:gd name="T8" fmla="*/ 1327 w 1946"/>
                  <a:gd name="T9" fmla="*/ 433 h 1533"/>
                  <a:gd name="T10" fmla="*/ 1327 w 1946"/>
                  <a:gd name="T11" fmla="*/ 433 h 1533"/>
                  <a:gd name="T12" fmla="*/ 128 w 1946"/>
                  <a:gd name="T13" fmla="*/ 258 h 1533"/>
                  <a:gd name="T14" fmla="*/ 128 w 1946"/>
                  <a:gd name="T15" fmla="*/ 258 h 1533"/>
                  <a:gd name="T16" fmla="*/ 76 w 1946"/>
                  <a:gd name="T17" fmla="*/ 688 h 1533"/>
                  <a:gd name="T18" fmla="*/ 76 w 1946"/>
                  <a:gd name="T19" fmla="*/ 688 h 1533"/>
                  <a:gd name="T20" fmla="*/ 1230 w 1946"/>
                  <a:gd name="T21" fmla="*/ 1442 h 1533"/>
                  <a:gd name="T22" fmla="*/ 1230 w 1946"/>
                  <a:gd name="T23" fmla="*/ 1442 h 1533"/>
                  <a:gd name="T24" fmla="*/ 1899 w 1946"/>
                  <a:gd name="T25" fmla="*/ 1203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6" h="1533">
                    <a:moveTo>
                      <a:pt x="1899" y="1203"/>
                    </a:moveTo>
                    <a:lnTo>
                      <a:pt x="1899" y="1203"/>
                    </a:lnTo>
                    <a:cubicBezTo>
                      <a:pt x="1888" y="1156"/>
                      <a:pt x="1928" y="679"/>
                      <a:pt x="1760" y="539"/>
                    </a:cubicBezTo>
                    <a:lnTo>
                      <a:pt x="1760" y="539"/>
                    </a:lnTo>
                    <a:cubicBezTo>
                      <a:pt x="1666" y="462"/>
                      <a:pt x="1468" y="443"/>
                      <a:pt x="1327" y="433"/>
                    </a:cubicBezTo>
                    <a:lnTo>
                      <a:pt x="1327" y="433"/>
                    </a:lnTo>
                    <a:cubicBezTo>
                      <a:pt x="1028" y="413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40"/>
                      <a:pt x="76" y="688"/>
                    </a:cubicBezTo>
                    <a:lnTo>
                      <a:pt x="76" y="688"/>
                    </a:lnTo>
                    <a:cubicBezTo>
                      <a:pt x="189" y="904"/>
                      <a:pt x="1015" y="1382"/>
                      <a:pt x="1230" y="1442"/>
                    </a:cubicBezTo>
                    <a:lnTo>
                      <a:pt x="1230" y="1442"/>
                    </a:lnTo>
                    <a:cubicBezTo>
                      <a:pt x="1558" y="1532"/>
                      <a:pt x="1945" y="1414"/>
                      <a:pt x="1899" y="1203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F7524DA4-29B1-1746-A490-8A5AFE37D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22855" y="11348393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6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6" y="583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0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DB1517FD-9654-DE4F-AEF4-5E46A0935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16284" y="11380076"/>
                <a:ext cx="414764" cy="492531"/>
              </a:xfrm>
              <a:custGeom>
                <a:avLst/>
                <a:gdLst>
                  <a:gd name="T0" fmla="*/ 376 w 635"/>
                  <a:gd name="T1" fmla="*/ 755 h 756"/>
                  <a:gd name="T2" fmla="*/ 376 w 635"/>
                  <a:gd name="T3" fmla="*/ 755 h 756"/>
                  <a:gd name="T4" fmla="*/ 634 w 635"/>
                  <a:gd name="T5" fmla="*/ 610 h 756"/>
                  <a:gd name="T6" fmla="*/ 268 w 635"/>
                  <a:gd name="T7" fmla="*/ 0 h 756"/>
                  <a:gd name="T8" fmla="*/ 268 w 635"/>
                  <a:gd name="T9" fmla="*/ 0 h 756"/>
                  <a:gd name="T10" fmla="*/ 0 w 635"/>
                  <a:gd name="T11" fmla="*/ 180 h 756"/>
                  <a:gd name="T12" fmla="*/ 376 w 635"/>
                  <a:gd name="T13" fmla="*/ 755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6">
                    <a:moveTo>
                      <a:pt x="376" y="755"/>
                    </a:moveTo>
                    <a:lnTo>
                      <a:pt x="376" y="755"/>
                    </a:lnTo>
                    <a:cubicBezTo>
                      <a:pt x="526" y="739"/>
                      <a:pt x="604" y="674"/>
                      <a:pt x="634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5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FF59B487-E072-1046-816A-6361CC7E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4764" y="11417521"/>
                <a:ext cx="336994" cy="489651"/>
              </a:xfrm>
              <a:custGeom>
                <a:avLst/>
                <a:gdLst>
                  <a:gd name="T0" fmla="*/ 258 w 517"/>
                  <a:gd name="T1" fmla="*/ 82 h 748"/>
                  <a:gd name="T2" fmla="*/ 258 w 517"/>
                  <a:gd name="T3" fmla="*/ 82 h 748"/>
                  <a:gd name="T4" fmla="*/ 0 w 517"/>
                  <a:gd name="T5" fmla="*/ 224 h 748"/>
                  <a:gd name="T6" fmla="*/ 0 w 517"/>
                  <a:gd name="T7" fmla="*/ 224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2 h 748"/>
                  <a:gd name="T14" fmla="*/ 516 w 517"/>
                  <a:gd name="T15" fmla="*/ 522 h 748"/>
                  <a:gd name="T16" fmla="*/ 258 w 517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8" y="665"/>
                    </a:cubicBezTo>
                    <a:lnTo>
                      <a:pt x="258" y="665"/>
                    </a:lnTo>
                    <a:cubicBezTo>
                      <a:pt x="400" y="747"/>
                      <a:pt x="516" y="683"/>
                      <a:pt x="516" y="522"/>
                    </a:cubicBezTo>
                    <a:lnTo>
                      <a:pt x="516" y="522"/>
                    </a:lnTo>
                    <a:cubicBezTo>
                      <a:pt x="516" y="361"/>
                      <a:pt x="400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4" name="Freeform 157">
                <a:extLst>
                  <a:ext uri="{FF2B5EF4-FFF2-40B4-BE49-F238E27FC236}">
                    <a16:creationId xmlns:a16="http://schemas.microsoft.com/office/drawing/2014/main" id="{D2F85F52-2349-FB49-B656-BB3F21CF2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14403" y="11322472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0" y="0"/>
                      <a:pt x="516" y="64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0" y="583"/>
                      <a:pt x="258" y="665"/>
                    </a:cubicBezTo>
                    <a:lnTo>
                      <a:pt x="258" y="665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5" name="Freeform 158">
                <a:extLst>
                  <a:ext uri="{FF2B5EF4-FFF2-40B4-BE49-F238E27FC236}">
                    <a16:creationId xmlns:a16="http://schemas.microsoft.com/office/drawing/2014/main" id="{0142E2D6-08F1-064F-8136-56C467277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43205" y="11354154"/>
                <a:ext cx="414764" cy="492533"/>
              </a:xfrm>
              <a:custGeom>
                <a:avLst/>
                <a:gdLst>
                  <a:gd name="T0" fmla="*/ 258 w 635"/>
                  <a:gd name="T1" fmla="*/ 754 h 755"/>
                  <a:gd name="T2" fmla="*/ 258 w 635"/>
                  <a:gd name="T3" fmla="*/ 754 h 755"/>
                  <a:gd name="T4" fmla="*/ 0 w 635"/>
                  <a:gd name="T5" fmla="*/ 610 h 755"/>
                  <a:gd name="T6" fmla="*/ 366 w 635"/>
                  <a:gd name="T7" fmla="*/ 0 h 755"/>
                  <a:gd name="T8" fmla="*/ 366 w 635"/>
                  <a:gd name="T9" fmla="*/ 0 h 755"/>
                  <a:gd name="T10" fmla="*/ 634 w 635"/>
                  <a:gd name="T11" fmla="*/ 180 h 755"/>
                  <a:gd name="T12" fmla="*/ 258 w 635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9" y="738"/>
                      <a:pt x="30" y="674"/>
                      <a:pt x="0" y="610"/>
                    </a:cubicBezTo>
                    <a:lnTo>
                      <a:pt x="366" y="0"/>
                    </a:lnTo>
                    <a:lnTo>
                      <a:pt x="366" y="0"/>
                    </a:lnTo>
                    <a:cubicBezTo>
                      <a:pt x="447" y="20"/>
                      <a:pt x="594" y="89"/>
                      <a:pt x="634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6" name="Freeform 159">
                <a:extLst>
                  <a:ext uri="{FF2B5EF4-FFF2-40B4-BE49-F238E27FC236}">
                    <a16:creationId xmlns:a16="http://schemas.microsoft.com/office/drawing/2014/main" id="{3403E308-4F8F-BB45-B89C-BC84BCC46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35375" y="11391599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0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0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7" name="Freeform 161">
                <a:extLst>
                  <a:ext uri="{FF2B5EF4-FFF2-40B4-BE49-F238E27FC236}">
                    <a16:creationId xmlns:a16="http://schemas.microsoft.com/office/drawing/2014/main" id="{38A8B8CB-DBC2-8143-9038-1C8BE264E0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3143" y="12491874"/>
                <a:ext cx="336994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516 w 517"/>
                  <a:gd name="T5" fmla="*/ 225 h 748"/>
                  <a:gd name="T6" fmla="*/ 516 w 517"/>
                  <a:gd name="T7" fmla="*/ 225 h 748"/>
                  <a:gd name="T8" fmla="*/ 258 w 517"/>
                  <a:gd name="T9" fmla="*/ 666 h 748"/>
                  <a:gd name="T10" fmla="*/ 258 w 517"/>
                  <a:gd name="T11" fmla="*/ 666 h 748"/>
                  <a:gd name="T12" fmla="*/ 0 w 517"/>
                  <a:gd name="T13" fmla="*/ 523 h 748"/>
                  <a:gd name="T14" fmla="*/ 0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401" y="0"/>
                      <a:pt x="516" y="65"/>
                      <a:pt x="516" y="225"/>
                    </a:cubicBezTo>
                    <a:lnTo>
                      <a:pt x="516" y="225"/>
                    </a:lnTo>
                    <a:cubicBezTo>
                      <a:pt x="516" y="386"/>
                      <a:pt x="401" y="583"/>
                      <a:pt x="258" y="666"/>
                    </a:cubicBezTo>
                    <a:lnTo>
                      <a:pt x="258" y="666"/>
                    </a:lnTo>
                    <a:cubicBezTo>
                      <a:pt x="115" y="747"/>
                      <a:pt x="0" y="684"/>
                      <a:pt x="0" y="523"/>
                    </a:cubicBezTo>
                    <a:lnTo>
                      <a:pt x="0" y="523"/>
                    </a:lnTo>
                    <a:cubicBezTo>
                      <a:pt x="0" y="362"/>
                      <a:pt x="115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8" name="Freeform 162">
                <a:extLst>
                  <a:ext uri="{FF2B5EF4-FFF2-40B4-BE49-F238E27FC236}">
                    <a16:creationId xmlns:a16="http://schemas.microsoft.com/office/drawing/2014/main" id="{1A6A2E4F-B861-484A-B31A-D3AB6E795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1945" y="12523556"/>
                <a:ext cx="414764" cy="492533"/>
              </a:xfrm>
              <a:custGeom>
                <a:avLst/>
                <a:gdLst>
                  <a:gd name="T0" fmla="*/ 258 w 634"/>
                  <a:gd name="T1" fmla="*/ 754 h 755"/>
                  <a:gd name="T2" fmla="*/ 258 w 634"/>
                  <a:gd name="T3" fmla="*/ 754 h 755"/>
                  <a:gd name="T4" fmla="*/ 0 w 634"/>
                  <a:gd name="T5" fmla="*/ 610 h 755"/>
                  <a:gd name="T6" fmla="*/ 365 w 634"/>
                  <a:gd name="T7" fmla="*/ 0 h 755"/>
                  <a:gd name="T8" fmla="*/ 365 w 634"/>
                  <a:gd name="T9" fmla="*/ 0 h 755"/>
                  <a:gd name="T10" fmla="*/ 633 w 634"/>
                  <a:gd name="T11" fmla="*/ 180 h 755"/>
                  <a:gd name="T12" fmla="*/ 258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258" y="754"/>
                    </a:moveTo>
                    <a:lnTo>
                      <a:pt x="258" y="754"/>
                    </a:lnTo>
                    <a:cubicBezTo>
                      <a:pt x="108" y="738"/>
                      <a:pt x="30" y="674"/>
                      <a:pt x="0" y="610"/>
                    </a:cubicBezTo>
                    <a:lnTo>
                      <a:pt x="365" y="0"/>
                    </a:lnTo>
                    <a:lnTo>
                      <a:pt x="365" y="0"/>
                    </a:lnTo>
                    <a:cubicBezTo>
                      <a:pt x="446" y="20"/>
                      <a:pt x="593" y="89"/>
                      <a:pt x="633" y="180"/>
                    </a:cubicBezTo>
                    <a:lnTo>
                      <a:pt x="258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89" name="Freeform 163">
                <a:extLst>
                  <a:ext uri="{FF2B5EF4-FFF2-40B4-BE49-F238E27FC236}">
                    <a16:creationId xmlns:a16="http://schemas.microsoft.com/office/drawing/2014/main" id="{9F29B590-F24E-8B46-839B-EF011803E3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21233" y="12561002"/>
                <a:ext cx="336996" cy="486770"/>
              </a:xfrm>
              <a:custGeom>
                <a:avLst/>
                <a:gdLst>
                  <a:gd name="T0" fmla="*/ 258 w 517"/>
                  <a:gd name="T1" fmla="*/ 82 h 747"/>
                  <a:gd name="T2" fmla="*/ 258 w 517"/>
                  <a:gd name="T3" fmla="*/ 82 h 747"/>
                  <a:gd name="T4" fmla="*/ 516 w 517"/>
                  <a:gd name="T5" fmla="*/ 224 h 747"/>
                  <a:gd name="T6" fmla="*/ 516 w 517"/>
                  <a:gd name="T7" fmla="*/ 224 h 747"/>
                  <a:gd name="T8" fmla="*/ 258 w 517"/>
                  <a:gd name="T9" fmla="*/ 664 h 747"/>
                  <a:gd name="T10" fmla="*/ 258 w 517"/>
                  <a:gd name="T11" fmla="*/ 664 h 747"/>
                  <a:gd name="T12" fmla="*/ 0 w 517"/>
                  <a:gd name="T13" fmla="*/ 522 h 747"/>
                  <a:gd name="T14" fmla="*/ 0 w 517"/>
                  <a:gd name="T15" fmla="*/ 522 h 747"/>
                  <a:gd name="T16" fmla="*/ 258 w 517"/>
                  <a:gd name="T17" fmla="*/ 82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7">
                    <a:moveTo>
                      <a:pt x="258" y="82"/>
                    </a:moveTo>
                    <a:lnTo>
                      <a:pt x="258" y="82"/>
                    </a:lnTo>
                    <a:cubicBezTo>
                      <a:pt x="401" y="0"/>
                      <a:pt x="516" y="63"/>
                      <a:pt x="516" y="224"/>
                    </a:cubicBezTo>
                    <a:lnTo>
                      <a:pt x="516" y="224"/>
                    </a:lnTo>
                    <a:cubicBezTo>
                      <a:pt x="516" y="385"/>
                      <a:pt x="401" y="582"/>
                      <a:pt x="258" y="664"/>
                    </a:cubicBezTo>
                    <a:lnTo>
                      <a:pt x="258" y="664"/>
                    </a:lnTo>
                    <a:cubicBezTo>
                      <a:pt x="116" y="746"/>
                      <a:pt x="0" y="683"/>
                      <a:pt x="0" y="522"/>
                    </a:cubicBezTo>
                    <a:lnTo>
                      <a:pt x="0" y="522"/>
                    </a:lnTo>
                    <a:cubicBezTo>
                      <a:pt x="0" y="361"/>
                      <a:pt x="116" y="164"/>
                      <a:pt x="258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439BEC98-18E7-FF41-AC65-A4400E351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98742" y="12353620"/>
                <a:ext cx="336996" cy="489651"/>
              </a:xfrm>
              <a:custGeom>
                <a:avLst/>
                <a:gdLst>
                  <a:gd name="T0" fmla="*/ 258 w 517"/>
                  <a:gd name="T1" fmla="*/ 83 h 748"/>
                  <a:gd name="T2" fmla="*/ 258 w 517"/>
                  <a:gd name="T3" fmla="*/ 83 h 748"/>
                  <a:gd name="T4" fmla="*/ 0 w 517"/>
                  <a:gd name="T5" fmla="*/ 225 h 748"/>
                  <a:gd name="T6" fmla="*/ 0 w 517"/>
                  <a:gd name="T7" fmla="*/ 225 h 748"/>
                  <a:gd name="T8" fmla="*/ 258 w 517"/>
                  <a:gd name="T9" fmla="*/ 665 h 748"/>
                  <a:gd name="T10" fmla="*/ 258 w 517"/>
                  <a:gd name="T11" fmla="*/ 665 h 748"/>
                  <a:gd name="T12" fmla="*/ 516 w 517"/>
                  <a:gd name="T13" fmla="*/ 523 h 748"/>
                  <a:gd name="T14" fmla="*/ 516 w 517"/>
                  <a:gd name="T15" fmla="*/ 523 h 748"/>
                  <a:gd name="T16" fmla="*/ 258 w 517"/>
                  <a:gd name="T17" fmla="*/ 83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7" h="748">
                    <a:moveTo>
                      <a:pt x="258" y="83"/>
                    </a:moveTo>
                    <a:lnTo>
                      <a:pt x="258" y="83"/>
                    </a:lnTo>
                    <a:cubicBezTo>
                      <a:pt x="115" y="0"/>
                      <a:pt x="0" y="65"/>
                      <a:pt x="0" y="225"/>
                    </a:cubicBezTo>
                    <a:lnTo>
                      <a:pt x="0" y="225"/>
                    </a:lnTo>
                    <a:cubicBezTo>
                      <a:pt x="0" y="386"/>
                      <a:pt x="115" y="583"/>
                      <a:pt x="258" y="665"/>
                    </a:cubicBezTo>
                    <a:lnTo>
                      <a:pt x="258" y="665"/>
                    </a:lnTo>
                    <a:cubicBezTo>
                      <a:pt x="401" y="747"/>
                      <a:pt x="516" y="684"/>
                      <a:pt x="516" y="523"/>
                    </a:cubicBezTo>
                    <a:lnTo>
                      <a:pt x="516" y="523"/>
                    </a:lnTo>
                    <a:cubicBezTo>
                      <a:pt x="516" y="362"/>
                      <a:pt x="401" y="165"/>
                      <a:pt x="258" y="83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F6437867-85A8-874C-B300-B5477C4CB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92171" y="12388182"/>
                <a:ext cx="414764" cy="492531"/>
              </a:xfrm>
              <a:custGeom>
                <a:avLst/>
                <a:gdLst>
                  <a:gd name="T0" fmla="*/ 376 w 634"/>
                  <a:gd name="T1" fmla="*/ 754 h 755"/>
                  <a:gd name="T2" fmla="*/ 376 w 634"/>
                  <a:gd name="T3" fmla="*/ 754 h 755"/>
                  <a:gd name="T4" fmla="*/ 633 w 634"/>
                  <a:gd name="T5" fmla="*/ 610 h 755"/>
                  <a:gd name="T6" fmla="*/ 268 w 634"/>
                  <a:gd name="T7" fmla="*/ 0 h 755"/>
                  <a:gd name="T8" fmla="*/ 268 w 634"/>
                  <a:gd name="T9" fmla="*/ 0 h 755"/>
                  <a:gd name="T10" fmla="*/ 0 w 634"/>
                  <a:gd name="T11" fmla="*/ 180 h 755"/>
                  <a:gd name="T12" fmla="*/ 376 w 634"/>
                  <a:gd name="T13" fmla="*/ 754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4" h="755">
                    <a:moveTo>
                      <a:pt x="376" y="754"/>
                    </a:moveTo>
                    <a:lnTo>
                      <a:pt x="376" y="754"/>
                    </a:lnTo>
                    <a:cubicBezTo>
                      <a:pt x="525" y="739"/>
                      <a:pt x="603" y="674"/>
                      <a:pt x="633" y="610"/>
                    </a:cubicBezTo>
                    <a:lnTo>
                      <a:pt x="268" y="0"/>
                    </a:lnTo>
                    <a:lnTo>
                      <a:pt x="268" y="0"/>
                    </a:lnTo>
                    <a:cubicBezTo>
                      <a:pt x="187" y="20"/>
                      <a:pt x="40" y="89"/>
                      <a:pt x="0" y="180"/>
                    </a:cubicBezTo>
                    <a:lnTo>
                      <a:pt x="376" y="754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4E19FEDC-F956-6647-82CD-92B4695A3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77769" y="12422747"/>
                <a:ext cx="336996" cy="489651"/>
              </a:xfrm>
              <a:custGeom>
                <a:avLst/>
                <a:gdLst>
                  <a:gd name="T0" fmla="*/ 259 w 518"/>
                  <a:gd name="T1" fmla="*/ 82 h 748"/>
                  <a:gd name="T2" fmla="*/ 259 w 518"/>
                  <a:gd name="T3" fmla="*/ 82 h 748"/>
                  <a:gd name="T4" fmla="*/ 0 w 518"/>
                  <a:gd name="T5" fmla="*/ 224 h 748"/>
                  <a:gd name="T6" fmla="*/ 0 w 518"/>
                  <a:gd name="T7" fmla="*/ 224 h 748"/>
                  <a:gd name="T8" fmla="*/ 259 w 518"/>
                  <a:gd name="T9" fmla="*/ 665 h 748"/>
                  <a:gd name="T10" fmla="*/ 259 w 518"/>
                  <a:gd name="T11" fmla="*/ 665 h 748"/>
                  <a:gd name="T12" fmla="*/ 517 w 518"/>
                  <a:gd name="T13" fmla="*/ 522 h 748"/>
                  <a:gd name="T14" fmla="*/ 517 w 518"/>
                  <a:gd name="T15" fmla="*/ 522 h 748"/>
                  <a:gd name="T16" fmla="*/ 259 w 518"/>
                  <a:gd name="T17" fmla="*/ 82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8" h="748">
                    <a:moveTo>
                      <a:pt x="259" y="82"/>
                    </a:moveTo>
                    <a:lnTo>
                      <a:pt x="259" y="82"/>
                    </a:lnTo>
                    <a:cubicBezTo>
                      <a:pt x="116" y="0"/>
                      <a:pt x="0" y="64"/>
                      <a:pt x="0" y="224"/>
                    </a:cubicBezTo>
                    <a:lnTo>
                      <a:pt x="0" y="224"/>
                    </a:lnTo>
                    <a:cubicBezTo>
                      <a:pt x="0" y="385"/>
                      <a:pt x="116" y="582"/>
                      <a:pt x="259" y="665"/>
                    </a:cubicBezTo>
                    <a:lnTo>
                      <a:pt x="259" y="665"/>
                    </a:lnTo>
                    <a:cubicBezTo>
                      <a:pt x="401" y="747"/>
                      <a:pt x="517" y="683"/>
                      <a:pt x="517" y="522"/>
                    </a:cubicBezTo>
                    <a:lnTo>
                      <a:pt x="517" y="522"/>
                    </a:lnTo>
                    <a:cubicBezTo>
                      <a:pt x="517" y="361"/>
                      <a:pt x="401" y="164"/>
                      <a:pt x="259" y="82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3" name="Freeform 492">
                <a:extLst>
                  <a:ext uri="{FF2B5EF4-FFF2-40B4-BE49-F238E27FC236}">
                    <a16:creationId xmlns:a16="http://schemas.microsoft.com/office/drawing/2014/main" id="{0561CEF0-12C5-EB4B-AAEB-630665D99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1" y="11487492"/>
                <a:ext cx="2341035" cy="1464011"/>
              </a:xfrm>
              <a:custGeom>
                <a:avLst/>
                <a:gdLst>
                  <a:gd name="connsiteX0" fmla="*/ 161670 w 2341035"/>
                  <a:gd name="connsiteY0" fmla="*/ 1169757 h 1464011"/>
                  <a:gd name="connsiteX1" fmla="*/ 232647 w 2341035"/>
                  <a:gd name="connsiteY1" fmla="*/ 1249169 h 1464011"/>
                  <a:gd name="connsiteX2" fmla="*/ 116323 w 2341035"/>
                  <a:gd name="connsiteY2" fmla="*/ 1448094 h 1464011"/>
                  <a:gd name="connsiteX3" fmla="*/ 0 w 2341035"/>
                  <a:gd name="connsiteY3" fmla="*/ 1383967 h 1464011"/>
                  <a:gd name="connsiteX4" fmla="*/ 116323 w 2341035"/>
                  <a:gd name="connsiteY4" fmla="*/ 1185696 h 1464011"/>
                  <a:gd name="connsiteX5" fmla="*/ 161670 w 2341035"/>
                  <a:gd name="connsiteY5" fmla="*/ 1169757 h 1464011"/>
                  <a:gd name="connsiteX6" fmla="*/ 2122611 w 2341035"/>
                  <a:gd name="connsiteY6" fmla="*/ 1026778 h 1464011"/>
                  <a:gd name="connsiteX7" fmla="*/ 2170307 w 2341035"/>
                  <a:gd name="connsiteY7" fmla="*/ 1043528 h 1464011"/>
                  <a:gd name="connsiteX8" fmla="*/ 2292069 w 2341035"/>
                  <a:gd name="connsiteY8" fmla="*/ 1251657 h 1464011"/>
                  <a:gd name="connsiteX9" fmla="*/ 2170307 w 2341035"/>
                  <a:gd name="connsiteY9" fmla="*/ 1319510 h 1464011"/>
                  <a:gd name="connsiteX10" fmla="*/ 2047893 w 2341035"/>
                  <a:gd name="connsiteY10" fmla="*/ 1110729 h 1464011"/>
                  <a:gd name="connsiteX11" fmla="*/ 2122611 w 2341035"/>
                  <a:gd name="connsiteY11" fmla="*/ 1026778 h 1464011"/>
                  <a:gd name="connsiteX12" fmla="*/ 145186 w 2341035"/>
                  <a:gd name="connsiteY12" fmla="*/ 16309 h 1464011"/>
                  <a:gd name="connsiteX13" fmla="*/ 194093 w 2341035"/>
                  <a:gd name="connsiteY13" fmla="*/ 33384 h 1464011"/>
                  <a:gd name="connsiteX14" fmla="*/ 319060 w 2341035"/>
                  <a:gd name="connsiteY14" fmla="*/ 248405 h 1464011"/>
                  <a:gd name="connsiteX15" fmla="*/ 194093 w 2341035"/>
                  <a:gd name="connsiteY15" fmla="*/ 318550 h 1464011"/>
                  <a:gd name="connsiteX16" fmla="*/ 69126 w 2341035"/>
                  <a:gd name="connsiteY16" fmla="*/ 102872 h 1464011"/>
                  <a:gd name="connsiteX17" fmla="*/ 145186 w 2341035"/>
                  <a:gd name="connsiteY17" fmla="*/ 16309 h 1464011"/>
                  <a:gd name="connsiteX18" fmla="*/ 2270026 w 2341035"/>
                  <a:gd name="connsiteY18" fmla="*/ 390 h 1464011"/>
                  <a:gd name="connsiteX19" fmla="*/ 2341035 w 2341035"/>
                  <a:gd name="connsiteY19" fmla="*/ 81153 h 1464011"/>
                  <a:gd name="connsiteX20" fmla="*/ 2224708 w 2341035"/>
                  <a:gd name="connsiteY20" fmla="*/ 280888 h 1464011"/>
                  <a:gd name="connsiteX21" fmla="*/ 2108381 w 2341035"/>
                  <a:gd name="connsiteY21" fmla="*/ 216056 h 1464011"/>
                  <a:gd name="connsiteX22" fmla="*/ 2224708 w 2341035"/>
                  <a:gd name="connsiteY22" fmla="*/ 16321 h 1464011"/>
                  <a:gd name="connsiteX23" fmla="*/ 2270026 w 2341035"/>
                  <a:gd name="connsiteY23" fmla="*/ 390 h 1464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1035" h="1464011">
                    <a:moveTo>
                      <a:pt x="161670" y="1169757"/>
                    </a:moveTo>
                    <a:cubicBezTo>
                      <a:pt x="203443" y="1165493"/>
                      <a:pt x="232647" y="1195185"/>
                      <a:pt x="232647" y="1249169"/>
                    </a:cubicBezTo>
                    <a:cubicBezTo>
                      <a:pt x="232647" y="1321803"/>
                      <a:pt x="180728" y="1410795"/>
                      <a:pt x="116323" y="1448094"/>
                    </a:cubicBezTo>
                    <a:cubicBezTo>
                      <a:pt x="51918" y="1484738"/>
                      <a:pt x="0" y="1455946"/>
                      <a:pt x="0" y="1383967"/>
                    </a:cubicBezTo>
                    <a:cubicBezTo>
                      <a:pt x="0" y="1311333"/>
                      <a:pt x="51918" y="1222340"/>
                      <a:pt x="116323" y="1185696"/>
                    </a:cubicBezTo>
                    <a:cubicBezTo>
                      <a:pt x="132424" y="1176372"/>
                      <a:pt x="147745" y="1171178"/>
                      <a:pt x="161670" y="1169757"/>
                    </a:cubicBezTo>
                    <a:close/>
                    <a:moveTo>
                      <a:pt x="2122611" y="1026778"/>
                    </a:moveTo>
                    <a:cubicBezTo>
                      <a:pt x="2137262" y="1028277"/>
                      <a:pt x="2153377" y="1033741"/>
                      <a:pt x="2170307" y="1043528"/>
                    </a:cubicBezTo>
                    <a:cubicBezTo>
                      <a:pt x="2237373" y="1082022"/>
                      <a:pt x="2292069" y="1175973"/>
                      <a:pt x="2292069" y="1251657"/>
                    </a:cubicBezTo>
                    <a:cubicBezTo>
                      <a:pt x="2292069" y="1327992"/>
                      <a:pt x="2237373" y="1358005"/>
                      <a:pt x="2170307" y="1319510"/>
                    </a:cubicBezTo>
                    <a:cubicBezTo>
                      <a:pt x="2102588" y="1280364"/>
                      <a:pt x="2047893" y="1187065"/>
                      <a:pt x="2047893" y="1110729"/>
                    </a:cubicBezTo>
                    <a:cubicBezTo>
                      <a:pt x="2047893" y="1053477"/>
                      <a:pt x="2078659" y="1022282"/>
                      <a:pt x="2122611" y="1026778"/>
                    </a:cubicBezTo>
                    <a:close/>
                    <a:moveTo>
                      <a:pt x="145186" y="16309"/>
                    </a:moveTo>
                    <a:cubicBezTo>
                      <a:pt x="160166" y="17815"/>
                      <a:pt x="176682" y="23387"/>
                      <a:pt x="194093" y="33384"/>
                    </a:cubicBezTo>
                    <a:cubicBezTo>
                      <a:pt x="263085" y="73373"/>
                      <a:pt x="319060" y="170395"/>
                      <a:pt x="319060" y="248405"/>
                    </a:cubicBezTo>
                    <a:cubicBezTo>
                      <a:pt x="319060" y="327072"/>
                      <a:pt x="263085" y="358538"/>
                      <a:pt x="194093" y="318550"/>
                    </a:cubicBezTo>
                    <a:cubicBezTo>
                      <a:pt x="124450" y="277905"/>
                      <a:pt x="69126" y="181539"/>
                      <a:pt x="69126" y="102872"/>
                    </a:cubicBezTo>
                    <a:cubicBezTo>
                      <a:pt x="69126" y="43873"/>
                      <a:pt x="100246" y="11791"/>
                      <a:pt x="145186" y="16309"/>
                    </a:cubicBezTo>
                    <a:close/>
                    <a:moveTo>
                      <a:pt x="2270026" y="390"/>
                    </a:moveTo>
                    <a:cubicBezTo>
                      <a:pt x="2311791" y="-3816"/>
                      <a:pt x="2341035" y="26144"/>
                      <a:pt x="2341035" y="81153"/>
                    </a:cubicBezTo>
                    <a:cubicBezTo>
                      <a:pt x="2341035" y="153844"/>
                      <a:pt x="2289045" y="243560"/>
                      <a:pt x="2224708" y="280888"/>
                    </a:cubicBezTo>
                    <a:cubicBezTo>
                      <a:pt x="2160371" y="318215"/>
                      <a:pt x="2108381" y="289401"/>
                      <a:pt x="2108381" y="216056"/>
                    </a:cubicBezTo>
                    <a:cubicBezTo>
                      <a:pt x="2108381" y="142711"/>
                      <a:pt x="2160371" y="53649"/>
                      <a:pt x="2224708" y="16321"/>
                    </a:cubicBezTo>
                    <a:cubicBezTo>
                      <a:pt x="2240792" y="6989"/>
                      <a:pt x="2256105" y="1791"/>
                      <a:pt x="2270026" y="3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4" name="Freeform 169">
                <a:extLst>
                  <a:ext uri="{FF2B5EF4-FFF2-40B4-BE49-F238E27FC236}">
                    <a16:creationId xmlns:a16="http://schemas.microsoft.com/office/drawing/2014/main" id="{4CFEBEA5-321A-ED4A-AC38-9170B346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6908" y="4473112"/>
                <a:ext cx="895773" cy="1097394"/>
              </a:xfrm>
              <a:custGeom>
                <a:avLst/>
                <a:gdLst>
                  <a:gd name="T0" fmla="*/ 1246 w 1373"/>
                  <a:gd name="T1" fmla="*/ 1440 h 1679"/>
                  <a:gd name="T2" fmla="*/ 1246 w 1373"/>
                  <a:gd name="T3" fmla="*/ 1440 h 1679"/>
                  <a:gd name="T4" fmla="*/ 442 w 1373"/>
                  <a:gd name="T5" fmla="*/ 1567 h 1679"/>
                  <a:gd name="T6" fmla="*/ 442 w 1373"/>
                  <a:gd name="T7" fmla="*/ 1567 h 1679"/>
                  <a:gd name="T8" fmla="*/ 265 w 1373"/>
                  <a:gd name="T9" fmla="*/ 1355 h 1679"/>
                  <a:gd name="T10" fmla="*/ 0 w 1373"/>
                  <a:gd name="T11" fmla="*/ 0 h 1679"/>
                  <a:gd name="T12" fmla="*/ 1137 w 1373"/>
                  <a:gd name="T13" fmla="*/ 28 h 1679"/>
                  <a:gd name="T14" fmla="*/ 1348 w 1373"/>
                  <a:gd name="T15" fmla="*/ 1107 h 1679"/>
                  <a:gd name="T16" fmla="*/ 1348 w 1373"/>
                  <a:gd name="T17" fmla="*/ 1107 h 1679"/>
                  <a:gd name="T18" fmla="*/ 1246 w 1373"/>
                  <a:gd name="T19" fmla="*/ 144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73" h="1679">
                    <a:moveTo>
                      <a:pt x="1246" y="1440"/>
                    </a:moveTo>
                    <a:lnTo>
                      <a:pt x="1246" y="1440"/>
                    </a:lnTo>
                    <a:cubicBezTo>
                      <a:pt x="1002" y="1665"/>
                      <a:pt x="730" y="1678"/>
                      <a:pt x="442" y="1567"/>
                    </a:cubicBezTo>
                    <a:lnTo>
                      <a:pt x="442" y="1567"/>
                    </a:lnTo>
                    <a:cubicBezTo>
                      <a:pt x="352" y="1532"/>
                      <a:pt x="284" y="1453"/>
                      <a:pt x="265" y="1355"/>
                    </a:cubicBezTo>
                    <a:lnTo>
                      <a:pt x="0" y="0"/>
                    </a:lnTo>
                    <a:lnTo>
                      <a:pt x="1137" y="28"/>
                    </a:lnTo>
                    <a:lnTo>
                      <a:pt x="1348" y="1107"/>
                    </a:lnTo>
                    <a:lnTo>
                      <a:pt x="1348" y="1107"/>
                    </a:lnTo>
                    <a:cubicBezTo>
                      <a:pt x="1372" y="1230"/>
                      <a:pt x="1336" y="1358"/>
                      <a:pt x="1246" y="1440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5" name="Freeform 170">
                <a:extLst>
                  <a:ext uri="{FF2B5EF4-FFF2-40B4-BE49-F238E27FC236}">
                    <a16:creationId xmlns:a16="http://schemas.microsoft.com/office/drawing/2014/main" id="{B0F08E0D-2C82-744D-BEA5-D96991788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77581" y="3493809"/>
                <a:ext cx="1218367" cy="1762745"/>
              </a:xfrm>
              <a:custGeom>
                <a:avLst/>
                <a:gdLst>
                  <a:gd name="T0" fmla="*/ 68 w 1867"/>
                  <a:gd name="T1" fmla="*/ 1569 h 2698"/>
                  <a:gd name="T2" fmla="*/ 68 w 1867"/>
                  <a:gd name="T3" fmla="*/ 1569 h 2698"/>
                  <a:gd name="T4" fmla="*/ 817 w 1867"/>
                  <a:gd name="T5" fmla="*/ 2636 h 2698"/>
                  <a:gd name="T6" fmla="*/ 817 w 1867"/>
                  <a:gd name="T7" fmla="*/ 2636 h 2698"/>
                  <a:gd name="T8" fmla="*/ 1100 w 1867"/>
                  <a:gd name="T9" fmla="*/ 1525 h 2698"/>
                  <a:gd name="T10" fmla="*/ 1100 w 1867"/>
                  <a:gd name="T11" fmla="*/ 1525 h 2698"/>
                  <a:gd name="T12" fmla="*/ 1651 w 1867"/>
                  <a:gd name="T13" fmla="*/ 1380 h 2698"/>
                  <a:gd name="T14" fmla="*/ 1651 w 1867"/>
                  <a:gd name="T15" fmla="*/ 1380 h 2698"/>
                  <a:gd name="T16" fmla="*/ 888 w 1867"/>
                  <a:gd name="T17" fmla="*/ 111 h 2698"/>
                  <a:gd name="T18" fmla="*/ 888 w 1867"/>
                  <a:gd name="T19" fmla="*/ 111 h 2698"/>
                  <a:gd name="T20" fmla="*/ 50 w 1867"/>
                  <a:gd name="T21" fmla="*/ 638 h 2698"/>
                  <a:gd name="T22" fmla="*/ 50 w 1867"/>
                  <a:gd name="T23" fmla="*/ 638 h 2698"/>
                  <a:gd name="T24" fmla="*/ 68 w 1867"/>
                  <a:gd name="T25" fmla="*/ 1569 h 2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67" h="2698">
                    <a:moveTo>
                      <a:pt x="68" y="1569"/>
                    </a:moveTo>
                    <a:lnTo>
                      <a:pt x="68" y="1569"/>
                    </a:lnTo>
                    <a:cubicBezTo>
                      <a:pt x="199" y="2240"/>
                      <a:pt x="414" y="2697"/>
                      <a:pt x="817" y="2636"/>
                    </a:cubicBezTo>
                    <a:lnTo>
                      <a:pt x="817" y="2636"/>
                    </a:lnTo>
                    <a:cubicBezTo>
                      <a:pt x="1208" y="2576"/>
                      <a:pt x="866" y="1817"/>
                      <a:pt x="1100" y="1525"/>
                    </a:cubicBezTo>
                    <a:lnTo>
                      <a:pt x="1100" y="1525"/>
                    </a:lnTo>
                    <a:cubicBezTo>
                      <a:pt x="1152" y="1461"/>
                      <a:pt x="1595" y="1445"/>
                      <a:pt x="1651" y="1380"/>
                    </a:cubicBezTo>
                    <a:lnTo>
                      <a:pt x="1651" y="1380"/>
                    </a:lnTo>
                    <a:cubicBezTo>
                      <a:pt x="1866" y="1130"/>
                      <a:pt x="1451" y="0"/>
                      <a:pt x="888" y="111"/>
                    </a:cubicBezTo>
                    <a:lnTo>
                      <a:pt x="888" y="111"/>
                    </a:lnTo>
                    <a:cubicBezTo>
                      <a:pt x="535" y="180"/>
                      <a:pt x="181" y="304"/>
                      <a:pt x="50" y="638"/>
                    </a:cubicBezTo>
                    <a:lnTo>
                      <a:pt x="50" y="638"/>
                    </a:lnTo>
                    <a:cubicBezTo>
                      <a:pt x="0" y="767"/>
                      <a:pt x="50" y="1479"/>
                      <a:pt x="68" y="1569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6" name="Freeform 171">
                <a:extLst>
                  <a:ext uri="{FF2B5EF4-FFF2-40B4-BE49-F238E27FC236}">
                    <a16:creationId xmlns:a16="http://schemas.microsoft.com/office/drawing/2014/main" id="{667A0E85-B96A-4547-99BA-A630330A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75960" y="3122249"/>
                <a:ext cx="1854915" cy="1820351"/>
              </a:xfrm>
              <a:custGeom>
                <a:avLst/>
                <a:gdLst>
                  <a:gd name="T0" fmla="*/ 362 w 2841"/>
                  <a:gd name="T1" fmla="*/ 447 h 2789"/>
                  <a:gd name="T2" fmla="*/ 362 w 2841"/>
                  <a:gd name="T3" fmla="*/ 447 h 2789"/>
                  <a:gd name="T4" fmla="*/ 222 w 2841"/>
                  <a:gd name="T5" fmla="*/ 1414 h 2789"/>
                  <a:gd name="T6" fmla="*/ 222 w 2841"/>
                  <a:gd name="T7" fmla="*/ 1414 h 2789"/>
                  <a:gd name="T8" fmla="*/ 575 w 2841"/>
                  <a:gd name="T9" fmla="*/ 1667 h 2789"/>
                  <a:gd name="T10" fmla="*/ 575 w 2841"/>
                  <a:gd name="T11" fmla="*/ 1667 h 2789"/>
                  <a:gd name="T12" fmla="*/ 788 w 2841"/>
                  <a:gd name="T13" fmla="*/ 2276 h 2789"/>
                  <a:gd name="T14" fmla="*/ 788 w 2841"/>
                  <a:gd name="T15" fmla="*/ 2276 h 2789"/>
                  <a:gd name="T16" fmla="*/ 906 w 2841"/>
                  <a:gd name="T17" fmla="*/ 2156 h 2789"/>
                  <a:gd name="T18" fmla="*/ 906 w 2841"/>
                  <a:gd name="T19" fmla="*/ 2156 h 2789"/>
                  <a:gd name="T20" fmla="*/ 1176 w 2841"/>
                  <a:gd name="T21" fmla="*/ 1967 h 2789"/>
                  <a:gd name="T22" fmla="*/ 1176 w 2841"/>
                  <a:gd name="T23" fmla="*/ 1967 h 2789"/>
                  <a:gd name="T24" fmla="*/ 1611 w 2841"/>
                  <a:gd name="T25" fmla="*/ 2635 h 2789"/>
                  <a:gd name="T26" fmla="*/ 1611 w 2841"/>
                  <a:gd name="T27" fmla="*/ 2635 h 2789"/>
                  <a:gd name="T28" fmla="*/ 2422 w 2841"/>
                  <a:gd name="T29" fmla="*/ 2432 h 2789"/>
                  <a:gd name="T30" fmla="*/ 2422 w 2841"/>
                  <a:gd name="T31" fmla="*/ 2432 h 2789"/>
                  <a:gd name="T32" fmla="*/ 2144 w 2841"/>
                  <a:gd name="T33" fmla="*/ 631 h 2789"/>
                  <a:gd name="T34" fmla="*/ 2144 w 2841"/>
                  <a:gd name="T35" fmla="*/ 631 h 2789"/>
                  <a:gd name="T36" fmla="*/ 656 w 2841"/>
                  <a:gd name="T37" fmla="*/ 543 h 2789"/>
                  <a:gd name="T38" fmla="*/ 656 w 2841"/>
                  <a:gd name="T39" fmla="*/ 543 h 2789"/>
                  <a:gd name="T40" fmla="*/ 362 w 2841"/>
                  <a:gd name="T41" fmla="*/ 447 h 2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41" h="2789">
                    <a:moveTo>
                      <a:pt x="362" y="447"/>
                    </a:moveTo>
                    <a:lnTo>
                      <a:pt x="362" y="447"/>
                    </a:lnTo>
                    <a:cubicBezTo>
                      <a:pt x="0" y="657"/>
                      <a:pt x="56" y="1125"/>
                      <a:pt x="222" y="1414"/>
                    </a:cubicBezTo>
                    <a:lnTo>
                      <a:pt x="222" y="1414"/>
                    </a:lnTo>
                    <a:cubicBezTo>
                      <a:pt x="304" y="1559"/>
                      <a:pt x="401" y="1619"/>
                      <a:pt x="575" y="1667"/>
                    </a:cubicBezTo>
                    <a:lnTo>
                      <a:pt x="575" y="1667"/>
                    </a:lnTo>
                    <a:cubicBezTo>
                      <a:pt x="748" y="1716"/>
                      <a:pt x="776" y="2147"/>
                      <a:pt x="788" y="2276"/>
                    </a:cubicBezTo>
                    <a:lnTo>
                      <a:pt x="788" y="2276"/>
                    </a:lnTo>
                    <a:cubicBezTo>
                      <a:pt x="788" y="2276"/>
                      <a:pt x="877" y="2316"/>
                      <a:pt x="906" y="2156"/>
                    </a:cubicBezTo>
                    <a:lnTo>
                      <a:pt x="906" y="2156"/>
                    </a:lnTo>
                    <a:cubicBezTo>
                      <a:pt x="935" y="1995"/>
                      <a:pt x="1108" y="1747"/>
                      <a:pt x="1176" y="1967"/>
                    </a:cubicBezTo>
                    <a:lnTo>
                      <a:pt x="1176" y="1967"/>
                    </a:lnTo>
                    <a:cubicBezTo>
                      <a:pt x="1245" y="2187"/>
                      <a:pt x="1508" y="2497"/>
                      <a:pt x="1611" y="2635"/>
                    </a:cubicBezTo>
                    <a:lnTo>
                      <a:pt x="1611" y="2635"/>
                    </a:lnTo>
                    <a:cubicBezTo>
                      <a:pt x="1714" y="2772"/>
                      <a:pt x="2252" y="2788"/>
                      <a:pt x="2422" y="2432"/>
                    </a:cubicBezTo>
                    <a:lnTo>
                      <a:pt x="2422" y="2432"/>
                    </a:lnTo>
                    <a:cubicBezTo>
                      <a:pt x="2052" y="1904"/>
                      <a:pt x="2840" y="1449"/>
                      <a:pt x="2144" y="631"/>
                    </a:cubicBezTo>
                    <a:lnTo>
                      <a:pt x="2144" y="631"/>
                    </a:lnTo>
                    <a:cubicBezTo>
                      <a:pt x="1996" y="308"/>
                      <a:pt x="1687" y="0"/>
                      <a:pt x="656" y="543"/>
                    </a:cubicBezTo>
                    <a:lnTo>
                      <a:pt x="656" y="543"/>
                    </a:lnTo>
                    <a:cubicBezTo>
                      <a:pt x="608" y="571"/>
                      <a:pt x="433" y="510"/>
                      <a:pt x="362" y="44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7" name="Freeform 172">
                <a:extLst>
                  <a:ext uri="{FF2B5EF4-FFF2-40B4-BE49-F238E27FC236}">
                    <a16:creationId xmlns:a16="http://schemas.microsoft.com/office/drawing/2014/main" id="{60C87812-66CD-5849-9FC0-90E257B77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75063" y="4268609"/>
                <a:ext cx="331234" cy="521336"/>
              </a:xfrm>
              <a:custGeom>
                <a:avLst/>
                <a:gdLst>
                  <a:gd name="T0" fmla="*/ 50 w 506"/>
                  <a:gd name="T1" fmla="*/ 458 h 797"/>
                  <a:gd name="T2" fmla="*/ 50 w 506"/>
                  <a:gd name="T3" fmla="*/ 458 h 797"/>
                  <a:gd name="T4" fmla="*/ 302 w 506"/>
                  <a:gd name="T5" fmla="*/ 763 h 797"/>
                  <a:gd name="T6" fmla="*/ 302 w 506"/>
                  <a:gd name="T7" fmla="*/ 763 h 797"/>
                  <a:gd name="T8" fmla="*/ 455 w 506"/>
                  <a:gd name="T9" fmla="*/ 250 h 797"/>
                  <a:gd name="T10" fmla="*/ 455 w 506"/>
                  <a:gd name="T11" fmla="*/ 250 h 797"/>
                  <a:gd name="T12" fmla="*/ 226 w 506"/>
                  <a:gd name="T13" fmla="*/ 33 h 797"/>
                  <a:gd name="T14" fmla="*/ 226 w 506"/>
                  <a:gd name="T15" fmla="*/ 33 h 797"/>
                  <a:gd name="T16" fmla="*/ 50 w 506"/>
                  <a:gd name="T17" fmla="*/ 45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6" h="797">
                    <a:moveTo>
                      <a:pt x="50" y="458"/>
                    </a:moveTo>
                    <a:lnTo>
                      <a:pt x="50" y="458"/>
                    </a:lnTo>
                    <a:cubicBezTo>
                      <a:pt x="101" y="648"/>
                      <a:pt x="179" y="796"/>
                      <a:pt x="302" y="763"/>
                    </a:cubicBezTo>
                    <a:lnTo>
                      <a:pt x="302" y="763"/>
                    </a:lnTo>
                    <a:cubicBezTo>
                      <a:pt x="426" y="731"/>
                      <a:pt x="505" y="440"/>
                      <a:pt x="455" y="250"/>
                    </a:cubicBezTo>
                    <a:lnTo>
                      <a:pt x="455" y="250"/>
                    </a:lnTo>
                    <a:cubicBezTo>
                      <a:pt x="405" y="59"/>
                      <a:pt x="349" y="0"/>
                      <a:pt x="226" y="33"/>
                    </a:cubicBezTo>
                    <a:lnTo>
                      <a:pt x="226" y="33"/>
                    </a:lnTo>
                    <a:cubicBezTo>
                      <a:pt x="103" y="66"/>
                      <a:pt x="0" y="268"/>
                      <a:pt x="50" y="458"/>
                    </a:cubicBezTo>
                  </a:path>
                </a:pathLst>
              </a:custGeom>
              <a:solidFill>
                <a:srgbClr val="EDCDA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8" name="Freeform 173">
                <a:extLst>
                  <a:ext uri="{FF2B5EF4-FFF2-40B4-BE49-F238E27FC236}">
                    <a16:creationId xmlns:a16="http://schemas.microsoft.com/office/drawing/2014/main" id="{5F2BDE24-A0DA-4F41-9B73-1F20923EA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37618" y="4222524"/>
                <a:ext cx="357157" cy="521336"/>
              </a:xfrm>
              <a:custGeom>
                <a:avLst/>
                <a:gdLst>
                  <a:gd name="T0" fmla="*/ 50 w 545"/>
                  <a:gd name="T1" fmla="*/ 457 h 796"/>
                  <a:gd name="T2" fmla="*/ 50 w 545"/>
                  <a:gd name="T3" fmla="*/ 457 h 796"/>
                  <a:gd name="T4" fmla="*/ 302 w 545"/>
                  <a:gd name="T5" fmla="*/ 763 h 796"/>
                  <a:gd name="T6" fmla="*/ 302 w 545"/>
                  <a:gd name="T7" fmla="*/ 763 h 796"/>
                  <a:gd name="T8" fmla="*/ 494 w 545"/>
                  <a:gd name="T9" fmla="*/ 266 h 796"/>
                  <a:gd name="T10" fmla="*/ 494 w 545"/>
                  <a:gd name="T11" fmla="*/ 266 h 796"/>
                  <a:gd name="T12" fmla="*/ 226 w 545"/>
                  <a:gd name="T13" fmla="*/ 32 h 796"/>
                  <a:gd name="T14" fmla="*/ 226 w 545"/>
                  <a:gd name="T15" fmla="*/ 32 h 796"/>
                  <a:gd name="T16" fmla="*/ 50 w 545"/>
                  <a:gd name="T17" fmla="*/ 457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5" h="796">
                    <a:moveTo>
                      <a:pt x="50" y="457"/>
                    </a:moveTo>
                    <a:lnTo>
                      <a:pt x="50" y="457"/>
                    </a:lnTo>
                    <a:cubicBezTo>
                      <a:pt x="100" y="647"/>
                      <a:pt x="178" y="795"/>
                      <a:pt x="302" y="763"/>
                    </a:cubicBezTo>
                    <a:lnTo>
                      <a:pt x="302" y="763"/>
                    </a:lnTo>
                    <a:cubicBezTo>
                      <a:pt x="425" y="730"/>
                      <a:pt x="544" y="456"/>
                      <a:pt x="494" y="266"/>
                    </a:cubicBezTo>
                    <a:lnTo>
                      <a:pt x="494" y="266"/>
                    </a:lnTo>
                    <a:cubicBezTo>
                      <a:pt x="444" y="76"/>
                      <a:pt x="348" y="0"/>
                      <a:pt x="226" y="32"/>
                    </a:cubicBezTo>
                    <a:lnTo>
                      <a:pt x="226" y="32"/>
                    </a:lnTo>
                    <a:cubicBezTo>
                      <a:pt x="102" y="65"/>
                      <a:pt x="0" y="267"/>
                      <a:pt x="50" y="457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499" name="Freeform 174">
                <a:extLst>
                  <a:ext uri="{FF2B5EF4-FFF2-40B4-BE49-F238E27FC236}">
                    <a16:creationId xmlns:a16="http://schemas.microsoft.com/office/drawing/2014/main" id="{7AA07569-9255-A14D-A32C-0B8797581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14113" y="11578816"/>
                <a:ext cx="1316297" cy="843930"/>
              </a:xfrm>
              <a:custGeom>
                <a:avLst/>
                <a:gdLst>
                  <a:gd name="T0" fmla="*/ 1887 w 2016"/>
                  <a:gd name="T1" fmla="*/ 1128 h 1293"/>
                  <a:gd name="T2" fmla="*/ 1887 w 2016"/>
                  <a:gd name="T3" fmla="*/ 1128 h 1293"/>
                  <a:gd name="T4" fmla="*/ 1907 w 2016"/>
                  <a:gd name="T5" fmla="*/ 843 h 1293"/>
                  <a:gd name="T6" fmla="*/ 531 w 2016"/>
                  <a:gd name="T7" fmla="*/ 8 h 1293"/>
                  <a:gd name="T8" fmla="*/ 531 w 2016"/>
                  <a:gd name="T9" fmla="*/ 8 h 1293"/>
                  <a:gd name="T10" fmla="*/ 491 w 2016"/>
                  <a:gd name="T11" fmla="*/ 7 h 1293"/>
                  <a:gd name="T12" fmla="*/ 132 w 2016"/>
                  <a:gd name="T13" fmla="*/ 180 h 1293"/>
                  <a:gd name="T14" fmla="*/ 132 w 2016"/>
                  <a:gd name="T15" fmla="*/ 180 h 1293"/>
                  <a:gd name="T16" fmla="*/ 117 w 2016"/>
                  <a:gd name="T17" fmla="*/ 529 h 1293"/>
                  <a:gd name="T18" fmla="*/ 117 w 2016"/>
                  <a:gd name="T19" fmla="*/ 529 h 1293"/>
                  <a:gd name="T20" fmla="*/ 1105 w 2016"/>
                  <a:gd name="T21" fmla="*/ 1148 h 1293"/>
                  <a:gd name="T22" fmla="*/ 1105 w 2016"/>
                  <a:gd name="T23" fmla="*/ 1148 h 1293"/>
                  <a:gd name="T24" fmla="*/ 1887 w 2016"/>
                  <a:gd name="T25" fmla="*/ 1128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6" h="1293">
                    <a:moveTo>
                      <a:pt x="1887" y="1128"/>
                    </a:moveTo>
                    <a:lnTo>
                      <a:pt x="1887" y="1128"/>
                    </a:lnTo>
                    <a:cubicBezTo>
                      <a:pt x="2000" y="1064"/>
                      <a:pt x="2015" y="916"/>
                      <a:pt x="1907" y="843"/>
                    </a:cubicBezTo>
                    <a:lnTo>
                      <a:pt x="531" y="8"/>
                    </a:lnTo>
                    <a:lnTo>
                      <a:pt x="531" y="8"/>
                    </a:lnTo>
                    <a:cubicBezTo>
                      <a:pt x="519" y="1"/>
                      <a:pt x="503" y="0"/>
                      <a:pt x="491" y="7"/>
                    </a:cubicBezTo>
                    <a:lnTo>
                      <a:pt x="132" y="180"/>
                    </a:lnTo>
                    <a:lnTo>
                      <a:pt x="132" y="180"/>
                    </a:lnTo>
                    <a:cubicBezTo>
                      <a:pt x="0" y="244"/>
                      <a:pt x="7" y="434"/>
                      <a:pt x="117" y="529"/>
                    </a:cubicBezTo>
                    <a:lnTo>
                      <a:pt x="117" y="529"/>
                    </a:lnTo>
                    <a:cubicBezTo>
                      <a:pt x="315" y="700"/>
                      <a:pt x="573" y="917"/>
                      <a:pt x="1105" y="1148"/>
                    </a:cubicBezTo>
                    <a:lnTo>
                      <a:pt x="1105" y="1148"/>
                    </a:lnTo>
                    <a:cubicBezTo>
                      <a:pt x="1370" y="1263"/>
                      <a:pt x="1603" y="1292"/>
                      <a:pt x="1887" y="11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0" name="Freeform 175">
                <a:extLst>
                  <a:ext uri="{FF2B5EF4-FFF2-40B4-BE49-F238E27FC236}">
                    <a16:creationId xmlns:a16="http://schemas.microsoft.com/office/drawing/2014/main" id="{C629D972-5B08-194E-818D-4998328D15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31395" y="11382956"/>
                <a:ext cx="1270212" cy="1002345"/>
              </a:xfrm>
              <a:custGeom>
                <a:avLst/>
                <a:gdLst>
                  <a:gd name="T0" fmla="*/ 1898 w 1945"/>
                  <a:gd name="T1" fmla="*/ 1202 h 1533"/>
                  <a:gd name="T2" fmla="*/ 1898 w 1945"/>
                  <a:gd name="T3" fmla="*/ 1202 h 1533"/>
                  <a:gd name="T4" fmla="*/ 1759 w 1945"/>
                  <a:gd name="T5" fmla="*/ 539 h 1533"/>
                  <a:gd name="T6" fmla="*/ 1759 w 1945"/>
                  <a:gd name="T7" fmla="*/ 539 h 1533"/>
                  <a:gd name="T8" fmla="*/ 1326 w 1945"/>
                  <a:gd name="T9" fmla="*/ 432 h 1533"/>
                  <a:gd name="T10" fmla="*/ 1326 w 1945"/>
                  <a:gd name="T11" fmla="*/ 432 h 1533"/>
                  <a:gd name="T12" fmla="*/ 128 w 1945"/>
                  <a:gd name="T13" fmla="*/ 258 h 1533"/>
                  <a:gd name="T14" fmla="*/ 128 w 1945"/>
                  <a:gd name="T15" fmla="*/ 258 h 1533"/>
                  <a:gd name="T16" fmla="*/ 76 w 1945"/>
                  <a:gd name="T17" fmla="*/ 687 h 1533"/>
                  <a:gd name="T18" fmla="*/ 76 w 1945"/>
                  <a:gd name="T19" fmla="*/ 687 h 1533"/>
                  <a:gd name="T20" fmla="*/ 1229 w 1945"/>
                  <a:gd name="T21" fmla="*/ 1441 h 1533"/>
                  <a:gd name="T22" fmla="*/ 1229 w 1945"/>
                  <a:gd name="T23" fmla="*/ 1441 h 1533"/>
                  <a:gd name="T24" fmla="*/ 1898 w 1945"/>
                  <a:gd name="T25" fmla="*/ 1202 h 1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5" h="1533">
                    <a:moveTo>
                      <a:pt x="1898" y="1202"/>
                    </a:moveTo>
                    <a:lnTo>
                      <a:pt x="1898" y="1202"/>
                    </a:lnTo>
                    <a:cubicBezTo>
                      <a:pt x="1887" y="1155"/>
                      <a:pt x="1927" y="678"/>
                      <a:pt x="1759" y="539"/>
                    </a:cubicBezTo>
                    <a:lnTo>
                      <a:pt x="1759" y="539"/>
                    </a:lnTo>
                    <a:cubicBezTo>
                      <a:pt x="1666" y="461"/>
                      <a:pt x="1467" y="442"/>
                      <a:pt x="1326" y="432"/>
                    </a:cubicBezTo>
                    <a:lnTo>
                      <a:pt x="1326" y="432"/>
                    </a:lnTo>
                    <a:cubicBezTo>
                      <a:pt x="1027" y="412"/>
                      <a:pt x="364" y="0"/>
                      <a:pt x="128" y="258"/>
                    </a:cubicBezTo>
                    <a:lnTo>
                      <a:pt x="128" y="258"/>
                    </a:lnTo>
                    <a:cubicBezTo>
                      <a:pt x="0" y="399"/>
                      <a:pt x="51" y="639"/>
                      <a:pt x="76" y="687"/>
                    </a:cubicBezTo>
                    <a:lnTo>
                      <a:pt x="76" y="687"/>
                    </a:lnTo>
                    <a:cubicBezTo>
                      <a:pt x="188" y="903"/>
                      <a:pt x="1015" y="1382"/>
                      <a:pt x="1229" y="1441"/>
                    </a:cubicBezTo>
                    <a:lnTo>
                      <a:pt x="1229" y="1441"/>
                    </a:lnTo>
                    <a:cubicBezTo>
                      <a:pt x="1557" y="1532"/>
                      <a:pt x="1944" y="1413"/>
                      <a:pt x="1898" y="1202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1" name="Freeform 176">
                <a:extLst>
                  <a:ext uri="{FF2B5EF4-FFF2-40B4-BE49-F238E27FC236}">
                    <a16:creationId xmlns:a16="http://schemas.microsoft.com/office/drawing/2014/main" id="{FFF804FD-8977-D34C-ACBC-58D4730AC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18165" y="8326957"/>
                <a:ext cx="996585" cy="3747273"/>
              </a:xfrm>
              <a:custGeom>
                <a:avLst/>
                <a:gdLst>
                  <a:gd name="T0" fmla="*/ 313 w 1524"/>
                  <a:gd name="T1" fmla="*/ 5215 h 5738"/>
                  <a:gd name="T2" fmla="*/ 313 w 1524"/>
                  <a:gd name="T3" fmla="*/ 5215 h 5738"/>
                  <a:gd name="T4" fmla="*/ 125 w 1524"/>
                  <a:gd name="T5" fmla="*/ 918 h 5738"/>
                  <a:gd name="T6" fmla="*/ 125 w 1524"/>
                  <a:gd name="T7" fmla="*/ 918 h 5738"/>
                  <a:gd name="T8" fmla="*/ 1147 w 1524"/>
                  <a:gd name="T9" fmla="*/ 20 h 5738"/>
                  <a:gd name="T10" fmla="*/ 1147 w 1524"/>
                  <a:gd name="T11" fmla="*/ 20 h 5738"/>
                  <a:gd name="T12" fmla="*/ 1439 w 1524"/>
                  <a:gd name="T13" fmla="*/ 1773 h 5738"/>
                  <a:gd name="T14" fmla="*/ 1126 w 1524"/>
                  <a:gd name="T15" fmla="*/ 5570 h 5738"/>
                  <a:gd name="T16" fmla="*/ 1126 w 1524"/>
                  <a:gd name="T17" fmla="*/ 5570 h 5738"/>
                  <a:gd name="T18" fmla="*/ 313 w 1524"/>
                  <a:gd name="T19" fmla="*/ 5215 h 5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24" h="5738">
                    <a:moveTo>
                      <a:pt x="313" y="5215"/>
                    </a:moveTo>
                    <a:lnTo>
                      <a:pt x="313" y="5215"/>
                    </a:lnTo>
                    <a:cubicBezTo>
                      <a:pt x="313" y="5215"/>
                      <a:pt x="0" y="1627"/>
                      <a:pt x="125" y="918"/>
                    </a:cubicBezTo>
                    <a:lnTo>
                      <a:pt x="125" y="918"/>
                    </a:lnTo>
                    <a:cubicBezTo>
                      <a:pt x="250" y="208"/>
                      <a:pt x="772" y="0"/>
                      <a:pt x="1147" y="20"/>
                    </a:cubicBezTo>
                    <a:lnTo>
                      <a:pt x="1147" y="20"/>
                    </a:lnTo>
                    <a:cubicBezTo>
                      <a:pt x="1523" y="42"/>
                      <a:pt x="1439" y="1773"/>
                      <a:pt x="1439" y="1773"/>
                    </a:cubicBezTo>
                    <a:lnTo>
                      <a:pt x="1126" y="5570"/>
                    </a:lnTo>
                    <a:lnTo>
                      <a:pt x="1126" y="5570"/>
                    </a:lnTo>
                    <a:cubicBezTo>
                      <a:pt x="1126" y="5570"/>
                      <a:pt x="667" y="5737"/>
                      <a:pt x="313" y="52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2" name="Freeform 177">
                <a:extLst>
                  <a:ext uri="{FF2B5EF4-FFF2-40B4-BE49-F238E27FC236}">
                    <a16:creationId xmlns:a16="http://schemas.microsoft.com/office/drawing/2014/main" id="{A2CFF1EE-C38A-8F4A-BEFE-0DABB7BB6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8054" y="8960623"/>
                <a:ext cx="849688" cy="2367609"/>
              </a:xfrm>
              <a:custGeom>
                <a:avLst/>
                <a:gdLst>
                  <a:gd name="T0" fmla="*/ 0 w 1303"/>
                  <a:gd name="T1" fmla="*/ 0 h 3623"/>
                  <a:gd name="T2" fmla="*/ 0 w 1303"/>
                  <a:gd name="T3" fmla="*/ 0 h 3623"/>
                  <a:gd name="T4" fmla="*/ 204 w 1303"/>
                  <a:gd name="T5" fmla="*/ 3100 h 3623"/>
                  <a:gd name="T6" fmla="*/ 204 w 1303"/>
                  <a:gd name="T7" fmla="*/ 3100 h 3623"/>
                  <a:gd name="T8" fmla="*/ 1018 w 1303"/>
                  <a:gd name="T9" fmla="*/ 3454 h 3623"/>
                  <a:gd name="T10" fmla="*/ 1302 w 1303"/>
                  <a:gd name="T11" fmla="*/ 0 h 3623"/>
                  <a:gd name="T12" fmla="*/ 0 w 1303"/>
                  <a:gd name="T13" fmla="*/ 0 h 3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3" h="3623">
                    <a:moveTo>
                      <a:pt x="0" y="0"/>
                    </a:moveTo>
                    <a:lnTo>
                      <a:pt x="0" y="0"/>
                    </a:lnTo>
                    <a:cubicBezTo>
                      <a:pt x="47" y="1302"/>
                      <a:pt x="204" y="3100"/>
                      <a:pt x="204" y="3100"/>
                    </a:cubicBezTo>
                    <a:lnTo>
                      <a:pt x="204" y="3100"/>
                    </a:lnTo>
                    <a:cubicBezTo>
                      <a:pt x="559" y="3622"/>
                      <a:pt x="1018" y="3454"/>
                      <a:pt x="1018" y="3454"/>
                    </a:cubicBezTo>
                    <a:lnTo>
                      <a:pt x="130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3" name="Freeform 178">
                <a:extLst>
                  <a:ext uri="{FF2B5EF4-FFF2-40B4-BE49-F238E27FC236}">
                    <a16:creationId xmlns:a16="http://schemas.microsoft.com/office/drawing/2014/main" id="{399ED7EB-31B7-294F-A1A6-19E88648A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319" y="8315436"/>
                <a:ext cx="3793357" cy="2344566"/>
              </a:xfrm>
              <a:custGeom>
                <a:avLst/>
                <a:gdLst>
                  <a:gd name="T0" fmla="*/ 0 w 5809"/>
                  <a:gd name="T1" fmla="*/ 63 h 3590"/>
                  <a:gd name="T2" fmla="*/ 0 w 5809"/>
                  <a:gd name="T3" fmla="*/ 63 h 3590"/>
                  <a:gd name="T4" fmla="*/ 709 w 5809"/>
                  <a:gd name="T5" fmla="*/ 187 h 3590"/>
                  <a:gd name="T6" fmla="*/ 709 w 5809"/>
                  <a:gd name="T7" fmla="*/ 187 h 3590"/>
                  <a:gd name="T8" fmla="*/ 4193 w 5809"/>
                  <a:gd name="T9" fmla="*/ 1564 h 3590"/>
                  <a:gd name="T10" fmla="*/ 5505 w 5809"/>
                  <a:gd name="T11" fmla="*/ 873 h 3590"/>
                  <a:gd name="T12" fmla="*/ 5505 w 5809"/>
                  <a:gd name="T13" fmla="*/ 873 h 3590"/>
                  <a:gd name="T14" fmla="*/ 4129 w 5809"/>
                  <a:gd name="T15" fmla="*/ 3491 h 3590"/>
                  <a:gd name="T16" fmla="*/ 4129 w 5809"/>
                  <a:gd name="T17" fmla="*/ 3491 h 3590"/>
                  <a:gd name="T18" fmla="*/ 1440 w 5809"/>
                  <a:gd name="T19" fmla="*/ 2817 h 3590"/>
                  <a:gd name="T20" fmla="*/ 1440 w 5809"/>
                  <a:gd name="T21" fmla="*/ 2817 h 3590"/>
                  <a:gd name="T22" fmla="*/ 0 w 5809"/>
                  <a:gd name="T23" fmla="*/ 1982 h 3590"/>
                  <a:gd name="T24" fmla="*/ 0 w 5809"/>
                  <a:gd name="T25" fmla="*/ 63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09" h="3590">
                    <a:moveTo>
                      <a:pt x="0" y="63"/>
                    </a:moveTo>
                    <a:lnTo>
                      <a:pt x="0" y="63"/>
                    </a:lnTo>
                    <a:cubicBezTo>
                      <a:pt x="0" y="63"/>
                      <a:pt x="187" y="0"/>
                      <a:pt x="709" y="187"/>
                    </a:cubicBezTo>
                    <a:lnTo>
                      <a:pt x="709" y="187"/>
                    </a:lnTo>
                    <a:cubicBezTo>
                      <a:pt x="1230" y="376"/>
                      <a:pt x="4193" y="1564"/>
                      <a:pt x="4193" y="1564"/>
                    </a:cubicBezTo>
                    <a:lnTo>
                      <a:pt x="5505" y="873"/>
                    </a:lnTo>
                    <a:lnTo>
                      <a:pt x="5505" y="873"/>
                    </a:lnTo>
                    <a:cubicBezTo>
                      <a:pt x="5808" y="3249"/>
                      <a:pt x="4701" y="3285"/>
                      <a:pt x="4129" y="3491"/>
                    </a:cubicBezTo>
                    <a:lnTo>
                      <a:pt x="4129" y="3491"/>
                    </a:lnTo>
                    <a:cubicBezTo>
                      <a:pt x="3856" y="3589"/>
                      <a:pt x="1919" y="3004"/>
                      <a:pt x="1440" y="2817"/>
                    </a:cubicBezTo>
                    <a:lnTo>
                      <a:pt x="1440" y="2817"/>
                    </a:lnTo>
                    <a:cubicBezTo>
                      <a:pt x="960" y="2628"/>
                      <a:pt x="0" y="1982"/>
                      <a:pt x="0" y="1982"/>
                    </a:cubicBezTo>
                    <a:lnTo>
                      <a:pt x="0" y="63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4" name="Freeform 179">
                <a:extLst>
                  <a:ext uri="{FF2B5EF4-FFF2-40B4-BE49-F238E27FC236}">
                    <a16:creationId xmlns:a16="http://schemas.microsoft.com/office/drawing/2014/main" id="{FD49D40D-408B-B64B-AA03-DAA58FCE4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73891" y="4838910"/>
                <a:ext cx="2494342" cy="4787063"/>
              </a:xfrm>
              <a:custGeom>
                <a:avLst/>
                <a:gdLst>
                  <a:gd name="T0" fmla="*/ 2042 w 3817"/>
                  <a:gd name="T1" fmla="*/ 348 h 7331"/>
                  <a:gd name="T2" fmla="*/ 2042 w 3817"/>
                  <a:gd name="T3" fmla="*/ 348 h 7331"/>
                  <a:gd name="T4" fmla="*/ 169 w 3817"/>
                  <a:gd name="T5" fmla="*/ 1603 h 7331"/>
                  <a:gd name="T6" fmla="*/ 169 w 3817"/>
                  <a:gd name="T7" fmla="*/ 1603 h 7331"/>
                  <a:gd name="T8" fmla="*/ 97 w 3817"/>
                  <a:gd name="T9" fmla="*/ 6642 h 7331"/>
                  <a:gd name="T10" fmla="*/ 97 w 3817"/>
                  <a:gd name="T11" fmla="*/ 6642 h 7331"/>
                  <a:gd name="T12" fmla="*/ 335 w 3817"/>
                  <a:gd name="T13" fmla="*/ 7007 h 7331"/>
                  <a:gd name="T14" fmla="*/ 335 w 3817"/>
                  <a:gd name="T15" fmla="*/ 7007 h 7331"/>
                  <a:gd name="T16" fmla="*/ 1657 w 3817"/>
                  <a:gd name="T17" fmla="*/ 7262 h 7331"/>
                  <a:gd name="T18" fmla="*/ 1657 w 3817"/>
                  <a:gd name="T19" fmla="*/ 7262 h 7331"/>
                  <a:gd name="T20" fmla="*/ 3402 w 3817"/>
                  <a:gd name="T21" fmla="*/ 6517 h 7331"/>
                  <a:gd name="T22" fmla="*/ 3402 w 3817"/>
                  <a:gd name="T23" fmla="*/ 6517 h 7331"/>
                  <a:gd name="T24" fmla="*/ 3743 w 3817"/>
                  <a:gd name="T25" fmla="*/ 5819 h 7331"/>
                  <a:gd name="T26" fmla="*/ 3743 w 3817"/>
                  <a:gd name="T27" fmla="*/ 5819 h 7331"/>
                  <a:gd name="T28" fmla="*/ 3592 w 3817"/>
                  <a:gd name="T29" fmla="*/ 1579 h 7331"/>
                  <a:gd name="T30" fmla="*/ 3592 w 3817"/>
                  <a:gd name="T31" fmla="*/ 1579 h 7331"/>
                  <a:gd name="T32" fmla="*/ 2042 w 3817"/>
                  <a:gd name="T33" fmla="*/ 348 h 7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7" h="7331">
                    <a:moveTo>
                      <a:pt x="2042" y="348"/>
                    </a:moveTo>
                    <a:lnTo>
                      <a:pt x="2042" y="348"/>
                    </a:lnTo>
                    <a:cubicBezTo>
                      <a:pt x="572" y="744"/>
                      <a:pt x="169" y="1603"/>
                      <a:pt x="169" y="1603"/>
                    </a:cubicBezTo>
                    <a:lnTo>
                      <a:pt x="169" y="1603"/>
                    </a:lnTo>
                    <a:cubicBezTo>
                      <a:pt x="0" y="3857"/>
                      <a:pt x="67" y="5375"/>
                      <a:pt x="97" y="6642"/>
                    </a:cubicBezTo>
                    <a:lnTo>
                      <a:pt x="97" y="6642"/>
                    </a:lnTo>
                    <a:cubicBezTo>
                      <a:pt x="101" y="6798"/>
                      <a:pt x="194" y="6940"/>
                      <a:pt x="335" y="7007"/>
                    </a:cubicBezTo>
                    <a:lnTo>
                      <a:pt x="335" y="7007"/>
                    </a:lnTo>
                    <a:cubicBezTo>
                      <a:pt x="606" y="7137"/>
                      <a:pt x="1095" y="7330"/>
                      <a:pt x="1657" y="7262"/>
                    </a:cubicBezTo>
                    <a:lnTo>
                      <a:pt x="1657" y="7262"/>
                    </a:lnTo>
                    <a:cubicBezTo>
                      <a:pt x="2579" y="7152"/>
                      <a:pt x="3218" y="6687"/>
                      <a:pt x="3402" y="6517"/>
                    </a:cubicBezTo>
                    <a:lnTo>
                      <a:pt x="3402" y="6517"/>
                    </a:lnTo>
                    <a:cubicBezTo>
                      <a:pt x="3506" y="6420"/>
                      <a:pt x="3733" y="6173"/>
                      <a:pt x="3743" y="5819"/>
                    </a:cubicBezTo>
                    <a:lnTo>
                      <a:pt x="3743" y="5819"/>
                    </a:lnTo>
                    <a:cubicBezTo>
                      <a:pt x="3765" y="5048"/>
                      <a:pt x="3816" y="3387"/>
                      <a:pt x="3592" y="1579"/>
                    </a:cubicBezTo>
                    <a:lnTo>
                      <a:pt x="3592" y="1579"/>
                    </a:lnTo>
                    <a:cubicBezTo>
                      <a:pt x="3592" y="1300"/>
                      <a:pt x="3334" y="0"/>
                      <a:pt x="2042" y="34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5" name="Freeform 180">
                <a:extLst>
                  <a:ext uri="{FF2B5EF4-FFF2-40B4-BE49-F238E27FC236}">
                    <a16:creationId xmlns:a16="http://schemas.microsoft.com/office/drawing/2014/main" id="{7222EFC3-0EF8-9344-BDF0-375CFE233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93242" y="5682838"/>
                <a:ext cx="1002345" cy="2039254"/>
              </a:xfrm>
              <a:custGeom>
                <a:avLst/>
                <a:gdLst>
                  <a:gd name="T0" fmla="*/ 931 w 1533"/>
                  <a:gd name="T1" fmla="*/ 68 h 3120"/>
                  <a:gd name="T2" fmla="*/ 931 w 1533"/>
                  <a:gd name="T3" fmla="*/ 68 h 3120"/>
                  <a:gd name="T4" fmla="*/ 189 w 1533"/>
                  <a:gd name="T5" fmla="*/ 381 h 3120"/>
                  <a:gd name="T6" fmla="*/ 189 w 1533"/>
                  <a:gd name="T7" fmla="*/ 381 h 3120"/>
                  <a:gd name="T8" fmla="*/ 183 w 1533"/>
                  <a:gd name="T9" fmla="*/ 565 h 3120"/>
                  <a:gd name="T10" fmla="*/ 183 w 1533"/>
                  <a:gd name="T11" fmla="*/ 3119 h 3120"/>
                  <a:gd name="T12" fmla="*/ 183 w 1533"/>
                  <a:gd name="T13" fmla="*/ 3119 h 3120"/>
                  <a:gd name="T14" fmla="*/ 1347 w 1533"/>
                  <a:gd name="T15" fmla="*/ 966 h 3120"/>
                  <a:gd name="T16" fmla="*/ 1347 w 1533"/>
                  <a:gd name="T17" fmla="*/ 966 h 3120"/>
                  <a:gd name="T18" fmla="*/ 931 w 1533"/>
                  <a:gd name="T19" fmla="*/ 68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33" h="3120">
                    <a:moveTo>
                      <a:pt x="931" y="68"/>
                    </a:moveTo>
                    <a:lnTo>
                      <a:pt x="931" y="68"/>
                    </a:lnTo>
                    <a:cubicBezTo>
                      <a:pt x="708" y="0"/>
                      <a:pt x="318" y="185"/>
                      <a:pt x="189" y="381"/>
                    </a:cubicBezTo>
                    <a:lnTo>
                      <a:pt x="189" y="381"/>
                    </a:lnTo>
                    <a:cubicBezTo>
                      <a:pt x="94" y="496"/>
                      <a:pt x="0" y="611"/>
                      <a:pt x="183" y="565"/>
                    </a:cubicBezTo>
                    <a:lnTo>
                      <a:pt x="183" y="3119"/>
                    </a:lnTo>
                    <a:lnTo>
                      <a:pt x="183" y="3119"/>
                    </a:lnTo>
                    <a:cubicBezTo>
                      <a:pt x="613" y="2579"/>
                      <a:pt x="998" y="1619"/>
                      <a:pt x="1347" y="966"/>
                    </a:cubicBezTo>
                    <a:lnTo>
                      <a:pt x="1347" y="966"/>
                    </a:lnTo>
                    <a:cubicBezTo>
                      <a:pt x="1532" y="621"/>
                      <a:pt x="1306" y="181"/>
                      <a:pt x="931" y="68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6" name="Freeform 181">
                <a:extLst>
                  <a:ext uri="{FF2B5EF4-FFF2-40B4-BE49-F238E27FC236}">
                    <a16:creationId xmlns:a16="http://schemas.microsoft.com/office/drawing/2014/main" id="{78A80CF0-D3DD-E940-ACAB-A50A4EA39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96830" y="6788875"/>
                <a:ext cx="1575525" cy="1229888"/>
              </a:xfrm>
              <a:custGeom>
                <a:avLst/>
                <a:gdLst>
                  <a:gd name="T0" fmla="*/ 2411 w 2412"/>
                  <a:gd name="T1" fmla="*/ 1132 h 1884"/>
                  <a:gd name="T2" fmla="*/ 2411 w 2412"/>
                  <a:gd name="T3" fmla="*/ 1132 h 1884"/>
                  <a:gd name="T4" fmla="*/ 213 w 2412"/>
                  <a:gd name="T5" fmla="*/ 0 h 1884"/>
                  <a:gd name="T6" fmla="*/ 0 w 2412"/>
                  <a:gd name="T7" fmla="*/ 326 h 1884"/>
                  <a:gd name="T8" fmla="*/ 0 w 2412"/>
                  <a:gd name="T9" fmla="*/ 326 h 1884"/>
                  <a:gd name="T10" fmla="*/ 2284 w 2412"/>
                  <a:gd name="T11" fmla="*/ 1883 h 1884"/>
                  <a:gd name="T12" fmla="*/ 2411 w 2412"/>
                  <a:gd name="T13" fmla="*/ 1132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12" h="1884">
                    <a:moveTo>
                      <a:pt x="2411" y="1132"/>
                    </a:moveTo>
                    <a:lnTo>
                      <a:pt x="2411" y="1132"/>
                    </a:lnTo>
                    <a:cubicBezTo>
                      <a:pt x="2411" y="1132"/>
                      <a:pt x="504" y="278"/>
                      <a:pt x="213" y="0"/>
                    </a:cubicBezTo>
                    <a:lnTo>
                      <a:pt x="0" y="326"/>
                    </a:lnTo>
                    <a:lnTo>
                      <a:pt x="0" y="326"/>
                    </a:lnTo>
                    <a:cubicBezTo>
                      <a:pt x="0" y="326"/>
                      <a:pt x="862" y="1464"/>
                      <a:pt x="2284" y="1883"/>
                    </a:cubicBezTo>
                    <a:lnTo>
                      <a:pt x="2411" y="1132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7" name="Freeform 182">
                <a:extLst>
                  <a:ext uri="{FF2B5EF4-FFF2-40B4-BE49-F238E27FC236}">
                    <a16:creationId xmlns:a16="http://schemas.microsoft.com/office/drawing/2014/main" id="{5646D4F1-0896-7F41-B42A-99DF8F17F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1555" y="6872403"/>
                <a:ext cx="1670575" cy="1241411"/>
              </a:xfrm>
              <a:custGeom>
                <a:avLst/>
                <a:gdLst>
                  <a:gd name="T0" fmla="*/ 2558 w 2559"/>
                  <a:gd name="T1" fmla="*/ 301 h 1901"/>
                  <a:gd name="T2" fmla="*/ 2558 w 2559"/>
                  <a:gd name="T3" fmla="*/ 301 h 1901"/>
                  <a:gd name="T4" fmla="*/ 2115 w 2559"/>
                  <a:gd name="T5" fmla="*/ 649 h 1901"/>
                  <a:gd name="T6" fmla="*/ 2115 w 2559"/>
                  <a:gd name="T7" fmla="*/ 649 h 1901"/>
                  <a:gd name="T8" fmla="*/ 367 w 2559"/>
                  <a:gd name="T9" fmla="*/ 0 h 1901"/>
                  <a:gd name="T10" fmla="*/ 367 w 2559"/>
                  <a:gd name="T11" fmla="*/ 0 h 1901"/>
                  <a:gd name="T12" fmla="*/ 23 w 2559"/>
                  <a:gd name="T13" fmla="*/ 356 h 1901"/>
                  <a:gd name="T14" fmla="*/ 23 w 2559"/>
                  <a:gd name="T15" fmla="*/ 356 h 1901"/>
                  <a:gd name="T16" fmla="*/ 70 w 2559"/>
                  <a:gd name="T17" fmla="*/ 550 h 1901"/>
                  <a:gd name="T18" fmla="*/ 70 w 2559"/>
                  <a:gd name="T19" fmla="*/ 550 h 1901"/>
                  <a:gd name="T20" fmla="*/ 2360 w 2559"/>
                  <a:gd name="T21" fmla="*/ 1900 h 1901"/>
                  <a:gd name="T22" fmla="*/ 2558 w 2559"/>
                  <a:gd name="T23" fmla="*/ 301 h 1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59" h="1901">
                    <a:moveTo>
                      <a:pt x="2558" y="301"/>
                    </a:moveTo>
                    <a:lnTo>
                      <a:pt x="2558" y="301"/>
                    </a:lnTo>
                    <a:cubicBezTo>
                      <a:pt x="2472" y="646"/>
                      <a:pt x="2320" y="733"/>
                      <a:pt x="2115" y="649"/>
                    </a:cubicBezTo>
                    <a:lnTo>
                      <a:pt x="2115" y="649"/>
                    </a:lnTo>
                    <a:cubicBezTo>
                      <a:pt x="1553" y="420"/>
                      <a:pt x="667" y="200"/>
                      <a:pt x="367" y="0"/>
                    </a:cubicBezTo>
                    <a:lnTo>
                      <a:pt x="367" y="0"/>
                    </a:lnTo>
                    <a:cubicBezTo>
                      <a:pt x="202" y="82"/>
                      <a:pt x="71" y="210"/>
                      <a:pt x="23" y="356"/>
                    </a:cubicBezTo>
                    <a:lnTo>
                      <a:pt x="23" y="356"/>
                    </a:lnTo>
                    <a:cubicBezTo>
                      <a:pt x="0" y="424"/>
                      <a:pt x="20" y="499"/>
                      <a:pt x="70" y="550"/>
                    </a:cubicBezTo>
                    <a:lnTo>
                      <a:pt x="70" y="550"/>
                    </a:lnTo>
                    <a:cubicBezTo>
                      <a:pt x="328" y="812"/>
                      <a:pt x="1285" y="1715"/>
                      <a:pt x="2360" y="1900"/>
                    </a:cubicBezTo>
                    <a:lnTo>
                      <a:pt x="2558" y="301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8" name="Freeform 183">
                <a:extLst>
                  <a:ext uri="{FF2B5EF4-FFF2-40B4-BE49-F238E27FC236}">
                    <a16:creationId xmlns:a16="http://schemas.microsoft.com/office/drawing/2014/main" id="{8031BE2C-14EB-8D45-B74B-4A84073BB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5621" y="5682839"/>
                <a:ext cx="1949966" cy="2482821"/>
              </a:xfrm>
              <a:custGeom>
                <a:avLst/>
                <a:gdLst>
                  <a:gd name="T0" fmla="*/ 254 w 2984"/>
                  <a:gd name="T1" fmla="*/ 2547 h 3803"/>
                  <a:gd name="T2" fmla="*/ 254 w 2984"/>
                  <a:gd name="T3" fmla="*/ 2547 h 3803"/>
                  <a:gd name="T4" fmla="*/ 1640 w 2984"/>
                  <a:gd name="T5" fmla="*/ 381 h 3803"/>
                  <a:gd name="T6" fmla="*/ 1640 w 2984"/>
                  <a:gd name="T7" fmla="*/ 381 h 3803"/>
                  <a:gd name="T8" fmla="*/ 2382 w 2984"/>
                  <a:gd name="T9" fmla="*/ 68 h 3803"/>
                  <a:gd name="T10" fmla="*/ 2382 w 2984"/>
                  <a:gd name="T11" fmla="*/ 68 h 3803"/>
                  <a:gd name="T12" fmla="*/ 2798 w 2984"/>
                  <a:gd name="T13" fmla="*/ 966 h 3803"/>
                  <a:gd name="T14" fmla="*/ 2798 w 2984"/>
                  <a:gd name="T15" fmla="*/ 966 h 3803"/>
                  <a:gd name="T16" fmla="*/ 0 w 2984"/>
                  <a:gd name="T17" fmla="*/ 3802 h 3803"/>
                  <a:gd name="T18" fmla="*/ 0 w 2984"/>
                  <a:gd name="T19" fmla="*/ 3802 h 3803"/>
                  <a:gd name="T20" fmla="*/ 254 w 2984"/>
                  <a:gd name="T21" fmla="*/ 2547 h 3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4" h="3803">
                    <a:moveTo>
                      <a:pt x="254" y="2547"/>
                    </a:moveTo>
                    <a:lnTo>
                      <a:pt x="254" y="2547"/>
                    </a:lnTo>
                    <a:cubicBezTo>
                      <a:pt x="444" y="1919"/>
                      <a:pt x="1014" y="1136"/>
                      <a:pt x="1640" y="381"/>
                    </a:cubicBezTo>
                    <a:lnTo>
                      <a:pt x="1640" y="381"/>
                    </a:lnTo>
                    <a:cubicBezTo>
                      <a:pt x="1769" y="185"/>
                      <a:pt x="2159" y="0"/>
                      <a:pt x="2382" y="68"/>
                    </a:cubicBezTo>
                    <a:lnTo>
                      <a:pt x="2382" y="68"/>
                    </a:lnTo>
                    <a:cubicBezTo>
                      <a:pt x="2757" y="181"/>
                      <a:pt x="2983" y="621"/>
                      <a:pt x="2798" y="966"/>
                    </a:cubicBezTo>
                    <a:lnTo>
                      <a:pt x="2798" y="966"/>
                    </a:lnTo>
                    <a:cubicBezTo>
                      <a:pt x="2302" y="1891"/>
                      <a:pt x="1452" y="3257"/>
                      <a:pt x="0" y="3802"/>
                    </a:cubicBezTo>
                    <a:lnTo>
                      <a:pt x="0" y="3802"/>
                    </a:lnTo>
                    <a:cubicBezTo>
                      <a:pt x="0" y="3802"/>
                      <a:pt x="168" y="2706"/>
                      <a:pt x="254" y="254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09" name="Freeform 184">
                <a:extLst>
                  <a:ext uri="{FF2B5EF4-FFF2-40B4-BE49-F238E27FC236}">
                    <a16:creationId xmlns:a16="http://schemas.microsoft.com/office/drawing/2014/main" id="{32173939-5D26-A34A-A91E-DE391BD07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426" y="6417315"/>
                <a:ext cx="665351" cy="607745"/>
              </a:xfrm>
              <a:custGeom>
                <a:avLst/>
                <a:gdLst>
                  <a:gd name="T0" fmla="*/ 954 w 1017"/>
                  <a:gd name="T1" fmla="*/ 662 h 929"/>
                  <a:gd name="T2" fmla="*/ 954 w 1017"/>
                  <a:gd name="T3" fmla="*/ 662 h 929"/>
                  <a:gd name="T4" fmla="*/ 976 w 1017"/>
                  <a:gd name="T5" fmla="*/ 236 h 929"/>
                  <a:gd name="T6" fmla="*/ 976 w 1017"/>
                  <a:gd name="T7" fmla="*/ 236 h 929"/>
                  <a:gd name="T8" fmla="*/ 807 w 1017"/>
                  <a:gd name="T9" fmla="*/ 223 h 929"/>
                  <a:gd name="T10" fmla="*/ 807 w 1017"/>
                  <a:gd name="T11" fmla="*/ 223 h 929"/>
                  <a:gd name="T12" fmla="*/ 485 w 1017"/>
                  <a:gd name="T13" fmla="*/ 19 h 929"/>
                  <a:gd name="T14" fmla="*/ 485 w 1017"/>
                  <a:gd name="T15" fmla="*/ 19 h 929"/>
                  <a:gd name="T16" fmla="*/ 305 w 1017"/>
                  <a:gd name="T17" fmla="*/ 108 h 929"/>
                  <a:gd name="T18" fmla="*/ 305 w 1017"/>
                  <a:gd name="T19" fmla="*/ 108 h 929"/>
                  <a:gd name="T20" fmla="*/ 134 w 1017"/>
                  <a:gd name="T21" fmla="*/ 293 h 929"/>
                  <a:gd name="T22" fmla="*/ 134 w 1017"/>
                  <a:gd name="T23" fmla="*/ 293 h 929"/>
                  <a:gd name="T24" fmla="*/ 31 w 1017"/>
                  <a:gd name="T25" fmla="*/ 418 h 929"/>
                  <a:gd name="T26" fmla="*/ 31 w 1017"/>
                  <a:gd name="T27" fmla="*/ 418 h 929"/>
                  <a:gd name="T28" fmla="*/ 31 w 1017"/>
                  <a:gd name="T29" fmla="*/ 550 h 929"/>
                  <a:gd name="T30" fmla="*/ 31 w 1017"/>
                  <a:gd name="T31" fmla="*/ 550 h 929"/>
                  <a:gd name="T32" fmla="*/ 37 w 1017"/>
                  <a:gd name="T33" fmla="*/ 669 h 929"/>
                  <a:gd name="T34" fmla="*/ 37 w 1017"/>
                  <a:gd name="T35" fmla="*/ 669 h 929"/>
                  <a:gd name="T36" fmla="*/ 674 w 1017"/>
                  <a:gd name="T37" fmla="*/ 919 h 929"/>
                  <a:gd name="T38" fmla="*/ 674 w 1017"/>
                  <a:gd name="T39" fmla="*/ 919 h 929"/>
                  <a:gd name="T40" fmla="*/ 954 w 1017"/>
                  <a:gd name="T41" fmla="*/ 662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17" h="929">
                    <a:moveTo>
                      <a:pt x="954" y="662"/>
                    </a:moveTo>
                    <a:lnTo>
                      <a:pt x="954" y="662"/>
                    </a:lnTo>
                    <a:cubicBezTo>
                      <a:pt x="954" y="662"/>
                      <a:pt x="1016" y="334"/>
                      <a:pt x="976" y="236"/>
                    </a:cubicBezTo>
                    <a:lnTo>
                      <a:pt x="976" y="236"/>
                    </a:lnTo>
                    <a:cubicBezTo>
                      <a:pt x="963" y="206"/>
                      <a:pt x="939" y="144"/>
                      <a:pt x="807" y="223"/>
                    </a:cubicBezTo>
                    <a:lnTo>
                      <a:pt x="807" y="223"/>
                    </a:lnTo>
                    <a:cubicBezTo>
                      <a:pt x="777" y="241"/>
                      <a:pt x="774" y="157"/>
                      <a:pt x="485" y="19"/>
                    </a:cubicBezTo>
                    <a:lnTo>
                      <a:pt x="485" y="19"/>
                    </a:lnTo>
                    <a:cubicBezTo>
                      <a:pt x="447" y="0"/>
                      <a:pt x="313" y="23"/>
                      <a:pt x="305" y="108"/>
                    </a:cubicBezTo>
                    <a:lnTo>
                      <a:pt x="305" y="108"/>
                    </a:lnTo>
                    <a:cubicBezTo>
                      <a:pt x="296" y="193"/>
                      <a:pt x="145" y="216"/>
                      <a:pt x="134" y="293"/>
                    </a:cubicBezTo>
                    <a:lnTo>
                      <a:pt x="134" y="293"/>
                    </a:lnTo>
                    <a:cubicBezTo>
                      <a:pt x="125" y="362"/>
                      <a:pt x="77" y="368"/>
                      <a:pt x="31" y="418"/>
                    </a:cubicBezTo>
                    <a:lnTo>
                      <a:pt x="31" y="418"/>
                    </a:lnTo>
                    <a:cubicBezTo>
                      <a:pt x="0" y="452"/>
                      <a:pt x="47" y="516"/>
                      <a:pt x="31" y="550"/>
                    </a:cubicBezTo>
                    <a:lnTo>
                      <a:pt x="31" y="550"/>
                    </a:lnTo>
                    <a:cubicBezTo>
                      <a:pt x="16" y="581"/>
                      <a:pt x="23" y="648"/>
                      <a:pt x="37" y="669"/>
                    </a:cubicBezTo>
                    <a:lnTo>
                      <a:pt x="37" y="669"/>
                    </a:lnTo>
                    <a:cubicBezTo>
                      <a:pt x="88" y="754"/>
                      <a:pt x="436" y="928"/>
                      <a:pt x="674" y="919"/>
                    </a:cubicBezTo>
                    <a:lnTo>
                      <a:pt x="674" y="919"/>
                    </a:lnTo>
                    <a:cubicBezTo>
                      <a:pt x="912" y="910"/>
                      <a:pt x="954" y="662"/>
                      <a:pt x="954" y="662"/>
                    </a:cubicBez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0" name="Freeform 185">
                <a:extLst>
                  <a:ext uri="{FF2B5EF4-FFF2-40B4-BE49-F238E27FC236}">
                    <a16:creationId xmlns:a16="http://schemas.microsoft.com/office/drawing/2014/main" id="{01DBE3A9-1E68-A043-B8DC-0AB34E09F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38430" y="6198413"/>
                <a:ext cx="2629715" cy="4582562"/>
              </a:xfrm>
              <a:custGeom>
                <a:avLst/>
                <a:gdLst>
                  <a:gd name="T0" fmla="*/ 3453 w 4025"/>
                  <a:gd name="T1" fmla="*/ 2055 h 7014"/>
                  <a:gd name="T2" fmla="*/ 3453 w 4025"/>
                  <a:gd name="T3" fmla="*/ 2055 h 7014"/>
                  <a:gd name="T4" fmla="*/ 3271 w 4025"/>
                  <a:gd name="T5" fmla="*/ 4628 h 7014"/>
                  <a:gd name="T6" fmla="*/ 3271 w 4025"/>
                  <a:gd name="T7" fmla="*/ 4628 h 7014"/>
                  <a:gd name="T8" fmla="*/ 1924 w 4025"/>
                  <a:gd name="T9" fmla="*/ 5611 h 7014"/>
                  <a:gd name="T10" fmla="*/ 1924 w 4025"/>
                  <a:gd name="T11" fmla="*/ 5611 h 7014"/>
                  <a:gd name="T12" fmla="*/ 1228 w 4025"/>
                  <a:gd name="T13" fmla="*/ 4945 h 7014"/>
                  <a:gd name="T14" fmla="*/ 1228 w 4025"/>
                  <a:gd name="T15" fmla="*/ 4945 h 7014"/>
                  <a:gd name="T16" fmla="*/ 1168 w 4025"/>
                  <a:gd name="T17" fmla="*/ 2922 h 7014"/>
                  <a:gd name="T18" fmla="*/ 1168 w 4025"/>
                  <a:gd name="T19" fmla="*/ 2922 h 7014"/>
                  <a:gd name="T20" fmla="*/ 1600 w 4025"/>
                  <a:gd name="T21" fmla="*/ 1627 h 7014"/>
                  <a:gd name="T22" fmla="*/ 1600 w 4025"/>
                  <a:gd name="T23" fmla="*/ 1627 h 7014"/>
                  <a:gd name="T24" fmla="*/ 3094 w 4025"/>
                  <a:gd name="T25" fmla="*/ 1011 h 7014"/>
                  <a:gd name="T26" fmla="*/ 3094 w 4025"/>
                  <a:gd name="T27" fmla="*/ 1011 h 7014"/>
                  <a:gd name="T28" fmla="*/ 3453 w 4025"/>
                  <a:gd name="T29" fmla="*/ 2055 h 7014"/>
                  <a:gd name="T30" fmla="*/ 3401 w 4025"/>
                  <a:gd name="T31" fmla="*/ 174 h 7014"/>
                  <a:gd name="T32" fmla="*/ 3401 w 4025"/>
                  <a:gd name="T33" fmla="*/ 174 h 7014"/>
                  <a:gd name="T34" fmla="*/ 1220 w 4025"/>
                  <a:gd name="T35" fmla="*/ 1074 h 7014"/>
                  <a:gd name="T36" fmla="*/ 1220 w 4025"/>
                  <a:gd name="T37" fmla="*/ 1074 h 7014"/>
                  <a:gd name="T38" fmla="*/ 590 w 4025"/>
                  <a:gd name="T39" fmla="*/ 2965 h 7014"/>
                  <a:gd name="T40" fmla="*/ 590 w 4025"/>
                  <a:gd name="T41" fmla="*/ 2965 h 7014"/>
                  <a:gd name="T42" fmla="*/ 623 w 4025"/>
                  <a:gd name="T43" fmla="*/ 5641 h 7014"/>
                  <a:gd name="T44" fmla="*/ 623 w 4025"/>
                  <a:gd name="T45" fmla="*/ 5641 h 7014"/>
                  <a:gd name="T46" fmla="*/ 0 w 4025"/>
                  <a:gd name="T47" fmla="*/ 6372 h 7014"/>
                  <a:gd name="T48" fmla="*/ 0 w 4025"/>
                  <a:gd name="T49" fmla="*/ 6372 h 7014"/>
                  <a:gd name="T50" fmla="*/ 1803 w 4025"/>
                  <a:gd name="T51" fmla="*/ 6837 h 7014"/>
                  <a:gd name="T52" fmla="*/ 1803 w 4025"/>
                  <a:gd name="T53" fmla="*/ 6837 h 7014"/>
                  <a:gd name="T54" fmla="*/ 3571 w 4025"/>
                  <a:gd name="T55" fmla="*/ 5386 h 7014"/>
                  <a:gd name="T56" fmla="*/ 3571 w 4025"/>
                  <a:gd name="T57" fmla="*/ 5386 h 7014"/>
                  <a:gd name="T58" fmla="*/ 3938 w 4025"/>
                  <a:gd name="T59" fmla="*/ 1991 h 7014"/>
                  <a:gd name="T60" fmla="*/ 3938 w 4025"/>
                  <a:gd name="T61" fmla="*/ 1991 h 7014"/>
                  <a:gd name="T62" fmla="*/ 3401 w 4025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25" h="7014">
                    <a:moveTo>
                      <a:pt x="3453" y="2055"/>
                    </a:moveTo>
                    <a:lnTo>
                      <a:pt x="3453" y="2055"/>
                    </a:lnTo>
                    <a:cubicBezTo>
                      <a:pt x="3390" y="2741"/>
                      <a:pt x="3332" y="4326"/>
                      <a:pt x="3271" y="4628"/>
                    </a:cubicBezTo>
                    <a:lnTo>
                      <a:pt x="3271" y="4628"/>
                    </a:lnTo>
                    <a:cubicBezTo>
                      <a:pt x="3203" y="4970"/>
                      <a:pt x="2413" y="5315"/>
                      <a:pt x="1924" y="5611"/>
                    </a:cubicBezTo>
                    <a:lnTo>
                      <a:pt x="1924" y="5611"/>
                    </a:lnTo>
                    <a:cubicBezTo>
                      <a:pt x="1289" y="5997"/>
                      <a:pt x="1242" y="5377"/>
                      <a:pt x="1228" y="4945"/>
                    </a:cubicBezTo>
                    <a:lnTo>
                      <a:pt x="1228" y="4945"/>
                    </a:lnTo>
                    <a:cubicBezTo>
                      <a:pt x="1215" y="4514"/>
                      <a:pt x="1210" y="3450"/>
                      <a:pt x="1168" y="2922"/>
                    </a:cubicBezTo>
                    <a:lnTo>
                      <a:pt x="1168" y="2922"/>
                    </a:lnTo>
                    <a:cubicBezTo>
                      <a:pt x="1127" y="2395"/>
                      <a:pt x="1148" y="1975"/>
                      <a:pt x="1600" y="1627"/>
                    </a:cubicBezTo>
                    <a:lnTo>
                      <a:pt x="1600" y="1627"/>
                    </a:lnTo>
                    <a:cubicBezTo>
                      <a:pt x="2248" y="1131"/>
                      <a:pt x="2854" y="893"/>
                      <a:pt x="3094" y="1011"/>
                    </a:cubicBezTo>
                    <a:lnTo>
                      <a:pt x="3094" y="1011"/>
                    </a:lnTo>
                    <a:cubicBezTo>
                      <a:pt x="3411" y="1168"/>
                      <a:pt x="3512" y="1401"/>
                      <a:pt x="3453" y="2055"/>
                    </a:cubicBezTo>
                    <a:close/>
                    <a:moveTo>
                      <a:pt x="3401" y="174"/>
                    </a:moveTo>
                    <a:lnTo>
                      <a:pt x="3401" y="174"/>
                    </a:lnTo>
                    <a:cubicBezTo>
                      <a:pt x="3051" y="0"/>
                      <a:pt x="2166" y="349"/>
                      <a:pt x="1220" y="1074"/>
                    </a:cubicBezTo>
                    <a:lnTo>
                      <a:pt x="1220" y="1074"/>
                    </a:lnTo>
                    <a:cubicBezTo>
                      <a:pt x="559" y="1580"/>
                      <a:pt x="530" y="2195"/>
                      <a:pt x="590" y="2965"/>
                    </a:cubicBezTo>
                    <a:lnTo>
                      <a:pt x="590" y="2965"/>
                    </a:lnTo>
                    <a:cubicBezTo>
                      <a:pt x="650" y="3735"/>
                      <a:pt x="614" y="5011"/>
                      <a:pt x="623" y="5641"/>
                    </a:cubicBezTo>
                    <a:lnTo>
                      <a:pt x="623" y="5641"/>
                    </a:lnTo>
                    <a:cubicBezTo>
                      <a:pt x="634" y="6429"/>
                      <a:pt x="0" y="6372"/>
                      <a:pt x="0" y="6372"/>
                    </a:cubicBezTo>
                    <a:lnTo>
                      <a:pt x="0" y="6372"/>
                    </a:lnTo>
                    <a:cubicBezTo>
                      <a:pt x="571" y="6963"/>
                      <a:pt x="1377" y="7013"/>
                      <a:pt x="1803" y="6837"/>
                    </a:cubicBezTo>
                    <a:lnTo>
                      <a:pt x="1803" y="6837"/>
                    </a:lnTo>
                    <a:cubicBezTo>
                      <a:pt x="2575" y="6519"/>
                      <a:pt x="3471" y="5887"/>
                      <a:pt x="3571" y="5386"/>
                    </a:cubicBezTo>
                    <a:lnTo>
                      <a:pt x="3571" y="5386"/>
                    </a:lnTo>
                    <a:cubicBezTo>
                      <a:pt x="3659" y="4946"/>
                      <a:pt x="3847" y="2993"/>
                      <a:pt x="3938" y="1991"/>
                    </a:cubicBezTo>
                    <a:lnTo>
                      <a:pt x="3938" y="1991"/>
                    </a:lnTo>
                    <a:cubicBezTo>
                      <a:pt x="4024" y="1036"/>
                      <a:pt x="3864" y="405"/>
                      <a:pt x="3401" y="174"/>
                    </a:cubicBezTo>
                    <a:close/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1" name="Freeform 186">
                <a:extLst>
                  <a:ext uri="{FF2B5EF4-FFF2-40B4-BE49-F238E27FC236}">
                    <a16:creationId xmlns:a16="http://schemas.microsoft.com/office/drawing/2014/main" id="{60BB0ED0-FC83-0F4B-AE56-966F7130DD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1547" y="6541169"/>
                <a:ext cx="1690737" cy="3666624"/>
              </a:xfrm>
              <a:custGeom>
                <a:avLst/>
                <a:gdLst>
                  <a:gd name="T0" fmla="*/ 2588 w 2589"/>
                  <a:gd name="T1" fmla="*/ 4615 h 5615"/>
                  <a:gd name="T2" fmla="*/ 0 w 2589"/>
                  <a:gd name="T3" fmla="*/ 5614 h 5615"/>
                  <a:gd name="T4" fmla="*/ 0 w 2589"/>
                  <a:gd name="T5" fmla="*/ 998 h 5615"/>
                  <a:gd name="T6" fmla="*/ 2588 w 2589"/>
                  <a:gd name="T7" fmla="*/ 0 h 5615"/>
                  <a:gd name="T8" fmla="*/ 2588 w 2589"/>
                  <a:gd name="T9" fmla="*/ 4615 h 5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9" h="5615">
                    <a:moveTo>
                      <a:pt x="2588" y="4615"/>
                    </a:moveTo>
                    <a:lnTo>
                      <a:pt x="0" y="5614"/>
                    </a:lnTo>
                    <a:lnTo>
                      <a:pt x="0" y="998"/>
                    </a:lnTo>
                    <a:lnTo>
                      <a:pt x="2588" y="0"/>
                    </a:lnTo>
                    <a:lnTo>
                      <a:pt x="2588" y="46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2" name="Freeform 187">
                <a:extLst>
                  <a:ext uri="{FF2B5EF4-FFF2-40B4-BE49-F238E27FC236}">
                    <a16:creationId xmlns:a16="http://schemas.microsoft.com/office/drawing/2014/main" id="{CF65C17C-2408-F14E-8C80-DFFC7730E8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29064" y="11218780"/>
                <a:ext cx="2635478" cy="1385425"/>
              </a:xfrm>
              <a:custGeom>
                <a:avLst/>
                <a:gdLst>
                  <a:gd name="T0" fmla="*/ 3967 w 4034"/>
                  <a:gd name="T1" fmla="*/ 1755 h 2120"/>
                  <a:gd name="T2" fmla="*/ 2983 w 4034"/>
                  <a:gd name="T3" fmla="*/ 1014 h 2120"/>
                  <a:gd name="T4" fmla="*/ 2983 w 4034"/>
                  <a:gd name="T5" fmla="*/ 1014 h 2120"/>
                  <a:gd name="T6" fmla="*/ 2997 w 4034"/>
                  <a:gd name="T7" fmla="*/ 658 h 2120"/>
                  <a:gd name="T8" fmla="*/ 3834 w 4034"/>
                  <a:gd name="T9" fmla="*/ 132 h 2120"/>
                  <a:gd name="T10" fmla="*/ 3834 w 4034"/>
                  <a:gd name="T11" fmla="*/ 132 h 2120"/>
                  <a:gd name="T12" fmla="*/ 3644 w 4034"/>
                  <a:gd name="T13" fmla="*/ 12 h 2120"/>
                  <a:gd name="T14" fmla="*/ 3644 w 4034"/>
                  <a:gd name="T15" fmla="*/ 12 h 2120"/>
                  <a:gd name="T16" fmla="*/ 2261 w 4034"/>
                  <a:gd name="T17" fmla="*/ 485 h 2120"/>
                  <a:gd name="T18" fmla="*/ 2261 w 4034"/>
                  <a:gd name="T19" fmla="*/ 485 h 2120"/>
                  <a:gd name="T20" fmla="*/ 2012 w 4034"/>
                  <a:gd name="T21" fmla="*/ 451 h 2120"/>
                  <a:gd name="T22" fmla="*/ 2012 w 4034"/>
                  <a:gd name="T23" fmla="*/ 451 h 2120"/>
                  <a:gd name="T24" fmla="*/ 1902 w 4034"/>
                  <a:gd name="T25" fmla="*/ 457 h 2120"/>
                  <a:gd name="T26" fmla="*/ 1905 w 4034"/>
                  <a:gd name="T27" fmla="*/ 452 h 2120"/>
                  <a:gd name="T28" fmla="*/ 1905 w 4034"/>
                  <a:gd name="T29" fmla="*/ 452 h 2120"/>
                  <a:gd name="T30" fmla="*/ 590 w 4034"/>
                  <a:gd name="T31" fmla="*/ 51 h 2120"/>
                  <a:gd name="T32" fmla="*/ 590 w 4034"/>
                  <a:gd name="T33" fmla="*/ 51 h 2120"/>
                  <a:gd name="T34" fmla="*/ 371 w 4034"/>
                  <a:gd name="T35" fmla="*/ 255 h 2120"/>
                  <a:gd name="T36" fmla="*/ 1117 w 4034"/>
                  <a:gd name="T37" fmla="*/ 630 h 2120"/>
                  <a:gd name="T38" fmla="*/ 1117 w 4034"/>
                  <a:gd name="T39" fmla="*/ 630 h 2120"/>
                  <a:gd name="T40" fmla="*/ 1150 w 4034"/>
                  <a:gd name="T41" fmla="*/ 995 h 2120"/>
                  <a:gd name="T42" fmla="*/ 65 w 4034"/>
                  <a:gd name="T43" fmla="*/ 1812 h 2120"/>
                  <a:gd name="T44" fmla="*/ 65 w 4034"/>
                  <a:gd name="T45" fmla="*/ 1812 h 2120"/>
                  <a:gd name="T46" fmla="*/ 123 w 4034"/>
                  <a:gd name="T47" fmla="*/ 2080 h 2120"/>
                  <a:gd name="T48" fmla="*/ 123 w 4034"/>
                  <a:gd name="T49" fmla="*/ 2080 h 2120"/>
                  <a:gd name="T50" fmla="*/ 338 w 4034"/>
                  <a:gd name="T51" fmla="*/ 2054 h 2120"/>
                  <a:gd name="T52" fmla="*/ 1578 w 4034"/>
                  <a:gd name="T53" fmla="*/ 1480 h 2120"/>
                  <a:gd name="T54" fmla="*/ 1578 w 4034"/>
                  <a:gd name="T55" fmla="*/ 1480 h 2120"/>
                  <a:gd name="T56" fmla="*/ 2610 w 4034"/>
                  <a:gd name="T57" fmla="*/ 1484 h 2120"/>
                  <a:gd name="T58" fmla="*/ 3695 w 4034"/>
                  <a:gd name="T59" fmla="*/ 1997 h 2120"/>
                  <a:gd name="T60" fmla="*/ 3695 w 4034"/>
                  <a:gd name="T61" fmla="*/ 1997 h 2120"/>
                  <a:gd name="T62" fmla="*/ 3910 w 4034"/>
                  <a:gd name="T63" fmla="*/ 2023 h 2120"/>
                  <a:gd name="T64" fmla="*/ 3910 w 4034"/>
                  <a:gd name="T65" fmla="*/ 2023 h 2120"/>
                  <a:gd name="T66" fmla="*/ 3967 w 4034"/>
                  <a:gd name="T67" fmla="*/ 1755 h 2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4" h="2120">
                    <a:moveTo>
                      <a:pt x="3967" y="1755"/>
                    </a:moveTo>
                    <a:lnTo>
                      <a:pt x="2983" y="1014"/>
                    </a:lnTo>
                    <a:lnTo>
                      <a:pt x="2983" y="1014"/>
                    </a:lnTo>
                    <a:cubicBezTo>
                      <a:pt x="2861" y="923"/>
                      <a:pt x="2869" y="738"/>
                      <a:pt x="2997" y="658"/>
                    </a:cubicBezTo>
                    <a:lnTo>
                      <a:pt x="3834" y="132"/>
                    </a:lnTo>
                    <a:lnTo>
                      <a:pt x="3834" y="132"/>
                    </a:lnTo>
                    <a:cubicBezTo>
                      <a:pt x="3834" y="132"/>
                      <a:pt x="3816" y="26"/>
                      <a:pt x="3644" y="12"/>
                    </a:cubicBezTo>
                    <a:lnTo>
                      <a:pt x="3644" y="12"/>
                    </a:lnTo>
                    <a:cubicBezTo>
                      <a:pt x="3485" y="0"/>
                      <a:pt x="2419" y="422"/>
                      <a:pt x="2261" y="485"/>
                    </a:cubicBezTo>
                    <a:lnTo>
                      <a:pt x="2261" y="485"/>
                    </a:lnTo>
                    <a:cubicBezTo>
                      <a:pt x="2187" y="463"/>
                      <a:pt x="2102" y="451"/>
                      <a:pt x="2012" y="451"/>
                    </a:cubicBezTo>
                    <a:lnTo>
                      <a:pt x="2012" y="451"/>
                    </a:lnTo>
                    <a:cubicBezTo>
                      <a:pt x="1974" y="451"/>
                      <a:pt x="1938" y="453"/>
                      <a:pt x="1902" y="457"/>
                    </a:cubicBezTo>
                    <a:lnTo>
                      <a:pt x="1905" y="452"/>
                    </a:lnTo>
                    <a:lnTo>
                      <a:pt x="1905" y="452"/>
                    </a:lnTo>
                    <a:cubicBezTo>
                      <a:pt x="1905" y="452"/>
                      <a:pt x="781" y="3"/>
                      <a:pt x="590" y="51"/>
                    </a:cubicBezTo>
                    <a:lnTo>
                      <a:pt x="590" y="51"/>
                    </a:lnTo>
                    <a:cubicBezTo>
                      <a:pt x="399" y="98"/>
                      <a:pt x="371" y="255"/>
                      <a:pt x="371" y="255"/>
                    </a:cubicBezTo>
                    <a:lnTo>
                      <a:pt x="1117" y="630"/>
                    </a:lnTo>
                    <a:lnTo>
                      <a:pt x="1117" y="630"/>
                    </a:lnTo>
                    <a:cubicBezTo>
                      <a:pt x="1261" y="702"/>
                      <a:pt x="1278" y="899"/>
                      <a:pt x="1150" y="995"/>
                    </a:cubicBezTo>
                    <a:lnTo>
                      <a:pt x="65" y="1812"/>
                    </a:lnTo>
                    <a:lnTo>
                      <a:pt x="65" y="1812"/>
                    </a:lnTo>
                    <a:cubicBezTo>
                      <a:pt x="0" y="1901"/>
                      <a:pt x="27" y="2026"/>
                      <a:pt x="123" y="2080"/>
                    </a:cubicBezTo>
                    <a:lnTo>
                      <a:pt x="123" y="2080"/>
                    </a:lnTo>
                    <a:cubicBezTo>
                      <a:pt x="193" y="2119"/>
                      <a:pt x="280" y="2108"/>
                      <a:pt x="338" y="2054"/>
                    </a:cubicBezTo>
                    <a:lnTo>
                      <a:pt x="1578" y="1480"/>
                    </a:lnTo>
                    <a:lnTo>
                      <a:pt x="1578" y="1480"/>
                    </a:lnTo>
                    <a:cubicBezTo>
                      <a:pt x="1906" y="1328"/>
                      <a:pt x="2284" y="1330"/>
                      <a:pt x="2610" y="1484"/>
                    </a:cubicBezTo>
                    <a:lnTo>
                      <a:pt x="3695" y="1997"/>
                    </a:lnTo>
                    <a:lnTo>
                      <a:pt x="3695" y="1997"/>
                    </a:lnTo>
                    <a:cubicBezTo>
                      <a:pt x="3754" y="2051"/>
                      <a:pt x="3841" y="2062"/>
                      <a:pt x="3910" y="2023"/>
                    </a:cubicBezTo>
                    <a:lnTo>
                      <a:pt x="3910" y="2023"/>
                    </a:lnTo>
                    <a:cubicBezTo>
                      <a:pt x="4006" y="1969"/>
                      <a:pt x="4033" y="1844"/>
                      <a:pt x="3967" y="1755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3" name="Freeform 512">
                <a:extLst>
                  <a:ext uri="{FF2B5EF4-FFF2-40B4-BE49-F238E27FC236}">
                    <a16:creationId xmlns:a16="http://schemas.microsoft.com/office/drawing/2014/main" id="{04064B34-2372-214B-9FEB-7FE4B5706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18630" y="10743529"/>
                <a:ext cx="249931" cy="981537"/>
              </a:xfrm>
              <a:custGeom>
                <a:avLst/>
                <a:gdLst>
                  <a:gd name="connsiteX0" fmla="*/ 0 w 249931"/>
                  <a:gd name="connsiteY0" fmla="*/ 0 h 981537"/>
                  <a:gd name="connsiteX1" fmla="*/ 249931 w 249931"/>
                  <a:gd name="connsiteY1" fmla="*/ 0 h 981537"/>
                  <a:gd name="connsiteX2" fmla="*/ 249931 w 249931"/>
                  <a:gd name="connsiteY2" fmla="*/ 912405 h 981537"/>
                  <a:gd name="connsiteX3" fmla="*/ 249262 w 249931"/>
                  <a:gd name="connsiteY3" fmla="*/ 912405 h 981537"/>
                  <a:gd name="connsiteX4" fmla="*/ 249931 w 249931"/>
                  <a:gd name="connsiteY4" fmla="*/ 914174 h 981537"/>
                  <a:gd name="connsiteX5" fmla="*/ 124965 w 249931"/>
                  <a:gd name="connsiteY5" fmla="*/ 981537 h 981537"/>
                  <a:gd name="connsiteX6" fmla="*/ 0 w 249931"/>
                  <a:gd name="connsiteY6" fmla="*/ 914174 h 981537"/>
                  <a:gd name="connsiteX7" fmla="*/ 669 w 249931"/>
                  <a:gd name="connsiteY7" fmla="*/ 912405 h 981537"/>
                  <a:gd name="connsiteX8" fmla="*/ 0 w 249931"/>
                  <a:gd name="connsiteY8" fmla="*/ 912405 h 98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931" h="981537">
                    <a:moveTo>
                      <a:pt x="0" y="0"/>
                    </a:moveTo>
                    <a:lnTo>
                      <a:pt x="249931" y="0"/>
                    </a:lnTo>
                    <a:lnTo>
                      <a:pt x="249931" y="912405"/>
                    </a:lnTo>
                    <a:lnTo>
                      <a:pt x="249262" y="912405"/>
                    </a:lnTo>
                    <a:lnTo>
                      <a:pt x="249931" y="914174"/>
                    </a:lnTo>
                    <a:cubicBezTo>
                      <a:pt x="249931" y="951094"/>
                      <a:pt x="193664" y="981537"/>
                      <a:pt x="124965" y="981537"/>
                    </a:cubicBezTo>
                    <a:cubicBezTo>
                      <a:pt x="56267" y="981537"/>
                      <a:pt x="0" y="951094"/>
                      <a:pt x="0" y="914174"/>
                    </a:cubicBezTo>
                    <a:lnTo>
                      <a:pt x="669" y="912405"/>
                    </a:lnTo>
                    <a:lnTo>
                      <a:pt x="0" y="9124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4" name="Freeform 190">
                <a:extLst>
                  <a:ext uri="{FF2B5EF4-FFF2-40B4-BE49-F238E27FC236}">
                    <a16:creationId xmlns:a16="http://schemas.microsoft.com/office/drawing/2014/main" id="{534C7612-6901-674D-BF57-385B17EC5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5397" y="9793029"/>
                <a:ext cx="3090565" cy="1117557"/>
              </a:xfrm>
              <a:custGeom>
                <a:avLst/>
                <a:gdLst>
                  <a:gd name="T0" fmla="*/ 2591 w 4732"/>
                  <a:gd name="T1" fmla="*/ 1003 h 1713"/>
                  <a:gd name="T2" fmla="*/ 0 w 4732"/>
                  <a:gd name="T3" fmla="*/ 0 h 1713"/>
                  <a:gd name="T4" fmla="*/ 0 w 4732"/>
                  <a:gd name="T5" fmla="*/ 0 h 1713"/>
                  <a:gd name="T6" fmla="*/ 1588 w 4732"/>
                  <a:gd name="T7" fmla="*/ 1397 h 1713"/>
                  <a:gd name="T8" fmla="*/ 1588 w 4732"/>
                  <a:gd name="T9" fmla="*/ 1397 h 1713"/>
                  <a:gd name="T10" fmla="*/ 3503 w 4732"/>
                  <a:gd name="T11" fmla="*/ 1577 h 1713"/>
                  <a:gd name="T12" fmla="*/ 3503 w 4732"/>
                  <a:gd name="T13" fmla="*/ 1577 h 1713"/>
                  <a:gd name="T14" fmla="*/ 4731 w 4732"/>
                  <a:gd name="T15" fmla="*/ 980 h 1713"/>
                  <a:gd name="T16" fmla="*/ 2591 w 4732"/>
                  <a:gd name="T17" fmla="*/ 1003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32" h="1713">
                    <a:moveTo>
                      <a:pt x="2591" y="1003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0" y="0"/>
                      <a:pt x="777" y="1082"/>
                      <a:pt x="1588" y="1397"/>
                    </a:cubicBezTo>
                    <a:lnTo>
                      <a:pt x="1588" y="1397"/>
                    </a:lnTo>
                    <a:cubicBezTo>
                      <a:pt x="2400" y="1712"/>
                      <a:pt x="3019" y="1689"/>
                      <a:pt x="3503" y="1577"/>
                    </a:cubicBezTo>
                    <a:lnTo>
                      <a:pt x="3503" y="1577"/>
                    </a:lnTo>
                    <a:cubicBezTo>
                      <a:pt x="4207" y="1413"/>
                      <a:pt x="4731" y="980"/>
                      <a:pt x="4731" y="980"/>
                    </a:cubicBezTo>
                    <a:lnTo>
                      <a:pt x="2591" y="1003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5" name="Freeform 191">
                <a:extLst>
                  <a:ext uri="{FF2B5EF4-FFF2-40B4-BE49-F238E27FC236}">
                    <a16:creationId xmlns:a16="http://schemas.microsoft.com/office/drawing/2014/main" id="{E09DD5EF-5A56-5647-9EEA-A0D9D1275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16197" y="6198413"/>
                <a:ext cx="2661399" cy="4582562"/>
              </a:xfrm>
              <a:custGeom>
                <a:avLst/>
                <a:gdLst>
                  <a:gd name="T0" fmla="*/ 3499 w 4073"/>
                  <a:gd name="T1" fmla="*/ 2055 h 7014"/>
                  <a:gd name="T2" fmla="*/ 3499 w 4073"/>
                  <a:gd name="T3" fmla="*/ 2055 h 7014"/>
                  <a:gd name="T4" fmla="*/ 3318 w 4073"/>
                  <a:gd name="T5" fmla="*/ 4628 h 7014"/>
                  <a:gd name="T6" fmla="*/ 3318 w 4073"/>
                  <a:gd name="T7" fmla="*/ 4628 h 7014"/>
                  <a:gd name="T8" fmla="*/ 1971 w 4073"/>
                  <a:gd name="T9" fmla="*/ 5611 h 7014"/>
                  <a:gd name="T10" fmla="*/ 1971 w 4073"/>
                  <a:gd name="T11" fmla="*/ 5611 h 7014"/>
                  <a:gd name="T12" fmla="*/ 1275 w 4073"/>
                  <a:gd name="T13" fmla="*/ 4945 h 7014"/>
                  <a:gd name="T14" fmla="*/ 1275 w 4073"/>
                  <a:gd name="T15" fmla="*/ 4945 h 7014"/>
                  <a:gd name="T16" fmla="*/ 1215 w 4073"/>
                  <a:gd name="T17" fmla="*/ 2922 h 7014"/>
                  <a:gd name="T18" fmla="*/ 1215 w 4073"/>
                  <a:gd name="T19" fmla="*/ 2922 h 7014"/>
                  <a:gd name="T20" fmla="*/ 1647 w 4073"/>
                  <a:gd name="T21" fmla="*/ 1627 h 7014"/>
                  <a:gd name="T22" fmla="*/ 1647 w 4073"/>
                  <a:gd name="T23" fmla="*/ 1627 h 7014"/>
                  <a:gd name="T24" fmla="*/ 3141 w 4073"/>
                  <a:gd name="T25" fmla="*/ 1011 h 7014"/>
                  <a:gd name="T26" fmla="*/ 3141 w 4073"/>
                  <a:gd name="T27" fmla="*/ 1011 h 7014"/>
                  <a:gd name="T28" fmla="*/ 3499 w 4073"/>
                  <a:gd name="T29" fmla="*/ 2055 h 7014"/>
                  <a:gd name="T30" fmla="*/ 3448 w 4073"/>
                  <a:gd name="T31" fmla="*/ 174 h 7014"/>
                  <a:gd name="T32" fmla="*/ 3448 w 4073"/>
                  <a:gd name="T33" fmla="*/ 174 h 7014"/>
                  <a:gd name="T34" fmla="*/ 1267 w 4073"/>
                  <a:gd name="T35" fmla="*/ 1074 h 7014"/>
                  <a:gd name="T36" fmla="*/ 1267 w 4073"/>
                  <a:gd name="T37" fmla="*/ 1074 h 7014"/>
                  <a:gd name="T38" fmla="*/ 636 w 4073"/>
                  <a:gd name="T39" fmla="*/ 2965 h 7014"/>
                  <a:gd name="T40" fmla="*/ 636 w 4073"/>
                  <a:gd name="T41" fmla="*/ 2965 h 7014"/>
                  <a:gd name="T42" fmla="*/ 670 w 4073"/>
                  <a:gd name="T43" fmla="*/ 5641 h 7014"/>
                  <a:gd name="T44" fmla="*/ 670 w 4073"/>
                  <a:gd name="T45" fmla="*/ 5641 h 7014"/>
                  <a:gd name="T46" fmla="*/ 0 w 4073"/>
                  <a:gd name="T47" fmla="*/ 6413 h 7014"/>
                  <a:gd name="T48" fmla="*/ 0 w 4073"/>
                  <a:gd name="T49" fmla="*/ 6413 h 7014"/>
                  <a:gd name="T50" fmla="*/ 1850 w 4073"/>
                  <a:gd name="T51" fmla="*/ 6837 h 7014"/>
                  <a:gd name="T52" fmla="*/ 1850 w 4073"/>
                  <a:gd name="T53" fmla="*/ 6837 h 7014"/>
                  <a:gd name="T54" fmla="*/ 3618 w 4073"/>
                  <a:gd name="T55" fmla="*/ 5386 h 7014"/>
                  <a:gd name="T56" fmla="*/ 3618 w 4073"/>
                  <a:gd name="T57" fmla="*/ 5386 h 7014"/>
                  <a:gd name="T58" fmla="*/ 3985 w 4073"/>
                  <a:gd name="T59" fmla="*/ 1991 h 7014"/>
                  <a:gd name="T60" fmla="*/ 3985 w 4073"/>
                  <a:gd name="T61" fmla="*/ 1991 h 7014"/>
                  <a:gd name="T62" fmla="*/ 3448 w 4073"/>
                  <a:gd name="T63" fmla="*/ 174 h 7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73" h="7014">
                    <a:moveTo>
                      <a:pt x="3499" y="2055"/>
                    </a:moveTo>
                    <a:lnTo>
                      <a:pt x="3499" y="2055"/>
                    </a:lnTo>
                    <a:cubicBezTo>
                      <a:pt x="3437" y="2741"/>
                      <a:pt x="3378" y="4326"/>
                      <a:pt x="3318" y="4628"/>
                    </a:cubicBezTo>
                    <a:lnTo>
                      <a:pt x="3318" y="4628"/>
                    </a:lnTo>
                    <a:cubicBezTo>
                      <a:pt x="3249" y="4970"/>
                      <a:pt x="2460" y="5315"/>
                      <a:pt x="1971" y="5611"/>
                    </a:cubicBezTo>
                    <a:lnTo>
                      <a:pt x="1971" y="5611"/>
                    </a:lnTo>
                    <a:cubicBezTo>
                      <a:pt x="1336" y="5997"/>
                      <a:pt x="1289" y="5377"/>
                      <a:pt x="1275" y="4945"/>
                    </a:cubicBezTo>
                    <a:lnTo>
                      <a:pt x="1275" y="4945"/>
                    </a:lnTo>
                    <a:cubicBezTo>
                      <a:pt x="1261" y="4514"/>
                      <a:pt x="1257" y="3450"/>
                      <a:pt x="1215" y="2922"/>
                    </a:cubicBezTo>
                    <a:lnTo>
                      <a:pt x="1215" y="2922"/>
                    </a:lnTo>
                    <a:cubicBezTo>
                      <a:pt x="1174" y="2395"/>
                      <a:pt x="1195" y="1975"/>
                      <a:pt x="1647" y="1627"/>
                    </a:cubicBezTo>
                    <a:lnTo>
                      <a:pt x="1647" y="1627"/>
                    </a:lnTo>
                    <a:cubicBezTo>
                      <a:pt x="2294" y="1131"/>
                      <a:pt x="2900" y="893"/>
                      <a:pt x="3141" y="1011"/>
                    </a:cubicBezTo>
                    <a:lnTo>
                      <a:pt x="3141" y="1011"/>
                    </a:lnTo>
                    <a:cubicBezTo>
                      <a:pt x="3457" y="1168"/>
                      <a:pt x="3559" y="1401"/>
                      <a:pt x="3499" y="2055"/>
                    </a:cubicBezTo>
                    <a:close/>
                    <a:moveTo>
                      <a:pt x="3448" y="174"/>
                    </a:moveTo>
                    <a:lnTo>
                      <a:pt x="3448" y="174"/>
                    </a:lnTo>
                    <a:cubicBezTo>
                      <a:pt x="3098" y="0"/>
                      <a:pt x="2213" y="349"/>
                      <a:pt x="1267" y="1074"/>
                    </a:cubicBezTo>
                    <a:lnTo>
                      <a:pt x="1267" y="1074"/>
                    </a:lnTo>
                    <a:cubicBezTo>
                      <a:pt x="606" y="1580"/>
                      <a:pt x="576" y="2195"/>
                      <a:pt x="636" y="2965"/>
                    </a:cubicBezTo>
                    <a:lnTo>
                      <a:pt x="636" y="2965"/>
                    </a:lnTo>
                    <a:cubicBezTo>
                      <a:pt x="696" y="3735"/>
                      <a:pt x="670" y="5011"/>
                      <a:pt x="670" y="5641"/>
                    </a:cubicBezTo>
                    <a:lnTo>
                      <a:pt x="670" y="5641"/>
                    </a:lnTo>
                    <a:cubicBezTo>
                      <a:pt x="670" y="6458"/>
                      <a:pt x="0" y="6413"/>
                      <a:pt x="0" y="6413"/>
                    </a:cubicBezTo>
                    <a:lnTo>
                      <a:pt x="0" y="6413"/>
                    </a:lnTo>
                    <a:cubicBezTo>
                      <a:pt x="570" y="7003"/>
                      <a:pt x="1424" y="7013"/>
                      <a:pt x="1850" y="6837"/>
                    </a:cubicBezTo>
                    <a:lnTo>
                      <a:pt x="1850" y="6837"/>
                    </a:lnTo>
                    <a:cubicBezTo>
                      <a:pt x="2622" y="6519"/>
                      <a:pt x="3518" y="5887"/>
                      <a:pt x="3618" y="5386"/>
                    </a:cubicBezTo>
                    <a:lnTo>
                      <a:pt x="3618" y="5386"/>
                    </a:lnTo>
                    <a:cubicBezTo>
                      <a:pt x="3706" y="4946"/>
                      <a:pt x="3893" y="2993"/>
                      <a:pt x="3985" y="1991"/>
                    </a:cubicBezTo>
                    <a:lnTo>
                      <a:pt x="3985" y="1991"/>
                    </a:lnTo>
                    <a:cubicBezTo>
                      <a:pt x="4072" y="1036"/>
                      <a:pt x="3911" y="405"/>
                      <a:pt x="3448" y="17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6" name="Freeform 515">
                <a:extLst>
                  <a:ext uri="{FF2B5EF4-FFF2-40B4-BE49-F238E27FC236}">
                    <a16:creationId xmlns:a16="http://schemas.microsoft.com/office/drawing/2014/main" id="{ACFD9092-E282-8049-92F7-632FFEB203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8927" y="9084474"/>
                <a:ext cx="1341102" cy="1517268"/>
              </a:xfrm>
              <a:custGeom>
                <a:avLst/>
                <a:gdLst>
                  <a:gd name="connsiteX0" fmla="*/ 717193 w 1341102"/>
                  <a:gd name="connsiteY0" fmla="*/ 290912 h 1517268"/>
                  <a:gd name="connsiteX1" fmla="*/ 891924 w 1341102"/>
                  <a:gd name="connsiteY1" fmla="*/ 290912 h 1517268"/>
                  <a:gd name="connsiteX2" fmla="*/ 891924 w 1341102"/>
                  <a:gd name="connsiteY2" fmla="*/ 899519 h 1517268"/>
                  <a:gd name="connsiteX3" fmla="*/ 1124029 w 1341102"/>
                  <a:gd name="connsiteY3" fmla="*/ 1244962 h 1517268"/>
                  <a:gd name="connsiteX4" fmla="*/ 1232258 w 1341102"/>
                  <a:gd name="connsiteY4" fmla="*/ 1289367 h 1517268"/>
                  <a:gd name="connsiteX5" fmla="*/ 1328099 w 1341102"/>
                  <a:gd name="connsiteY5" fmla="*/ 1517268 h 1517268"/>
                  <a:gd name="connsiteX6" fmla="*/ 1058179 w 1341102"/>
                  <a:gd name="connsiteY6" fmla="*/ 1407562 h 1517268"/>
                  <a:gd name="connsiteX7" fmla="*/ 717193 w 1341102"/>
                  <a:gd name="connsiteY7" fmla="*/ 899519 h 1517268"/>
                  <a:gd name="connsiteX8" fmla="*/ 0 w 1341102"/>
                  <a:gd name="connsiteY8" fmla="*/ 0 h 1517268"/>
                  <a:gd name="connsiteX9" fmla="*/ 174730 w 1341102"/>
                  <a:gd name="connsiteY9" fmla="*/ 0 h 1517268"/>
                  <a:gd name="connsiteX10" fmla="*/ 174730 w 1341102"/>
                  <a:gd name="connsiteY10" fmla="*/ 608607 h 1517268"/>
                  <a:gd name="connsiteX11" fmla="*/ 406835 w 1341102"/>
                  <a:gd name="connsiteY11" fmla="*/ 954050 h 1517268"/>
                  <a:gd name="connsiteX12" fmla="*/ 515063 w 1341102"/>
                  <a:gd name="connsiteY12" fmla="*/ 997802 h 1517268"/>
                  <a:gd name="connsiteX13" fmla="*/ 610904 w 1341102"/>
                  <a:gd name="connsiteY13" fmla="*/ 1226356 h 1517268"/>
                  <a:gd name="connsiteX14" fmla="*/ 340985 w 1341102"/>
                  <a:gd name="connsiteY14" fmla="*/ 1115997 h 1517268"/>
                  <a:gd name="connsiteX15" fmla="*/ 0 w 1341102"/>
                  <a:gd name="connsiteY15" fmla="*/ 608607 h 151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41102" h="1517268">
                    <a:moveTo>
                      <a:pt x="717193" y="290912"/>
                    </a:moveTo>
                    <a:lnTo>
                      <a:pt x="891924" y="290912"/>
                    </a:lnTo>
                    <a:lnTo>
                      <a:pt x="891924" y="899519"/>
                    </a:lnTo>
                    <a:cubicBezTo>
                      <a:pt x="891924" y="1051018"/>
                      <a:pt x="983853" y="1188150"/>
                      <a:pt x="1124029" y="1244962"/>
                    </a:cubicBezTo>
                    <a:lnTo>
                      <a:pt x="1232258" y="1289367"/>
                    </a:lnTo>
                    <a:cubicBezTo>
                      <a:pt x="1321579" y="1325936"/>
                      <a:pt x="1364610" y="1427805"/>
                      <a:pt x="1328099" y="1517268"/>
                    </a:cubicBezTo>
                    <a:lnTo>
                      <a:pt x="1058179" y="1407562"/>
                    </a:lnTo>
                    <a:cubicBezTo>
                      <a:pt x="852153" y="1323323"/>
                      <a:pt x="717193" y="1122196"/>
                      <a:pt x="717193" y="899519"/>
                    </a:cubicBezTo>
                    <a:close/>
                    <a:moveTo>
                      <a:pt x="0" y="0"/>
                    </a:moveTo>
                    <a:lnTo>
                      <a:pt x="174730" y="0"/>
                    </a:lnTo>
                    <a:lnTo>
                      <a:pt x="174730" y="608607"/>
                    </a:lnTo>
                    <a:cubicBezTo>
                      <a:pt x="174730" y="760106"/>
                      <a:pt x="266659" y="897238"/>
                      <a:pt x="406835" y="954050"/>
                    </a:cubicBezTo>
                    <a:lnTo>
                      <a:pt x="515063" y="997802"/>
                    </a:lnTo>
                    <a:cubicBezTo>
                      <a:pt x="604384" y="1035024"/>
                      <a:pt x="647415" y="1136893"/>
                      <a:pt x="610904" y="1226356"/>
                    </a:cubicBezTo>
                    <a:lnTo>
                      <a:pt x="340985" y="1115997"/>
                    </a:lnTo>
                    <a:cubicBezTo>
                      <a:pt x="134960" y="1031759"/>
                      <a:pt x="0" y="831284"/>
                      <a:pt x="0" y="6086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7" name="Freeform 195">
                <a:extLst>
                  <a:ext uri="{FF2B5EF4-FFF2-40B4-BE49-F238E27FC236}">
                    <a16:creationId xmlns:a16="http://schemas.microsoft.com/office/drawing/2014/main" id="{64FFBD49-246F-4E4B-ABD9-1FCF626C1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0037" y="9375386"/>
                <a:ext cx="270748" cy="135373"/>
              </a:xfrm>
              <a:custGeom>
                <a:avLst/>
                <a:gdLst>
                  <a:gd name="T0" fmla="*/ 414 w 415"/>
                  <a:gd name="T1" fmla="*/ 104 h 209"/>
                  <a:gd name="T2" fmla="*/ 414 w 415"/>
                  <a:gd name="T3" fmla="*/ 104 h 209"/>
                  <a:gd name="T4" fmla="*/ 207 w 415"/>
                  <a:gd name="T5" fmla="*/ 208 h 209"/>
                  <a:gd name="T6" fmla="*/ 207 w 415"/>
                  <a:gd name="T7" fmla="*/ 208 h 209"/>
                  <a:gd name="T8" fmla="*/ 0 w 415"/>
                  <a:gd name="T9" fmla="*/ 104 h 209"/>
                  <a:gd name="T10" fmla="*/ 0 w 415"/>
                  <a:gd name="T11" fmla="*/ 104 h 209"/>
                  <a:gd name="T12" fmla="*/ 207 w 415"/>
                  <a:gd name="T13" fmla="*/ 0 h 209"/>
                  <a:gd name="T14" fmla="*/ 207 w 415"/>
                  <a:gd name="T15" fmla="*/ 0 h 209"/>
                  <a:gd name="T16" fmla="*/ 414 w 415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5" h="209">
                    <a:moveTo>
                      <a:pt x="414" y="104"/>
                    </a:moveTo>
                    <a:lnTo>
                      <a:pt x="414" y="104"/>
                    </a:lnTo>
                    <a:cubicBezTo>
                      <a:pt x="414" y="161"/>
                      <a:pt x="321" y="208"/>
                      <a:pt x="207" y="208"/>
                    </a:cubicBezTo>
                    <a:lnTo>
                      <a:pt x="207" y="208"/>
                    </a:lnTo>
                    <a:cubicBezTo>
                      <a:pt x="92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2" y="0"/>
                      <a:pt x="207" y="0"/>
                    </a:cubicBezTo>
                    <a:lnTo>
                      <a:pt x="207" y="0"/>
                    </a:lnTo>
                    <a:cubicBezTo>
                      <a:pt x="321" y="0"/>
                      <a:pt x="414" y="47"/>
                      <a:pt x="414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8" name="Freeform 517">
                <a:extLst>
                  <a:ext uri="{FF2B5EF4-FFF2-40B4-BE49-F238E27FC236}">
                    <a16:creationId xmlns:a16="http://schemas.microsoft.com/office/drawing/2014/main" id="{A1EB5A2C-7E06-254A-BD49-1477FC6A6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8508414"/>
                <a:ext cx="978649" cy="926803"/>
              </a:xfrm>
              <a:custGeom>
                <a:avLst/>
                <a:gdLst>
                  <a:gd name="connsiteX0" fmla="*/ 711432 w 978649"/>
                  <a:gd name="connsiteY0" fmla="*/ 336997 h 926803"/>
                  <a:gd name="connsiteX1" fmla="*/ 978649 w 978649"/>
                  <a:gd name="connsiteY1" fmla="*/ 336997 h 926803"/>
                  <a:gd name="connsiteX2" fmla="*/ 978649 w 978649"/>
                  <a:gd name="connsiteY2" fmla="*/ 926803 h 926803"/>
                  <a:gd name="connsiteX3" fmla="*/ 711432 w 978649"/>
                  <a:gd name="connsiteY3" fmla="*/ 926803 h 926803"/>
                  <a:gd name="connsiteX4" fmla="*/ 0 w 978649"/>
                  <a:gd name="connsiteY4" fmla="*/ 0 h 926803"/>
                  <a:gd name="connsiteX5" fmla="*/ 267215 w 978649"/>
                  <a:gd name="connsiteY5" fmla="*/ 0 h 926803"/>
                  <a:gd name="connsiteX6" fmla="*/ 267215 w 978649"/>
                  <a:gd name="connsiteY6" fmla="*/ 589808 h 926803"/>
                  <a:gd name="connsiteX7" fmla="*/ 0 w 978649"/>
                  <a:gd name="connsiteY7" fmla="*/ 589808 h 926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8649" h="926803">
                    <a:moveTo>
                      <a:pt x="711432" y="336997"/>
                    </a:moveTo>
                    <a:lnTo>
                      <a:pt x="978649" y="336997"/>
                    </a:lnTo>
                    <a:lnTo>
                      <a:pt x="978649" y="926803"/>
                    </a:lnTo>
                    <a:lnTo>
                      <a:pt x="711432" y="926803"/>
                    </a:lnTo>
                    <a:close/>
                    <a:moveTo>
                      <a:pt x="0" y="0"/>
                    </a:moveTo>
                    <a:lnTo>
                      <a:pt x="267215" y="0"/>
                    </a:lnTo>
                    <a:lnTo>
                      <a:pt x="267215" y="589808"/>
                    </a:lnTo>
                    <a:lnTo>
                      <a:pt x="0" y="58980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19" name="Freeform 197">
                <a:extLst>
                  <a:ext uri="{FF2B5EF4-FFF2-40B4-BE49-F238E27FC236}">
                    <a16:creationId xmlns:a16="http://schemas.microsoft.com/office/drawing/2014/main" id="{38691A78-F3B4-D142-9B24-958541AAA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38604" y="9038391"/>
                <a:ext cx="270748" cy="135375"/>
              </a:xfrm>
              <a:custGeom>
                <a:avLst/>
                <a:gdLst>
                  <a:gd name="T0" fmla="*/ 415 w 416"/>
                  <a:gd name="T1" fmla="*/ 104 h 209"/>
                  <a:gd name="T2" fmla="*/ 415 w 416"/>
                  <a:gd name="T3" fmla="*/ 104 h 209"/>
                  <a:gd name="T4" fmla="*/ 207 w 416"/>
                  <a:gd name="T5" fmla="*/ 208 h 209"/>
                  <a:gd name="T6" fmla="*/ 207 w 416"/>
                  <a:gd name="T7" fmla="*/ 208 h 209"/>
                  <a:gd name="T8" fmla="*/ 0 w 416"/>
                  <a:gd name="T9" fmla="*/ 104 h 209"/>
                  <a:gd name="T10" fmla="*/ 0 w 416"/>
                  <a:gd name="T11" fmla="*/ 104 h 209"/>
                  <a:gd name="T12" fmla="*/ 207 w 416"/>
                  <a:gd name="T13" fmla="*/ 0 h 209"/>
                  <a:gd name="T14" fmla="*/ 207 w 416"/>
                  <a:gd name="T15" fmla="*/ 0 h 209"/>
                  <a:gd name="T16" fmla="*/ 415 w 416"/>
                  <a:gd name="T17" fmla="*/ 10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209">
                    <a:moveTo>
                      <a:pt x="415" y="104"/>
                    </a:moveTo>
                    <a:lnTo>
                      <a:pt x="415" y="104"/>
                    </a:lnTo>
                    <a:cubicBezTo>
                      <a:pt x="415" y="161"/>
                      <a:pt x="322" y="208"/>
                      <a:pt x="207" y="208"/>
                    </a:cubicBezTo>
                    <a:lnTo>
                      <a:pt x="207" y="208"/>
                    </a:lnTo>
                    <a:cubicBezTo>
                      <a:pt x="93" y="208"/>
                      <a:pt x="0" y="161"/>
                      <a:pt x="0" y="104"/>
                    </a:cubicBezTo>
                    <a:lnTo>
                      <a:pt x="0" y="104"/>
                    </a:lnTo>
                    <a:cubicBezTo>
                      <a:pt x="0" y="47"/>
                      <a:pt x="93" y="0"/>
                      <a:pt x="207" y="0"/>
                    </a:cubicBezTo>
                    <a:lnTo>
                      <a:pt x="207" y="0"/>
                    </a:lnTo>
                    <a:cubicBezTo>
                      <a:pt x="322" y="0"/>
                      <a:pt x="415" y="47"/>
                      <a:pt x="415" y="10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0" name="Freeform 198">
                <a:extLst>
                  <a:ext uri="{FF2B5EF4-FFF2-40B4-BE49-F238E27FC236}">
                    <a16:creationId xmlns:a16="http://schemas.microsoft.com/office/drawing/2014/main" id="{000AF56B-D664-D546-82F8-90BD05789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20958" y="7978439"/>
                <a:ext cx="1797309" cy="1111797"/>
              </a:xfrm>
              <a:custGeom>
                <a:avLst/>
                <a:gdLst>
                  <a:gd name="T0" fmla="*/ 570 w 2752"/>
                  <a:gd name="T1" fmla="*/ 800 h 1702"/>
                  <a:gd name="T2" fmla="*/ 570 w 2752"/>
                  <a:gd name="T3" fmla="*/ 800 h 1702"/>
                  <a:gd name="T4" fmla="*/ 160 w 2752"/>
                  <a:gd name="T5" fmla="*/ 321 h 1702"/>
                  <a:gd name="T6" fmla="*/ 160 w 2752"/>
                  <a:gd name="T7" fmla="*/ 321 h 1702"/>
                  <a:gd name="T8" fmla="*/ 1050 w 2752"/>
                  <a:gd name="T9" fmla="*/ 50 h 1702"/>
                  <a:gd name="T10" fmla="*/ 1050 w 2752"/>
                  <a:gd name="T11" fmla="*/ 50 h 1702"/>
                  <a:gd name="T12" fmla="*/ 2581 w 2752"/>
                  <a:gd name="T13" fmla="*/ 991 h 1702"/>
                  <a:gd name="T14" fmla="*/ 2581 w 2752"/>
                  <a:gd name="T15" fmla="*/ 991 h 1702"/>
                  <a:gd name="T16" fmla="*/ 2521 w 2752"/>
                  <a:gd name="T17" fmla="*/ 1591 h 1702"/>
                  <a:gd name="T18" fmla="*/ 2521 w 2752"/>
                  <a:gd name="T19" fmla="*/ 1591 h 1702"/>
                  <a:gd name="T20" fmla="*/ 1911 w 2752"/>
                  <a:gd name="T21" fmla="*/ 1591 h 1702"/>
                  <a:gd name="T22" fmla="*/ 1911 w 2752"/>
                  <a:gd name="T23" fmla="*/ 1591 h 1702"/>
                  <a:gd name="T24" fmla="*/ 570 w 2752"/>
                  <a:gd name="T25" fmla="*/ 800 h 1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52" h="1702">
                    <a:moveTo>
                      <a:pt x="570" y="800"/>
                    </a:moveTo>
                    <a:lnTo>
                      <a:pt x="570" y="800"/>
                    </a:lnTo>
                    <a:cubicBezTo>
                      <a:pt x="320" y="672"/>
                      <a:pt x="0" y="561"/>
                      <a:pt x="160" y="321"/>
                    </a:cubicBezTo>
                    <a:lnTo>
                      <a:pt x="160" y="321"/>
                    </a:lnTo>
                    <a:cubicBezTo>
                      <a:pt x="309" y="95"/>
                      <a:pt x="690" y="0"/>
                      <a:pt x="1050" y="50"/>
                    </a:cubicBezTo>
                    <a:lnTo>
                      <a:pt x="1050" y="50"/>
                    </a:lnTo>
                    <a:cubicBezTo>
                      <a:pt x="1482" y="110"/>
                      <a:pt x="2411" y="780"/>
                      <a:pt x="2581" y="991"/>
                    </a:cubicBezTo>
                    <a:lnTo>
                      <a:pt x="2581" y="991"/>
                    </a:lnTo>
                    <a:cubicBezTo>
                      <a:pt x="2751" y="1201"/>
                      <a:pt x="2701" y="1481"/>
                      <a:pt x="2521" y="1591"/>
                    </a:cubicBezTo>
                    <a:lnTo>
                      <a:pt x="2521" y="1591"/>
                    </a:lnTo>
                    <a:cubicBezTo>
                      <a:pt x="2341" y="1701"/>
                      <a:pt x="2141" y="1691"/>
                      <a:pt x="1911" y="1591"/>
                    </a:cubicBezTo>
                    <a:lnTo>
                      <a:pt x="1911" y="1591"/>
                    </a:lnTo>
                    <a:cubicBezTo>
                      <a:pt x="1681" y="1491"/>
                      <a:pt x="900" y="971"/>
                      <a:pt x="570" y="80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1" name="Freeform 199">
                <a:extLst>
                  <a:ext uri="{FF2B5EF4-FFF2-40B4-BE49-F238E27FC236}">
                    <a16:creationId xmlns:a16="http://schemas.microsoft.com/office/drawing/2014/main" id="{C3B96BF3-82EF-154A-8AE2-BDF07EABB9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82531" y="4380942"/>
                <a:ext cx="466609" cy="31682"/>
              </a:xfrm>
              <a:custGeom>
                <a:avLst/>
                <a:gdLst>
                  <a:gd name="T0" fmla="*/ 0 w 715"/>
                  <a:gd name="T1" fmla="*/ 25 h 49"/>
                  <a:gd name="T2" fmla="*/ 713 w 715"/>
                  <a:gd name="T3" fmla="*/ 0 h 49"/>
                  <a:gd name="T4" fmla="*/ 714 w 715"/>
                  <a:gd name="T5" fmla="*/ 13 h 49"/>
                  <a:gd name="T6" fmla="*/ 1 w 715"/>
                  <a:gd name="T7" fmla="*/ 48 h 49"/>
                  <a:gd name="T8" fmla="*/ 0 w 715"/>
                  <a:gd name="T9" fmla="*/ 2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49">
                    <a:moveTo>
                      <a:pt x="0" y="25"/>
                    </a:moveTo>
                    <a:lnTo>
                      <a:pt x="713" y="0"/>
                    </a:lnTo>
                    <a:lnTo>
                      <a:pt x="714" y="13"/>
                    </a:lnTo>
                    <a:lnTo>
                      <a:pt x="1" y="4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2" name="Freeform 200">
                <a:extLst>
                  <a:ext uri="{FF2B5EF4-FFF2-40B4-BE49-F238E27FC236}">
                    <a16:creationId xmlns:a16="http://schemas.microsoft.com/office/drawing/2014/main" id="{648DDDFC-1621-5249-8727-4F502367A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56522" y="4861952"/>
                <a:ext cx="941860" cy="504054"/>
              </a:xfrm>
              <a:custGeom>
                <a:avLst/>
                <a:gdLst>
                  <a:gd name="T0" fmla="*/ 0 w 1440"/>
                  <a:gd name="T1" fmla="*/ 732 h 772"/>
                  <a:gd name="T2" fmla="*/ 0 w 1440"/>
                  <a:gd name="T3" fmla="*/ 732 h 772"/>
                  <a:gd name="T4" fmla="*/ 360 w 1440"/>
                  <a:gd name="T5" fmla="*/ 732 h 772"/>
                  <a:gd name="T6" fmla="*/ 360 w 1440"/>
                  <a:gd name="T7" fmla="*/ 732 h 772"/>
                  <a:gd name="T8" fmla="*/ 1315 w 1440"/>
                  <a:gd name="T9" fmla="*/ 457 h 772"/>
                  <a:gd name="T10" fmla="*/ 1315 w 1440"/>
                  <a:gd name="T11" fmla="*/ 457 h 772"/>
                  <a:gd name="T12" fmla="*/ 1393 w 1440"/>
                  <a:gd name="T13" fmla="*/ 254 h 772"/>
                  <a:gd name="T14" fmla="*/ 1393 w 1440"/>
                  <a:gd name="T15" fmla="*/ 254 h 772"/>
                  <a:gd name="T16" fmla="*/ 1138 w 1440"/>
                  <a:gd name="T17" fmla="*/ 0 h 772"/>
                  <a:gd name="T18" fmla="*/ 1138 w 1440"/>
                  <a:gd name="T19" fmla="*/ 0 h 772"/>
                  <a:gd name="T20" fmla="*/ 255 w 1440"/>
                  <a:gd name="T21" fmla="*/ 379 h 772"/>
                  <a:gd name="T22" fmla="*/ 255 w 1440"/>
                  <a:gd name="T23" fmla="*/ 379 h 772"/>
                  <a:gd name="T24" fmla="*/ 0 w 1440"/>
                  <a:gd name="T25" fmla="*/ 73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0" h="772">
                    <a:moveTo>
                      <a:pt x="0" y="732"/>
                    </a:moveTo>
                    <a:lnTo>
                      <a:pt x="0" y="732"/>
                    </a:lnTo>
                    <a:cubicBezTo>
                      <a:pt x="0" y="732"/>
                      <a:pt x="235" y="692"/>
                      <a:pt x="360" y="732"/>
                    </a:cubicBezTo>
                    <a:lnTo>
                      <a:pt x="360" y="732"/>
                    </a:lnTo>
                    <a:cubicBezTo>
                      <a:pt x="484" y="771"/>
                      <a:pt x="1190" y="509"/>
                      <a:pt x="1315" y="457"/>
                    </a:cubicBezTo>
                    <a:lnTo>
                      <a:pt x="1315" y="457"/>
                    </a:lnTo>
                    <a:cubicBezTo>
                      <a:pt x="1439" y="405"/>
                      <a:pt x="1419" y="313"/>
                      <a:pt x="1393" y="254"/>
                    </a:cubicBezTo>
                    <a:lnTo>
                      <a:pt x="1393" y="254"/>
                    </a:lnTo>
                    <a:cubicBezTo>
                      <a:pt x="1367" y="196"/>
                      <a:pt x="1138" y="0"/>
                      <a:pt x="1138" y="0"/>
                    </a:cubicBezTo>
                    <a:lnTo>
                      <a:pt x="1138" y="0"/>
                    </a:lnTo>
                    <a:cubicBezTo>
                      <a:pt x="1138" y="0"/>
                      <a:pt x="419" y="267"/>
                      <a:pt x="255" y="379"/>
                    </a:cubicBezTo>
                    <a:lnTo>
                      <a:pt x="255" y="379"/>
                    </a:lnTo>
                    <a:cubicBezTo>
                      <a:pt x="121" y="470"/>
                      <a:pt x="6" y="581"/>
                      <a:pt x="0" y="73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523" name="Freeform 201">
                <a:extLst>
                  <a:ext uri="{FF2B5EF4-FFF2-40B4-BE49-F238E27FC236}">
                    <a16:creationId xmlns:a16="http://schemas.microsoft.com/office/drawing/2014/main" id="{5F57DFEF-CD6A-854F-AB96-4469095AD1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39052" y="5003087"/>
                <a:ext cx="682631" cy="426285"/>
              </a:xfrm>
              <a:custGeom>
                <a:avLst/>
                <a:gdLst>
                  <a:gd name="T0" fmla="*/ 1045 w 1046"/>
                  <a:gd name="T1" fmla="*/ 383 h 654"/>
                  <a:gd name="T2" fmla="*/ 1045 w 1046"/>
                  <a:gd name="T3" fmla="*/ 383 h 654"/>
                  <a:gd name="T4" fmla="*/ 852 w 1046"/>
                  <a:gd name="T5" fmla="*/ 23 h 654"/>
                  <a:gd name="T6" fmla="*/ 852 w 1046"/>
                  <a:gd name="T7" fmla="*/ 23 h 654"/>
                  <a:gd name="T8" fmla="*/ 392 w 1046"/>
                  <a:gd name="T9" fmla="*/ 50 h 654"/>
                  <a:gd name="T10" fmla="*/ 392 w 1046"/>
                  <a:gd name="T11" fmla="*/ 50 h 654"/>
                  <a:gd name="T12" fmla="*/ 0 w 1046"/>
                  <a:gd name="T13" fmla="*/ 352 h 654"/>
                  <a:gd name="T14" fmla="*/ 0 w 1046"/>
                  <a:gd name="T15" fmla="*/ 352 h 654"/>
                  <a:gd name="T16" fmla="*/ 129 w 1046"/>
                  <a:gd name="T17" fmla="*/ 357 h 654"/>
                  <a:gd name="T18" fmla="*/ 129 w 1046"/>
                  <a:gd name="T19" fmla="*/ 357 h 654"/>
                  <a:gd name="T20" fmla="*/ 424 w 1046"/>
                  <a:gd name="T21" fmla="*/ 252 h 654"/>
                  <a:gd name="T22" fmla="*/ 424 w 1046"/>
                  <a:gd name="T23" fmla="*/ 252 h 654"/>
                  <a:gd name="T24" fmla="*/ 491 w 1046"/>
                  <a:gd name="T25" fmla="*/ 351 h 654"/>
                  <a:gd name="T26" fmla="*/ 491 w 1046"/>
                  <a:gd name="T27" fmla="*/ 351 h 654"/>
                  <a:gd name="T28" fmla="*/ 164 w 1046"/>
                  <a:gd name="T29" fmla="*/ 526 h 654"/>
                  <a:gd name="T30" fmla="*/ 164 w 1046"/>
                  <a:gd name="T31" fmla="*/ 526 h 654"/>
                  <a:gd name="T32" fmla="*/ 243 w 1046"/>
                  <a:gd name="T33" fmla="*/ 570 h 654"/>
                  <a:gd name="T34" fmla="*/ 243 w 1046"/>
                  <a:gd name="T35" fmla="*/ 570 h 654"/>
                  <a:gd name="T36" fmla="*/ 458 w 1046"/>
                  <a:gd name="T37" fmla="*/ 552 h 654"/>
                  <a:gd name="T38" fmla="*/ 458 w 1046"/>
                  <a:gd name="T39" fmla="*/ 552 h 654"/>
                  <a:gd name="T40" fmla="*/ 632 w 1046"/>
                  <a:gd name="T41" fmla="*/ 600 h 654"/>
                  <a:gd name="T42" fmla="*/ 632 w 1046"/>
                  <a:gd name="T43" fmla="*/ 600 h 654"/>
                  <a:gd name="T44" fmla="*/ 715 w 1046"/>
                  <a:gd name="T45" fmla="*/ 643 h 654"/>
                  <a:gd name="T46" fmla="*/ 1045 w 1046"/>
                  <a:gd name="T47" fmla="*/ 383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6" h="654">
                    <a:moveTo>
                      <a:pt x="1045" y="383"/>
                    </a:moveTo>
                    <a:lnTo>
                      <a:pt x="1045" y="383"/>
                    </a:lnTo>
                    <a:cubicBezTo>
                      <a:pt x="1045" y="383"/>
                      <a:pt x="869" y="45"/>
                      <a:pt x="852" y="23"/>
                    </a:cubicBezTo>
                    <a:lnTo>
                      <a:pt x="852" y="23"/>
                    </a:lnTo>
                    <a:cubicBezTo>
                      <a:pt x="835" y="0"/>
                      <a:pt x="454" y="50"/>
                      <a:pt x="392" y="50"/>
                    </a:cubicBezTo>
                    <a:lnTo>
                      <a:pt x="392" y="50"/>
                    </a:lnTo>
                    <a:cubicBezTo>
                      <a:pt x="330" y="50"/>
                      <a:pt x="0" y="307"/>
                      <a:pt x="0" y="352"/>
                    </a:cubicBezTo>
                    <a:lnTo>
                      <a:pt x="0" y="352"/>
                    </a:lnTo>
                    <a:cubicBezTo>
                      <a:pt x="0" y="396"/>
                      <a:pt x="102" y="380"/>
                      <a:pt x="129" y="357"/>
                    </a:cubicBezTo>
                    <a:lnTo>
                      <a:pt x="129" y="357"/>
                    </a:lnTo>
                    <a:cubicBezTo>
                      <a:pt x="157" y="335"/>
                      <a:pt x="424" y="252"/>
                      <a:pt x="424" y="252"/>
                    </a:cubicBezTo>
                    <a:lnTo>
                      <a:pt x="424" y="252"/>
                    </a:lnTo>
                    <a:cubicBezTo>
                      <a:pt x="424" y="252"/>
                      <a:pt x="524" y="334"/>
                      <a:pt x="491" y="351"/>
                    </a:cubicBezTo>
                    <a:lnTo>
                      <a:pt x="491" y="351"/>
                    </a:lnTo>
                    <a:cubicBezTo>
                      <a:pt x="457" y="368"/>
                      <a:pt x="130" y="464"/>
                      <a:pt x="164" y="526"/>
                    </a:cubicBezTo>
                    <a:lnTo>
                      <a:pt x="164" y="526"/>
                    </a:lnTo>
                    <a:cubicBezTo>
                      <a:pt x="171" y="539"/>
                      <a:pt x="199" y="572"/>
                      <a:pt x="243" y="570"/>
                    </a:cubicBezTo>
                    <a:lnTo>
                      <a:pt x="243" y="570"/>
                    </a:lnTo>
                    <a:cubicBezTo>
                      <a:pt x="353" y="567"/>
                      <a:pt x="379" y="568"/>
                      <a:pt x="458" y="552"/>
                    </a:cubicBezTo>
                    <a:lnTo>
                      <a:pt x="458" y="552"/>
                    </a:lnTo>
                    <a:cubicBezTo>
                      <a:pt x="521" y="540"/>
                      <a:pt x="586" y="557"/>
                      <a:pt x="632" y="600"/>
                    </a:cubicBezTo>
                    <a:lnTo>
                      <a:pt x="632" y="600"/>
                    </a:lnTo>
                    <a:cubicBezTo>
                      <a:pt x="689" y="653"/>
                      <a:pt x="715" y="643"/>
                      <a:pt x="715" y="643"/>
                    </a:cubicBezTo>
                    <a:lnTo>
                      <a:pt x="1045" y="383"/>
                    </a:lnTo>
                  </a:path>
                </a:pathLst>
              </a:custGeom>
              <a:solidFill>
                <a:srgbClr val="FCE3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263364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</p:grpSp>
      <p:sp>
        <p:nvSpPr>
          <p:cNvPr id="24" name="Title 23">
            <a:extLst>
              <a:ext uri="{FF2B5EF4-FFF2-40B4-BE49-F238E27FC236}">
                <a16:creationId xmlns:a16="http://schemas.microsoft.com/office/drawing/2014/main" id="{BA941385-B43B-3F44-862B-E85607445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ym typeface="Calibri"/>
              </a:rPr>
              <a:t>Database Performance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02930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C973D-7409-584D-8F51-924082746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m.dirty_ratio / vm.dirty_bytes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DB03D8-D504-2949-8C7B-9F5065C77ED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vm.dirty_background_ratio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fore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value of this parameter ranges from 0 to 100;</a:t>
            </a:r>
            <a:endParaRPr lang="en-US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25608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539068-761C-4B4C-BFCA-ABAD72D98B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PK" dirty="0"/>
              <a:t>Blo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928F17-9BA3-8041-8F63-105ED95D6CE6}"/>
              </a:ext>
            </a:extLst>
          </p:cNvPr>
          <p:cNvSpPr/>
          <p:nvPr/>
        </p:nvSpPr>
        <p:spPr>
          <a:xfrm>
            <a:off x="381663" y="1296064"/>
            <a:ext cx="11515063" cy="2482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ing PostgreSQL Database Parameters to Optimize Performance.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31/tuning-postgresql-database-parameters-to-optimize-performance/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e Linux Kernel Parameters For PostgreSQL Optimization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29/tune-linux-kernel-parameters-for-postgresql-optimization/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8973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2">
            <a:extLst>
              <a:ext uri="{FF2B5EF4-FFF2-40B4-BE49-F238E27FC236}">
                <a16:creationId xmlns:a16="http://schemas.microsoft.com/office/drawing/2014/main" id="{E593FDC5-1CBF-0B45-9FD3-A136558D466A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9" y="1340"/>
            <a:ext cx="0" cy="1844924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3">
            <a:extLst>
              <a:ext uri="{FF2B5EF4-FFF2-40B4-BE49-F238E27FC236}">
                <a16:creationId xmlns:a16="http://schemas.microsoft.com/office/drawing/2014/main" id="{4081555C-F2E0-8140-8AAC-7601B397E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" y="2573801"/>
            <a:ext cx="6251265" cy="4282860"/>
          </a:xfrm>
          <a:custGeom>
            <a:avLst/>
            <a:gdLst>
              <a:gd name="T0" fmla="*/ 6557795 w 10039"/>
              <a:gd name="T1" fmla="*/ 3933491 h 6879"/>
              <a:gd name="T2" fmla="*/ 6557795 w 10039"/>
              <a:gd name="T3" fmla="*/ 3933491 h 6879"/>
              <a:gd name="T4" fmla="*/ 6518597 w 10039"/>
              <a:gd name="T5" fmla="*/ 4492619 h 6879"/>
              <a:gd name="T6" fmla="*/ 0 w 10039"/>
              <a:gd name="T7" fmla="*/ 4492619 h 6879"/>
              <a:gd name="T8" fmla="*/ 0 w 10039"/>
              <a:gd name="T9" fmla="*/ 1001989 h 6879"/>
              <a:gd name="T10" fmla="*/ 0 w 10039"/>
              <a:gd name="T11" fmla="*/ 1001989 h 6879"/>
              <a:gd name="T12" fmla="*/ 2624294 w 10039"/>
              <a:gd name="T13" fmla="*/ 0 h 6879"/>
              <a:gd name="T14" fmla="*/ 2624294 w 10039"/>
              <a:gd name="T15" fmla="*/ 0 h 6879"/>
              <a:gd name="T16" fmla="*/ 6557795 w 10039"/>
              <a:gd name="T17" fmla="*/ 3933491 h 68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039" h="6879">
                <a:moveTo>
                  <a:pt x="10038" y="6022"/>
                </a:moveTo>
                <a:lnTo>
                  <a:pt x="10038" y="6022"/>
                </a:lnTo>
                <a:cubicBezTo>
                  <a:pt x="10038" y="6312"/>
                  <a:pt x="10018" y="6599"/>
                  <a:pt x="9978" y="6878"/>
                </a:cubicBezTo>
                <a:lnTo>
                  <a:pt x="0" y="6878"/>
                </a:lnTo>
                <a:lnTo>
                  <a:pt x="0" y="1534"/>
                </a:lnTo>
                <a:cubicBezTo>
                  <a:pt x="1066" y="580"/>
                  <a:pt x="2473" y="0"/>
                  <a:pt x="4017" y="0"/>
                </a:cubicBezTo>
                <a:cubicBezTo>
                  <a:pt x="7343" y="0"/>
                  <a:pt x="10038" y="2696"/>
                  <a:pt x="10038" y="6022"/>
                </a:cubicBez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CDD679D8-396B-FB44-BCA2-B7E9144677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8145" y="1341"/>
            <a:ext cx="4389888" cy="3914973"/>
          </a:xfrm>
          <a:custGeom>
            <a:avLst/>
            <a:gdLst>
              <a:gd name="T0" fmla="*/ 4604951 w 7049"/>
              <a:gd name="T1" fmla="*/ 0 h 6289"/>
              <a:gd name="T2" fmla="*/ 4604951 w 7049"/>
              <a:gd name="T3" fmla="*/ 4049839 h 6289"/>
              <a:gd name="T4" fmla="*/ 4604951 w 7049"/>
              <a:gd name="T5" fmla="*/ 4049839 h 6289"/>
              <a:gd name="T6" fmla="*/ 3935247 w 7049"/>
              <a:gd name="T7" fmla="*/ 4106658 h 6289"/>
              <a:gd name="T8" fmla="*/ 3935247 w 7049"/>
              <a:gd name="T9" fmla="*/ 4106658 h 6289"/>
              <a:gd name="T10" fmla="*/ 0 w 7049"/>
              <a:gd name="T11" fmla="*/ 173723 h 6289"/>
              <a:gd name="T12" fmla="*/ 0 w 7049"/>
              <a:gd name="T13" fmla="*/ 173723 h 6289"/>
              <a:gd name="T14" fmla="*/ 3920 w 7049"/>
              <a:gd name="T15" fmla="*/ 0 h 6289"/>
              <a:gd name="T16" fmla="*/ 4604951 w 7049"/>
              <a:gd name="T17" fmla="*/ 0 h 628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049" h="6289">
                <a:moveTo>
                  <a:pt x="7048" y="0"/>
                </a:moveTo>
                <a:lnTo>
                  <a:pt x="7048" y="6201"/>
                </a:lnTo>
                <a:cubicBezTo>
                  <a:pt x="6715" y="6258"/>
                  <a:pt x="6373" y="6288"/>
                  <a:pt x="6023" y="6288"/>
                </a:cubicBezTo>
                <a:cubicBezTo>
                  <a:pt x="2697" y="6288"/>
                  <a:pt x="0" y="3592"/>
                  <a:pt x="0" y="266"/>
                </a:cubicBezTo>
                <a:cubicBezTo>
                  <a:pt x="0" y="177"/>
                  <a:pt x="2" y="88"/>
                  <a:pt x="6" y="0"/>
                </a:cubicBezTo>
                <a:lnTo>
                  <a:pt x="7048" y="0"/>
                </a:ln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F2178A2-258A-CA48-AEDE-4EC73C3CD2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0557" y="2958159"/>
            <a:ext cx="204735" cy="2934849"/>
          </a:xfrm>
          <a:custGeom>
            <a:avLst/>
            <a:gdLst>
              <a:gd name="T0" fmla="*/ 221126 w 338"/>
              <a:gd name="T1" fmla="*/ 2637704 h 4041"/>
              <a:gd name="T2" fmla="*/ 0 w 338"/>
              <a:gd name="T3" fmla="*/ 2637704 h 4041"/>
              <a:gd name="T4" fmla="*/ 0 w 338"/>
              <a:gd name="T5" fmla="*/ 0 h 404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38" h="4041">
                <a:moveTo>
                  <a:pt x="337" y="4040"/>
                </a:moveTo>
                <a:lnTo>
                  <a:pt x="0" y="404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99C4918B-D2D8-D547-A881-364857D98D98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932119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F9F34F3D-F5C6-D14E-9751-D3BF65C46243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394016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421AE7-9953-F441-AEB0-B07954D65040}"/>
              </a:ext>
            </a:extLst>
          </p:cNvPr>
          <p:cNvSpPr txBox="1"/>
          <p:nvPr/>
        </p:nvSpPr>
        <p:spPr>
          <a:xfrm>
            <a:off x="6930475" y="3702143"/>
            <a:ext cx="3259012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ET IN TOU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66440-2A4D-0145-9085-6C92BADA7950}"/>
              </a:ext>
            </a:extLst>
          </p:cNvPr>
          <p:cNvSpPr txBox="1"/>
          <p:nvPr/>
        </p:nvSpPr>
        <p:spPr>
          <a:xfrm>
            <a:off x="7389787" y="5839775"/>
            <a:ext cx="3259012" cy="327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-10" dirty="0">
                <a:latin typeface="Poppins" pitchFamily="2" charset="77"/>
                <a:cs typeface="Poppins" pitchFamily="2" charset="77"/>
              </a:rPr>
              <a:t>www.pgelephant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FF540-E92E-5047-BE2F-7FA0E70B01DF}"/>
              </a:ext>
            </a:extLst>
          </p:cNvPr>
          <p:cNvSpPr txBox="1"/>
          <p:nvPr/>
        </p:nvSpPr>
        <p:spPr>
          <a:xfrm>
            <a:off x="561263" y="1701614"/>
            <a:ext cx="6710273" cy="14773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9000" b="1" spc="-350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THANK YO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AB3E4C-C2C8-DF42-AC8C-0BCF230B912C}"/>
              </a:ext>
            </a:extLst>
          </p:cNvPr>
          <p:cNvSpPr txBox="1"/>
          <p:nvPr/>
        </p:nvSpPr>
        <p:spPr>
          <a:xfrm>
            <a:off x="7389787" y="4255516"/>
            <a:ext cx="3364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6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93054F-0439-6B41-8A9E-2D06D109268E}"/>
              </a:ext>
            </a:extLst>
          </p:cNvPr>
          <p:cNvSpPr txBox="1"/>
          <p:nvPr/>
        </p:nvSpPr>
        <p:spPr>
          <a:xfrm>
            <a:off x="7373387" y="4809431"/>
            <a:ext cx="40427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FE811A-A455-9C4B-B185-93219B20B647}"/>
              </a:ext>
            </a:extLst>
          </p:cNvPr>
          <p:cNvSpPr txBox="1"/>
          <p:nvPr/>
        </p:nvSpPr>
        <p:spPr>
          <a:xfrm>
            <a:off x="7373388" y="5361100"/>
            <a:ext cx="4167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0" name="Google Shape;16970;p75">
            <a:extLst>
              <a:ext uri="{FF2B5EF4-FFF2-40B4-BE49-F238E27FC236}">
                <a16:creationId xmlns:a16="http://schemas.microsoft.com/office/drawing/2014/main" id="{F152D6BE-5867-3344-B47E-DA68E366A9F7}"/>
              </a:ext>
            </a:extLst>
          </p:cNvPr>
          <p:cNvGrpSpPr/>
          <p:nvPr/>
        </p:nvGrpSpPr>
        <p:grpSpPr>
          <a:xfrm>
            <a:off x="6885564" y="4704307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1" name="Google Shape;16971;p75">
              <a:extLst>
                <a:ext uri="{FF2B5EF4-FFF2-40B4-BE49-F238E27FC236}">
                  <a16:creationId xmlns:a16="http://schemas.microsoft.com/office/drawing/2014/main" id="{E8129067-0C98-1B4C-8AC4-20BDC9B34BF4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6972;p75">
              <a:extLst>
                <a:ext uri="{FF2B5EF4-FFF2-40B4-BE49-F238E27FC236}">
                  <a16:creationId xmlns:a16="http://schemas.microsoft.com/office/drawing/2014/main" id="{C6532A77-8BF6-E148-A9A7-1552041A8597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6973;p75">
              <a:extLst>
                <a:ext uri="{FF2B5EF4-FFF2-40B4-BE49-F238E27FC236}">
                  <a16:creationId xmlns:a16="http://schemas.microsoft.com/office/drawing/2014/main" id="{74214607-8B12-334F-823A-56EFFC4EA967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6974;p75">
              <a:extLst>
                <a:ext uri="{FF2B5EF4-FFF2-40B4-BE49-F238E27FC236}">
                  <a16:creationId xmlns:a16="http://schemas.microsoft.com/office/drawing/2014/main" id="{59BA3204-2931-764E-A762-53979F71AF8D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17065;p75">
            <a:extLst>
              <a:ext uri="{FF2B5EF4-FFF2-40B4-BE49-F238E27FC236}">
                <a16:creationId xmlns:a16="http://schemas.microsoft.com/office/drawing/2014/main" id="{80EEDFD8-0F01-8747-A477-313B8A26889E}"/>
              </a:ext>
            </a:extLst>
          </p:cNvPr>
          <p:cNvGrpSpPr/>
          <p:nvPr/>
        </p:nvGrpSpPr>
        <p:grpSpPr>
          <a:xfrm>
            <a:off x="6922836" y="52866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26" name="Google Shape;17066;p75">
              <a:extLst>
                <a:ext uri="{FF2B5EF4-FFF2-40B4-BE49-F238E27FC236}">
                  <a16:creationId xmlns:a16="http://schemas.microsoft.com/office/drawing/2014/main" id="{33634860-387F-FC48-9D90-02A12E3AC93C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17067;p75">
              <a:extLst>
                <a:ext uri="{FF2B5EF4-FFF2-40B4-BE49-F238E27FC236}">
                  <a16:creationId xmlns:a16="http://schemas.microsoft.com/office/drawing/2014/main" id="{26BBBF1E-09E3-E143-9A4C-64B984F529B6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068;p75">
              <a:extLst>
                <a:ext uri="{FF2B5EF4-FFF2-40B4-BE49-F238E27FC236}">
                  <a16:creationId xmlns:a16="http://schemas.microsoft.com/office/drawing/2014/main" id="{E633986F-5ACF-1641-9FDC-3261CFCD09C6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069;p75">
              <a:extLst>
                <a:ext uri="{FF2B5EF4-FFF2-40B4-BE49-F238E27FC236}">
                  <a16:creationId xmlns:a16="http://schemas.microsoft.com/office/drawing/2014/main" id="{1C5D0B25-E1AD-A440-92B7-327DD52C9EC4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070;p75">
              <a:extLst>
                <a:ext uri="{FF2B5EF4-FFF2-40B4-BE49-F238E27FC236}">
                  <a16:creationId xmlns:a16="http://schemas.microsoft.com/office/drawing/2014/main" id="{C7949909-310B-B543-95ED-FDD9E289B0D0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071;p75">
              <a:extLst>
                <a:ext uri="{FF2B5EF4-FFF2-40B4-BE49-F238E27FC236}">
                  <a16:creationId xmlns:a16="http://schemas.microsoft.com/office/drawing/2014/main" id="{8027289A-0580-AC4F-9612-92BB2A5FF485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072;p75">
              <a:extLst>
                <a:ext uri="{FF2B5EF4-FFF2-40B4-BE49-F238E27FC236}">
                  <a16:creationId xmlns:a16="http://schemas.microsoft.com/office/drawing/2014/main" id="{79CAB9AE-A344-B841-882C-0A93E263C734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073;p75">
              <a:extLst>
                <a:ext uri="{FF2B5EF4-FFF2-40B4-BE49-F238E27FC236}">
                  <a16:creationId xmlns:a16="http://schemas.microsoft.com/office/drawing/2014/main" id="{DB9FD0BD-5D4A-A54F-8C75-AC011677DB49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074;p75">
              <a:extLst>
                <a:ext uri="{FF2B5EF4-FFF2-40B4-BE49-F238E27FC236}">
                  <a16:creationId xmlns:a16="http://schemas.microsoft.com/office/drawing/2014/main" id="{AB873758-AC78-3749-92B7-1B0E21C122F8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" name="Google Shape;17206;p75">
            <a:extLst>
              <a:ext uri="{FF2B5EF4-FFF2-40B4-BE49-F238E27FC236}">
                <a16:creationId xmlns:a16="http://schemas.microsoft.com/office/drawing/2014/main" id="{4137364F-E8FD-CB4D-B857-6972BC3A7A56}"/>
              </a:ext>
            </a:extLst>
          </p:cNvPr>
          <p:cNvGrpSpPr/>
          <p:nvPr/>
        </p:nvGrpSpPr>
        <p:grpSpPr>
          <a:xfrm>
            <a:off x="6861202" y="4209286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36" name="Google Shape;17207;p75">
              <a:extLst>
                <a:ext uri="{FF2B5EF4-FFF2-40B4-BE49-F238E27FC236}">
                  <a16:creationId xmlns:a16="http://schemas.microsoft.com/office/drawing/2014/main" id="{678DD890-BCFB-FA47-9EEC-AFED20838FC0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208;p75">
              <a:extLst>
                <a:ext uri="{FF2B5EF4-FFF2-40B4-BE49-F238E27FC236}">
                  <a16:creationId xmlns:a16="http://schemas.microsoft.com/office/drawing/2014/main" id="{D809B7AD-ECF8-B145-A973-4FBA4573DA1A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209;p75">
              <a:extLst>
                <a:ext uri="{FF2B5EF4-FFF2-40B4-BE49-F238E27FC236}">
                  <a16:creationId xmlns:a16="http://schemas.microsoft.com/office/drawing/2014/main" id="{E91C11C4-1B69-F143-A2DB-DC2DDF0A07B6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9" name="Google Shape;17210;p75">
              <a:extLst>
                <a:ext uri="{FF2B5EF4-FFF2-40B4-BE49-F238E27FC236}">
                  <a16:creationId xmlns:a16="http://schemas.microsoft.com/office/drawing/2014/main" id="{CDDB2C76-EA62-0F49-ADCA-0110749EB9D8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211;p75">
              <a:extLst>
                <a:ext uri="{FF2B5EF4-FFF2-40B4-BE49-F238E27FC236}">
                  <a16:creationId xmlns:a16="http://schemas.microsoft.com/office/drawing/2014/main" id="{28C7AE7D-C7BC-1545-B7EE-92227E78C534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1" name="Line 14">
            <a:extLst>
              <a:ext uri="{FF2B5EF4-FFF2-40B4-BE49-F238E27FC236}">
                <a16:creationId xmlns:a16="http://schemas.microsoft.com/office/drawing/2014/main" id="{73CDC650-D90C-A644-8294-86FC432962B4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5374855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17535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32ADB4F-31C1-B745-A8C3-DC35D08AA74E}"/>
              </a:ext>
            </a:extLst>
          </p:cNvPr>
          <p:cNvGrpSpPr/>
          <p:nvPr/>
        </p:nvGrpSpPr>
        <p:grpSpPr>
          <a:xfrm>
            <a:off x="6552000" y="1440000"/>
            <a:ext cx="5175101" cy="4557140"/>
            <a:chOff x="6268754" y="1218212"/>
            <a:chExt cx="5175101" cy="4557140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301641" y="1218212"/>
              <a:ext cx="169309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oftware Type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1607129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act of badly written and well-defined software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1277068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76987" y="1479282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15152" y="5351806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301641" y="3816883"/>
              <a:ext cx="141577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nnectors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4205800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hoose your connector wisely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3871052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03253" y="4054660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301641" y="2517548"/>
              <a:ext cx="1000595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Queries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301641" y="2906464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act of Database Queries on the database 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8754" y="2587555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64402" y="2871117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7C89E3E3-C282-3F44-AB8B-A2587D3FEF02}"/>
              </a:ext>
            </a:extLst>
          </p:cNvPr>
          <p:cNvGrpSpPr/>
          <p:nvPr/>
        </p:nvGrpSpPr>
        <p:grpSpPr>
          <a:xfrm>
            <a:off x="504000" y="1440000"/>
            <a:ext cx="5040000" cy="4320000"/>
            <a:chOff x="6436863" y="326624"/>
            <a:chExt cx="11616260" cy="12375510"/>
          </a:xfrm>
        </p:grpSpPr>
        <p:sp>
          <p:nvSpPr>
            <p:cNvPr id="385" name="Freeform 1">
              <a:extLst>
                <a:ext uri="{FF2B5EF4-FFF2-40B4-BE49-F238E27FC236}">
                  <a16:creationId xmlns:a16="http://schemas.microsoft.com/office/drawing/2014/main" id="{6289120D-1FD8-C244-972E-1393162B9D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055" y="7840184"/>
              <a:ext cx="941858" cy="544378"/>
            </a:xfrm>
            <a:custGeom>
              <a:avLst/>
              <a:gdLst>
                <a:gd name="T0" fmla="*/ 1185 w 1443"/>
                <a:gd name="T1" fmla="*/ 684 h 833"/>
                <a:gd name="T2" fmla="*/ 1185 w 1443"/>
                <a:gd name="T3" fmla="*/ 684 h 833"/>
                <a:gd name="T4" fmla="*/ 257 w 1443"/>
                <a:gd name="T5" fmla="*/ 684 h 833"/>
                <a:gd name="T6" fmla="*/ 257 w 1443"/>
                <a:gd name="T7" fmla="*/ 684 h 833"/>
                <a:gd name="T8" fmla="*/ 257 w 1443"/>
                <a:gd name="T9" fmla="*/ 148 h 833"/>
                <a:gd name="T10" fmla="*/ 257 w 1443"/>
                <a:gd name="T11" fmla="*/ 148 h 833"/>
                <a:gd name="T12" fmla="*/ 1185 w 1443"/>
                <a:gd name="T13" fmla="*/ 148 h 833"/>
                <a:gd name="T14" fmla="*/ 1185 w 1443"/>
                <a:gd name="T15" fmla="*/ 148 h 833"/>
                <a:gd name="T16" fmla="*/ 1185 w 1443"/>
                <a:gd name="T17" fmla="*/ 684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3" h="833">
                  <a:moveTo>
                    <a:pt x="1185" y="684"/>
                  </a:moveTo>
                  <a:lnTo>
                    <a:pt x="1185" y="684"/>
                  </a:lnTo>
                  <a:cubicBezTo>
                    <a:pt x="929" y="832"/>
                    <a:pt x="513" y="832"/>
                    <a:pt x="257" y="684"/>
                  </a:cubicBezTo>
                  <a:lnTo>
                    <a:pt x="257" y="684"/>
                  </a:lnTo>
                  <a:cubicBezTo>
                    <a:pt x="0" y="536"/>
                    <a:pt x="0" y="296"/>
                    <a:pt x="257" y="148"/>
                  </a:cubicBezTo>
                  <a:lnTo>
                    <a:pt x="257" y="148"/>
                  </a:lnTo>
                  <a:cubicBezTo>
                    <a:pt x="513" y="0"/>
                    <a:pt x="928" y="0"/>
                    <a:pt x="1185" y="148"/>
                  </a:cubicBezTo>
                  <a:lnTo>
                    <a:pt x="1185" y="148"/>
                  </a:lnTo>
                  <a:cubicBezTo>
                    <a:pt x="1442" y="296"/>
                    <a:pt x="1442" y="536"/>
                    <a:pt x="1185" y="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6" name="Freeform 2">
              <a:extLst>
                <a:ext uri="{FF2B5EF4-FFF2-40B4-BE49-F238E27FC236}">
                  <a16:creationId xmlns:a16="http://schemas.microsoft.com/office/drawing/2014/main" id="{B7709C54-29D8-7F42-AAF0-E6E7F023D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6678" y="4982924"/>
              <a:ext cx="432045" cy="555899"/>
            </a:xfrm>
            <a:custGeom>
              <a:avLst/>
              <a:gdLst>
                <a:gd name="T0" fmla="*/ 0 w 662"/>
                <a:gd name="T1" fmla="*/ 0 h 852"/>
                <a:gd name="T2" fmla="*/ 0 w 662"/>
                <a:gd name="T3" fmla="*/ 0 h 852"/>
                <a:gd name="T4" fmla="*/ 45 w 662"/>
                <a:gd name="T5" fmla="*/ 607 h 852"/>
                <a:gd name="T6" fmla="*/ 45 w 662"/>
                <a:gd name="T7" fmla="*/ 607 h 852"/>
                <a:gd name="T8" fmla="*/ 661 w 662"/>
                <a:gd name="T9" fmla="*/ 420 h 852"/>
                <a:gd name="T10" fmla="*/ 661 w 662"/>
                <a:gd name="T11" fmla="*/ 142 h 852"/>
                <a:gd name="T12" fmla="*/ 0 w 66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2" h="85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8" y="363"/>
                    <a:pt x="45" y="607"/>
                  </a:cubicBezTo>
                  <a:lnTo>
                    <a:pt x="45" y="607"/>
                  </a:lnTo>
                  <a:cubicBezTo>
                    <a:pt x="73" y="851"/>
                    <a:pt x="661" y="420"/>
                    <a:pt x="661" y="420"/>
                  </a:cubicBezTo>
                  <a:lnTo>
                    <a:pt x="661" y="14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7" name="Freeform 3">
              <a:extLst>
                <a:ext uri="{FF2B5EF4-FFF2-40B4-BE49-F238E27FC236}">
                  <a16:creationId xmlns:a16="http://schemas.microsoft.com/office/drawing/2014/main" id="{3DCECDF6-E22F-0543-9C70-530E47275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0854" y="7776818"/>
              <a:ext cx="365799" cy="336996"/>
            </a:xfrm>
            <a:custGeom>
              <a:avLst/>
              <a:gdLst>
                <a:gd name="T0" fmla="*/ 60 w 561"/>
                <a:gd name="T1" fmla="*/ 239 h 516"/>
                <a:gd name="T2" fmla="*/ 60 w 561"/>
                <a:gd name="T3" fmla="*/ 239 h 516"/>
                <a:gd name="T4" fmla="*/ 374 w 561"/>
                <a:gd name="T5" fmla="*/ 492 h 516"/>
                <a:gd name="T6" fmla="*/ 374 w 561"/>
                <a:gd name="T7" fmla="*/ 492 h 516"/>
                <a:gd name="T8" fmla="*/ 513 w 561"/>
                <a:gd name="T9" fmla="*/ 512 h 516"/>
                <a:gd name="T10" fmla="*/ 513 w 561"/>
                <a:gd name="T11" fmla="*/ 512 h 516"/>
                <a:gd name="T12" fmla="*/ 551 w 561"/>
                <a:gd name="T13" fmla="*/ 450 h 516"/>
                <a:gd name="T14" fmla="*/ 551 w 561"/>
                <a:gd name="T15" fmla="*/ 450 h 516"/>
                <a:gd name="T16" fmla="*/ 259 w 561"/>
                <a:gd name="T17" fmla="*/ 128 h 516"/>
                <a:gd name="T18" fmla="*/ 259 w 561"/>
                <a:gd name="T19" fmla="*/ 128 h 516"/>
                <a:gd name="T20" fmla="*/ 60 w 561"/>
                <a:gd name="T21" fmla="*/ 23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16">
                  <a:moveTo>
                    <a:pt x="60" y="239"/>
                  </a:moveTo>
                  <a:lnTo>
                    <a:pt x="60" y="239"/>
                  </a:lnTo>
                  <a:cubicBezTo>
                    <a:pt x="69" y="260"/>
                    <a:pt x="221" y="446"/>
                    <a:pt x="374" y="492"/>
                  </a:cubicBezTo>
                  <a:lnTo>
                    <a:pt x="374" y="492"/>
                  </a:lnTo>
                  <a:cubicBezTo>
                    <a:pt x="439" y="512"/>
                    <a:pt x="484" y="515"/>
                    <a:pt x="513" y="512"/>
                  </a:cubicBezTo>
                  <a:lnTo>
                    <a:pt x="513" y="512"/>
                  </a:lnTo>
                  <a:cubicBezTo>
                    <a:pt x="543" y="508"/>
                    <a:pt x="560" y="478"/>
                    <a:pt x="551" y="450"/>
                  </a:cubicBezTo>
                  <a:lnTo>
                    <a:pt x="551" y="450"/>
                  </a:lnTo>
                  <a:cubicBezTo>
                    <a:pt x="525" y="376"/>
                    <a:pt x="449" y="223"/>
                    <a:pt x="259" y="128"/>
                  </a:cubicBezTo>
                  <a:lnTo>
                    <a:pt x="259" y="128"/>
                  </a:lnTo>
                  <a:cubicBezTo>
                    <a:pt x="0" y="0"/>
                    <a:pt x="60" y="239"/>
                    <a:pt x="60" y="239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8" name="Freeform 4">
              <a:extLst>
                <a:ext uri="{FF2B5EF4-FFF2-40B4-BE49-F238E27FC236}">
                  <a16:creationId xmlns:a16="http://schemas.microsoft.com/office/drawing/2014/main" id="{DCBA2562-CB92-1E40-90A4-79C5A81D8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9720" y="7978439"/>
              <a:ext cx="201621" cy="334115"/>
            </a:xfrm>
            <a:custGeom>
              <a:avLst/>
              <a:gdLst>
                <a:gd name="T0" fmla="*/ 223 w 310"/>
                <a:gd name="T1" fmla="*/ 0 h 510"/>
                <a:gd name="T2" fmla="*/ 223 w 310"/>
                <a:gd name="T3" fmla="*/ 0 h 510"/>
                <a:gd name="T4" fmla="*/ 298 w 310"/>
                <a:gd name="T5" fmla="*/ 247 h 510"/>
                <a:gd name="T6" fmla="*/ 298 w 310"/>
                <a:gd name="T7" fmla="*/ 247 h 510"/>
                <a:gd name="T8" fmla="*/ 240 w 310"/>
                <a:gd name="T9" fmla="*/ 464 h 510"/>
                <a:gd name="T10" fmla="*/ 240 w 310"/>
                <a:gd name="T11" fmla="*/ 464 h 510"/>
                <a:gd name="T12" fmla="*/ 141 w 310"/>
                <a:gd name="T13" fmla="*/ 481 h 510"/>
                <a:gd name="T14" fmla="*/ 141 w 310"/>
                <a:gd name="T15" fmla="*/ 481 h 510"/>
                <a:gd name="T16" fmla="*/ 18 w 310"/>
                <a:gd name="T17" fmla="*/ 245 h 510"/>
                <a:gd name="T18" fmla="*/ 18 w 310"/>
                <a:gd name="T19" fmla="*/ 245 h 510"/>
                <a:gd name="T20" fmla="*/ 18 w 310"/>
                <a:gd name="T21" fmla="*/ 22 h 510"/>
                <a:gd name="T22" fmla="*/ 223 w 310"/>
                <a:gd name="T23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10">
                  <a:moveTo>
                    <a:pt x="223" y="0"/>
                  </a:moveTo>
                  <a:lnTo>
                    <a:pt x="223" y="0"/>
                  </a:lnTo>
                  <a:cubicBezTo>
                    <a:pt x="223" y="0"/>
                    <a:pt x="280" y="134"/>
                    <a:pt x="298" y="247"/>
                  </a:cubicBezTo>
                  <a:lnTo>
                    <a:pt x="298" y="247"/>
                  </a:lnTo>
                  <a:cubicBezTo>
                    <a:pt x="309" y="316"/>
                    <a:pt x="271" y="405"/>
                    <a:pt x="240" y="464"/>
                  </a:cubicBezTo>
                  <a:lnTo>
                    <a:pt x="240" y="464"/>
                  </a:lnTo>
                  <a:cubicBezTo>
                    <a:pt x="221" y="501"/>
                    <a:pt x="173" y="509"/>
                    <a:pt x="141" y="481"/>
                  </a:cubicBezTo>
                  <a:lnTo>
                    <a:pt x="141" y="481"/>
                  </a:lnTo>
                  <a:cubicBezTo>
                    <a:pt x="92" y="436"/>
                    <a:pt x="29" y="357"/>
                    <a:pt x="18" y="245"/>
                  </a:cubicBezTo>
                  <a:lnTo>
                    <a:pt x="18" y="245"/>
                  </a:lnTo>
                  <a:cubicBezTo>
                    <a:pt x="0" y="55"/>
                    <a:pt x="18" y="22"/>
                    <a:pt x="18" y="22"/>
                  </a:cubicBezTo>
                  <a:lnTo>
                    <a:pt x="223" y="0"/>
                  </a:ln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9" name="Freeform 5">
              <a:extLst>
                <a:ext uri="{FF2B5EF4-FFF2-40B4-BE49-F238E27FC236}">
                  <a16:creationId xmlns:a16="http://schemas.microsoft.com/office/drawing/2014/main" id="{4EFC03FD-9176-2440-BC1A-F7BED0045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3147" y="6359710"/>
              <a:ext cx="625027" cy="1687857"/>
            </a:xfrm>
            <a:custGeom>
              <a:avLst/>
              <a:gdLst>
                <a:gd name="T0" fmla="*/ 20 w 958"/>
                <a:gd name="T1" fmla="*/ 186 h 2582"/>
                <a:gd name="T2" fmla="*/ 20 w 958"/>
                <a:gd name="T3" fmla="*/ 186 h 2582"/>
                <a:gd name="T4" fmla="*/ 20 w 958"/>
                <a:gd name="T5" fmla="*/ 689 h 2582"/>
                <a:gd name="T6" fmla="*/ 20 w 958"/>
                <a:gd name="T7" fmla="*/ 689 h 2582"/>
                <a:gd name="T8" fmla="*/ 125 w 958"/>
                <a:gd name="T9" fmla="*/ 2491 h 2582"/>
                <a:gd name="T10" fmla="*/ 125 w 958"/>
                <a:gd name="T11" fmla="*/ 2491 h 2582"/>
                <a:gd name="T12" fmla="*/ 292 w 958"/>
                <a:gd name="T13" fmla="*/ 2562 h 2582"/>
                <a:gd name="T14" fmla="*/ 292 w 958"/>
                <a:gd name="T15" fmla="*/ 2562 h 2582"/>
                <a:gd name="T16" fmla="*/ 453 w 958"/>
                <a:gd name="T17" fmla="*/ 2441 h 2582"/>
                <a:gd name="T18" fmla="*/ 453 w 958"/>
                <a:gd name="T19" fmla="*/ 2441 h 2582"/>
                <a:gd name="T20" fmla="*/ 706 w 958"/>
                <a:gd name="T21" fmla="*/ 2293 h 2582"/>
                <a:gd name="T22" fmla="*/ 706 w 958"/>
                <a:gd name="T23" fmla="*/ 2293 h 2582"/>
                <a:gd name="T24" fmla="*/ 957 w 958"/>
                <a:gd name="T25" fmla="*/ 0 h 2582"/>
                <a:gd name="T26" fmla="*/ 20 w 958"/>
                <a:gd name="T27" fmla="*/ 186 h 2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8" h="2582">
                  <a:moveTo>
                    <a:pt x="20" y="186"/>
                  </a:moveTo>
                  <a:lnTo>
                    <a:pt x="20" y="186"/>
                  </a:lnTo>
                  <a:cubicBezTo>
                    <a:pt x="20" y="186"/>
                    <a:pt x="0" y="425"/>
                    <a:pt x="20" y="689"/>
                  </a:cubicBezTo>
                  <a:lnTo>
                    <a:pt x="20" y="689"/>
                  </a:lnTo>
                  <a:cubicBezTo>
                    <a:pt x="40" y="954"/>
                    <a:pt x="111" y="2193"/>
                    <a:pt x="125" y="2491"/>
                  </a:cubicBezTo>
                  <a:lnTo>
                    <a:pt x="125" y="2491"/>
                  </a:lnTo>
                  <a:cubicBezTo>
                    <a:pt x="125" y="2491"/>
                    <a:pt x="118" y="2581"/>
                    <a:pt x="292" y="2562"/>
                  </a:cubicBezTo>
                  <a:lnTo>
                    <a:pt x="292" y="2562"/>
                  </a:lnTo>
                  <a:cubicBezTo>
                    <a:pt x="467" y="2542"/>
                    <a:pt x="453" y="2441"/>
                    <a:pt x="453" y="2441"/>
                  </a:cubicBezTo>
                  <a:lnTo>
                    <a:pt x="453" y="2441"/>
                  </a:lnTo>
                  <a:cubicBezTo>
                    <a:pt x="453" y="2441"/>
                    <a:pt x="698" y="2439"/>
                    <a:pt x="706" y="2293"/>
                  </a:cubicBezTo>
                  <a:lnTo>
                    <a:pt x="706" y="2293"/>
                  </a:lnTo>
                  <a:cubicBezTo>
                    <a:pt x="714" y="2149"/>
                    <a:pt x="957" y="567"/>
                    <a:pt x="957" y="0"/>
                  </a:cubicBezTo>
                  <a:lnTo>
                    <a:pt x="20" y="18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0" name="Freeform 6">
              <a:extLst>
                <a:ext uri="{FF2B5EF4-FFF2-40B4-BE49-F238E27FC236}">
                  <a16:creationId xmlns:a16="http://schemas.microsoft.com/office/drawing/2014/main" id="{71121801-BD73-0E47-A0CD-B914AB3A3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891" y="5671317"/>
              <a:ext cx="426285" cy="492531"/>
            </a:xfrm>
            <a:custGeom>
              <a:avLst/>
              <a:gdLst>
                <a:gd name="T0" fmla="*/ 117 w 652"/>
                <a:gd name="T1" fmla="*/ 0 h 754"/>
                <a:gd name="T2" fmla="*/ 237 w 652"/>
                <a:gd name="T3" fmla="*/ 186 h 754"/>
                <a:gd name="T4" fmla="*/ 651 w 652"/>
                <a:gd name="T5" fmla="*/ 685 h 754"/>
                <a:gd name="T6" fmla="*/ 651 w 652"/>
                <a:gd name="T7" fmla="*/ 685 h 754"/>
                <a:gd name="T8" fmla="*/ 585 w 652"/>
                <a:gd name="T9" fmla="*/ 743 h 754"/>
                <a:gd name="T10" fmla="*/ 585 w 652"/>
                <a:gd name="T11" fmla="*/ 743 h 754"/>
                <a:gd name="T12" fmla="*/ 47 w 652"/>
                <a:gd name="T13" fmla="*/ 276 h 754"/>
                <a:gd name="T14" fmla="*/ 47 w 652"/>
                <a:gd name="T15" fmla="*/ 276 h 754"/>
                <a:gd name="T16" fmla="*/ 32 w 652"/>
                <a:gd name="T17" fmla="*/ 130 h 754"/>
                <a:gd name="T18" fmla="*/ 117 w 652"/>
                <a:gd name="T19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2" h="754">
                  <a:moveTo>
                    <a:pt x="117" y="0"/>
                  </a:moveTo>
                  <a:lnTo>
                    <a:pt x="237" y="186"/>
                  </a:lnTo>
                  <a:lnTo>
                    <a:pt x="651" y="685"/>
                  </a:lnTo>
                  <a:lnTo>
                    <a:pt x="651" y="685"/>
                  </a:lnTo>
                  <a:cubicBezTo>
                    <a:pt x="651" y="685"/>
                    <a:pt x="636" y="732"/>
                    <a:pt x="585" y="743"/>
                  </a:cubicBezTo>
                  <a:lnTo>
                    <a:pt x="585" y="743"/>
                  </a:lnTo>
                  <a:cubicBezTo>
                    <a:pt x="545" y="753"/>
                    <a:pt x="197" y="422"/>
                    <a:pt x="47" y="276"/>
                  </a:cubicBezTo>
                  <a:lnTo>
                    <a:pt x="47" y="276"/>
                  </a:lnTo>
                  <a:cubicBezTo>
                    <a:pt x="7" y="238"/>
                    <a:pt x="0" y="176"/>
                    <a:pt x="32" y="130"/>
                  </a:cubicBezTo>
                  <a:lnTo>
                    <a:pt x="117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1" name="Freeform 7">
              <a:extLst>
                <a:ext uri="{FF2B5EF4-FFF2-40B4-BE49-F238E27FC236}">
                  <a16:creationId xmlns:a16="http://schemas.microsoft.com/office/drawing/2014/main" id="{072FB492-2C4D-8D46-BDAC-0635B548B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6004" y="5170145"/>
              <a:ext cx="244825" cy="662470"/>
            </a:xfrm>
            <a:custGeom>
              <a:avLst/>
              <a:gdLst>
                <a:gd name="T0" fmla="*/ 0 w 376"/>
                <a:gd name="T1" fmla="*/ 5 h 1014"/>
                <a:gd name="T2" fmla="*/ 0 w 376"/>
                <a:gd name="T3" fmla="*/ 5 h 1014"/>
                <a:gd name="T4" fmla="*/ 257 w 376"/>
                <a:gd name="T5" fmla="*/ 276 h 1014"/>
                <a:gd name="T6" fmla="*/ 257 w 376"/>
                <a:gd name="T7" fmla="*/ 276 h 1014"/>
                <a:gd name="T8" fmla="*/ 318 w 376"/>
                <a:gd name="T9" fmla="*/ 926 h 1014"/>
                <a:gd name="T10" fmla="*/ 318 w 376"/>
                <a:gd name="T11" fmla="*/ 926 h 1014"/>
                <a:gd name="T12" fmla="*/ 35 w 376"/>
                <a:gd name="T13" fmla="*/ 912 h 1014"/>
                <a:gd name="T14" fmla="*/ 0 w 376"/>
                <a:gd name="T15" fmla="*/ 5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6" h="1014">
                  <a:moveTo>
                    <a:pt x="0" y="5"/>
                  </a:moveTo>
                  <a:lnTo>
                    <a:pt x="0" y="5"/>
                  </a:lnTo>
                  <a:cubicBezTo>
                    <a:pt x="0" y="5"/>
                    <a:pt x="191" y="0"/>
                    <a:pt x="257" y="276"/>
                  </a:cubicBezTo>
                  <a:lnTo>
                    <a:pt x="257" y="276"/>
                  </a:lnTo>
                  <a:cubicBezTo>
                    <a:pt x="324" y="552"/>
                    <a:pt x="375" y="898"/>
                    <a:pt x="318" y="926"/>
                  </a:cubicBezTo>
                  <a:lnTo>
                    <a:pt x="318" y="926"/>
                  </a:lnTo>
                  <a:cubicBezTo>
                    <a:pt x="144" y="1013"/>
                    <a:pt x="35" y="912"/>
                    <a:pt x="35" y="912"/>
                  </a:cubicBezTo>
                  <a:lnTo>
                    <a:pt x="0" y="5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2" name="Freeform 8">
              <a:extLst>
                <a:ext uri="{FF2B5EF4-FFF2-40B4-BE49-F238E27FC236}">
                  <a16:creationId xmlns:a16="http://schemas.microsoft.com/office/drawing/2014/main" id="{4953EFED-3CB6-764B-B552-BB8A898DF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253" y="5170146"/>
              <a:ext cx="843928" cy="1466073"/>
            </a:xfrm>
            <a:custGeom>
              <a:avLst/>
              <a:gdLst>
                <a:gd name="T0" fmla="*/ 1095 w 1293"/>
                <a:gd name="T1" fmla="*/ 16 h 2246"/>
                <a:gd name="T2" fmla="*/ 1095 w 1293"/>
                <a:gd name="T3" fmla="*/ 16 h 2246"/>
                <a:gd name="T4" fmla="*/ 992 w 1293"/>
                <a:gd name="T5" fmla="*/ 10 h 2246"/>
                <a:gd name="T6" fmla="*/ 992 w 1293"/>
                <a:gd name="T7" fmla="*/ 10 h 2246"/>
                <a:gd name="T8" fmla="*/ 117 w 1293"/>
                <a:gd name="T9" fmla="*/ 323 h 2246"/>
                <a:gd name="T10" fmla="*/ 117 w 1293"/>
                <a:gd name="T11" fmla="*/ 323 h 2246"/>
                <a:gd name="T12" fmla="*/ 287 w 1293"/>
                <a:gd name="T13" fmla="*/ 1165 h 2246"/>
                <a:gd name="T14" fmla="*/ 287 w 1293"/>
                <a:gd name="T15" fmla="*/ 1165 h 2246"/>
                <a:gd name="T16" fmla="*/ 246 w 1293"/>
                <a:gd name="T17" fmla="*/ 1763 h 2246"/>
                <a:gd name="T18" fmla="*/ 246 w 1293"/>
                <a:gd name="T19" fmla="*/ 1763 h 2246"/>
                <a:gd name="T20" fmla="*/ 371 w 1293"/>
                <a:gd name="T21" fmla="*/ 2156 h 2246"/>
                <a:gd name="T22" fmla="*/ 371 w 1293"/>
                <a:gd name="T23" fmla="*/ 2156 h 2246"/>
                <a:gd name="T24" fmla="*/ 1021 w 1293"/>
                <a:gd name="T25" fmla="*/ 2086 h 2246"/>
                <a:gd name="T26" fmla="*/ 1021 w 1293"/>
                <a:gd name="T27" fmla="*/ 2086 h 2246"/>
                <a:gd name="T28" fmla="*/ 1183 w 1293"/>
                <a:gd name="T29" fmla="*/ 1704 h 2246"/>
                <a:gd name="T30" fmla="*/ 1183 w 1293"/>
                <a:gd name="T31" fmla="*/ 1704 h 2246"/>
                <a:gd name="T32" fmla="*/ 1110 w 1293"/>
                <a:gd name="T33" fmla="*/ 949 h 2246"/>
                <a:gd name="T34" fmla="*/ 1110 w 1293"/>
                <a:gd name="T35" fmla="*/ 949 h 2246"/>
                <a:gd name="T36" fmla="*/ 1237 w 1293"/>
                <a:gd name="T37" fmla="*/ 802 h 2246"/>
                <a:gd name="T38" fmla="*/ 1237 w 1293"/>
                <a:gd name="T39" fmla="*/ 802 h 2246"/>
                <a:gd name="T40" fmla="*/ 1155 w 1293"/>
                <a:gd name="T41" fmla="*/ 428 h 2246"/>
                <a:gd name="T42" fmla="*/ 1155 w 1293"/>
                <a:gd name="T43" fmla="*/ 428 h 2246"/>
                <a:gd name="T44" fmla="*/ 1166 w 1293"/>
                <a:gd name="T45" fmla="*/ 100 h 2246"/>
                <a:gd name="T46" fmla="*/ 1166 w 1293"/>
                <a:gd name="T47" fmla="*/ 100 h 2246"/>
                <a:gd name="T48" fmla="*/ 1095 w 1293"/>
                <a:gd name="T49" fmla="*/ 16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3" h="2246">
                  <a:moveTo>
                    <a:pt x="1095" y="16"/>
                  </a:moveTo>
                  <a:lnTo>
                    <a:pt x="1095" y="16"/>
                  </a:lnTo>
                  <a:cubicBezTo>
                    <a:pt x="1062" y="2"/>
                    <a:pt x="1026" y="0"/>
                    <a:pt x="992" y="10"/>
                  </a:cubicBezTo>
                  <a:lnTo>
                    <a:pt x="992" y="10"/>
                  </a:lnTo>
                  <a:cubicBezTo>
                    <a:pt x="829" y="57"/>
                    <a:pt x="218" y="236"/>
                    <a:pt x="117" y="323"/>
                  </a:cubicBezTo>
                  <a:lnTo>
                    <a:pt x="117" y="323"/>
                  </a:lnTo>
                  <a:cubicBezTo>
                    <a:pt x="0" y="422"/>
                    <a:pt x="292" y="982"/>
                    <a:pt x="287" y="1165"/>
                  </a:cubicBezTo>
                  <a:lnTo>
                    <a:pt x="287" y="1165"/>
                  </a:lnTo>
                  <a:cubicBezTo>
                    <a:pt x="283" y="1348"/>
                    <a:pt x="263" y="1564"/>
                    <a:pt x="246" y="1763"/>
                  </a:cubicBezTo>
                  <a:lnTo>
                    <a:pt x="246" y="1763"/>
                  </a:lnTo>
                  <a:cubicBezTo>
                    <a:pt x="230" y="1963"/>
                    <a:pt x="208" y="2071"/>
                    <a:pt x="371" y="2156"/>
                  </a:cubicBezTo>
                  <a:lnTo>
                    <a:pt x="371" y="2156"/>
                  </a:lnTo>
                  <a:cubicBezTo>
                    <a:pt x="534" y="2240"/>
                    <a:pt x="812" y="2245"/>
                    <a:pt x="1021" y="2086"/>
                  </a:cubicBezTo>
                  <a:lnTo>
                    <a:pt x="1021" y="2086"/>
                  </a:lnTo>
                  <a:cubicBezTo>
                    <a:pt x="1230" y="1928"/>
                    <a:pt x="1191" y="1819"/>
                    <a:pt x="1183" y="1704"/>
                  </a:cubicBezTo>
                  <a:lnTo>
                    <a:pt x="1183" y="1704"/>
                  </a:lnTo>
                  <a:cubicBezTo>
                    <a:pt x="1174" y="1589"/>
                    <a:pt x="1103" y="1090"/>
                    <a:pt x="1110" y="949"/>
                  </a:cubicBezTo>
                  <a:lnTo>
                    <a:pt x="1110" y="949"/>
                  </a:lnTo>
                  <a:cubicBezTo>
                    <a:pt x="1110" y="949"/>
                    <a:pt x="1183" y="895"/>
                    <a:pt x="1237" y="802"/>
                  </a:cubicBezTo>
                  <a:lnTo>
                    <a:pt x="1237" y="802"/>
                  </a:lnTo>
                  <a:cubicBezTo>
                    <a:pt x="1292" y="709"/>
                    <a:pt x="1195" y="539"/>
                    <a:pt x="1155" y="428"/>
                  </a:cubicBezTo>
                  <a:lnTo>
                    <a:pt x="1155" y="428"/>
                  </a:lnTo>
                  <a:cubicBezTo>
                    <a:pt x="1115" y="317"/>
                    <a:pt x="1178" y="190"/>
                    <a:pt x="1166" y="100"/>
                  </a:cubicBezTo>
                  <a:lnTo>
                    <a:pt x="1166" y="100"/>
                  </a:lnTo>
                  <a:cubicBezTo>
                    <a:pt x="1160" y="53"/>
                    <a:pt x="1130" y="30"/>
                    <a:pt x="1095" y="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3" name="Freeform 9">
              <a:extLst>
                <a:ext uri="{FF2B5EF4-FFF2-40B4-BE49-F238E27FC236}">
                  <a16:creationId xmlns:a16="http://schemas.microsoft.com/office/drawing/2014/main" id="{59ED4B0B-F716-F642-8BDC-6A37C7B18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5196067"/>
              <a:ext cx="316833" cy="259227"/>
            </a:xfrm>
            <a:custGeom>
              <a:avLst/>
              <a:gdLst>
                <a:gd name="T0" fmla="*/ 472 w 486"/>
                <a:gd name="T1" fmla="*/ 169 h 399"/>
                <a:gd name="T2" fmla="*/ 472 w 486"/>
                <a:gd name="T3" fmla="*/ 169 h 399"/>
                <a:gd name="T4" fmla="*/ 266 w 486"/>
                <a:gd name="T5" fmla="*/ 381 h 399"/>
                <a:gd name="T6" fmla="*/ 266 w 486"/>
                <a:gd name="T7" fmla="*/ 381 h 399"/>
                <a:gd name="T8" fmla="*/ 13 w 486"/>
                <a:gd name="T9" fmla="*/ 229 h 399"/>
                <a:gd name="T10" fmla="*/ 13 w 486"/>
                <a:gd name="T11" fmla="*/ 229 h 399"/>
                <a:gd name="T12" fmla="*/ 219 w 486"/>
                <a:gd name="T13" fmla="*/ 17 h 399"/>
                <a:gd name="T14" fmla="*/ 219 w 486"/>
                <a:gd name="T15" fmla="*/ 17 h 399"/>
                <a:gd name="T16" fmla="*/ 472 w 486"/>
                <a:gd name="T17" fmla="*/ 16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399">
                  <a:moveTo>
                    <a:pt x="472" y="169"/>
                  </a:moveTo>
                  <a:lnTo>
                    <a:pt x="472" y="169"/>
                  </a:lnTo>
                  <a:cubicBezTo>
                    <a:pt x="485" y="270"/>
                    <a:pt x="393" y="365"/>
                    <a:pt x="266" y="381"/>
                  </a:cubicBezTo>
                  <a:lnTo>
                    <a:pt x="266" y="381"/>
                  </a:lnTo>
                  <a:cubicBezTo>
                    <a:pt x="139" y="398"/>
                    <a:pt x="26" y="329"/>
                    <a:pt x="13" y="229"/>
                  </a:cubicBezTo>
                  <a:lnTo>
                    <a:pt x="13" y="229"/>
                  </a:lnTo>
                  <a:cubicBezTo>
                    <a:pt x="0" y="128"/>
                    <a:pt x="92" y="33"/>
                    <a:pt x="219" y="17"/>
                  </a:cubicBezTo>
                  <a:lnTo>
                    <a:pt x="219" y="17"/>
                  </a:lnTo>
                  <a:cubicBezTo>
                    <a:pt x="346" y="0"/>
                    <a:pt x="460" y="69"/>
                    <a:pt x="472" y="1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4" name="Freeform 10">
              <a:extLst>
                <a:ext uri="{FF2B5EF4-FFF2-40B4-BE49-F238E27FC236}">
                  <a16:creationId xmlns:a16="http://schemas.microsoft.com/office/drawing/2014/main" id="{55F78DFF-9D17-3541-AE43-D0D0956F6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1726" y="5230630"/>
              <a:ext cx="227545" cy="187221"/>
            </a:xfrm>
            <a:custGeom>
              <a:avLst/>
              <a:gdLst>
                <a:gd name="T0" fmla="*/ 338 w 348"/>
                <a:gd name="T1" fmla="*/ 121 h 285"/>
                <a:gd name="T2" fmla="*/ 338 w 348"/>
                <a:gd name="T3" fmla="*/ 121 h 285"/>
                <a:gd name="T4" fmla="*/ 190 w 348"/>
                <a:gd name="T5" fmla="*/ 272 h 285"/>
                <a:gd name="T6" fmla="*/ 190 w 348"/>
                <a:gd name="T7" fmla="*/ 272 h 285"/>
                <a:gd name="T8" fmla="*/ 9 w 348"/>
                <a:gd name="T9" fmla="*/ 163 h 285"/>
                <a:gd name="T10" fmla="*/ 9 w 348"/>
                <a:gd name="T11" fmla="*/ 163 h 285"/>
                <a:gd name="T12" fmla="*/ 157 w 348"/>
                <a:gd name="T13" fmla="*/ 12 h 285"/>
                <a:gd name="T14" fmla="*/ 157 w 348"/>
                <a:gd name="T15" fmla="*/ 12 h 285"/>
                <a:gd name="T16" fmla="*/ 338 w 348"/>
                <a:gd name="T17" fmla="*/ 12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285">
                  <a:moveTo>
                    <a:pt x="338" y="121"/>
                  </a:moveTo>
                  <a:lnTo>
                    <a:pt x="338" y="121"/>
                  </a:lnTo>
                  <a:cubicBezTo>
                    <a:pt x="347" y="193"/>
                    <a:pt x="281" y="261"/>
                    <a:pt x="190" y="272"/>
                  </a:cubicBezTo>
                  <a:lnTo>
                    <a:pt x="190" y="272"/>
                  </a:lnTo>
                  <a:cubicBezTo>
                    <a:pt x="100" y="284"/>
                    <a:pt x="19" y="235"/>
                    <a:pt x="9" y="163"/>
                  </a:cubicBezTo>
                  <a:lnTo>
                    <a:pt x="9" y="163"/>
                  </a:lnTo>
                  <a:cubicBezTo>
                    <a:pt x="0" y="91"/>
                    <a:pt x="66" y="23"/>
                    <a:pt x="157" y="12"/>
                  </a:cubicBezTo>
                  <a:lnTo>
                    <a:pt x="157" y="12"/>
                  </a:lnTo>
                  <a:cubicBezTo>
                    <a:pt x="248" y="0"/>
                    <a:pt x="329" y="49"/>
                    <a:pt x="338" y="121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5" name="Freeform 11">
              <a:extLst>
                <a:ext uri="{FF2B5EF4-FFF2-40B4-BE49-F238E27FC236}">
                  <a16:creationId xmlns:a16="http://schemas.microsoft.com/office/drawing/2014/main" id="{AA2B2254-B5E8-1646-B721-76E4B73C1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0691" y="5098137"/>
              <a:ext cx="149776" cy="227545"/>
            </a:xfrm>
            <a:custGeom>
              <a:avLst/>
              <a:gdLst>
                <a:gd name="T0" fmla="*/ 172 w 231"/>
                <a:gd name="T1" fmla="*/ 90 h 349"/>
                <a:gd name="T2" fmla="*/ 172 w 231"/>
                <a:gd name="T3" fmla="*/ 90 h 349"/>
                <a:gd name="T4" fmla="*/ 40 w 231"/>
                <a:gd name="T5" fmla="*/ 46 h 349"/>
                <a:gd name="T6" fmla="*/ 40 w 231"/>
                <a:gd name="T7" fmla="*/ 46 h 349"/>
                <a:gd name="T8" fmla="*/ 0 w 231"/>
                <a:gd name="T9" fmla="*/ 289 h 349"/>
                <a:gd name="T10" fmla="*/ 219 w 231"/>
                <a:gd name="T11" fmla="*/ 348 h 349"/>
                <a:gd name="T12" fmla="*/ 186 w 231"/>
                <a:gd name="T13" fmla="*/ 148 h 349"/>
                <a:gd name="T14" fmla="*/ 186 w 231"/>
                <a:gd name="T15" fmla="*/ 148 h 349"/>
                <a:gd name="T16" fmla="*/ 172 w 231"/>
                <a:gd name="T17" fmla="*/ 9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349">
                  <a:moveTo>
                    <a:pt x="172" y="90"/>
                  </a:moveTo>
                  <a:lnTo>
                    <a:pt x="172" y="90"/>
                  </a:lnTo>
                  <a:cubicBezTo>
                    <a:pt x="172" y="90"/>
                    <a:pt x="61" y="0"/>
                    <a:pt x="40" y="46"/>
                  </a:cubicBezTo>
                  <a:lnTo>
                    <a:pt x="40" y="46"/>
                  </a:lnTo>
                  <a:cubicBezTo>
                    <a:pt x="18" y="92"/>
                    <a:pt x="0" y="289"/>
                    <a:pt x="0" y="289"/>
                  </a:cubicBezTo>
                  <a:lnTo>
                    <a:pt x="219" y="348"/>
                  </a:lnTo>
                  <a:lnTo>
                    <a:pt x="186" y="148"/>
                  </a:lnTo>
                  <a:lnTo>
                    <a:pt x="186" y="148"/>
                  </a:lnTo>
                  <a:cubicBezTo>
                    <a:pt x="186" y="148"/>
                    <a:pt x="230" y="111"/>
                    <a:pt x="172" y="90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6" name="Freeform 12">
              <a:extLst>
                <a:ext uri="{FF2B5EF4-FFF2-40B4-BE49-F238E27FC236}">
                  <a16:creationId xmlns:a16="http://schemas.microsoft.com/office/drawing/2014/main" id="{DC927AC4-7A83-AB4A-B4BD-A8A3368F2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7" name="Freeform 13">
              <a:extLst>
                <a:ext uri="{FF2B5EF4-FFF2-40B4-BE49-F238E27FC236}">
                  <a16:creationId xmlns:a16="http://schemas.microsoft.com/office/drawing/2014/main" id="{F743DD9E-A0A7-9F40-B966-7F92C42FA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2213" y="5144221"/>
              <a:ext cx="126733" cy="149776"/>
            </a:xfrm>
            <a:custGeom>
              <a:avLst/>
              <a:gdLst>
                <a:gd name="T0" fmla="*/ 5 w 193"/>
                <a:gd name="T1" fmla="*/ 30 h 228"/>
                <a:gd name="T2" fmla="*/ 5 w 193"/>
                <a:gd name="T3" fmla="*/ 30 h 228"/>
                <a:gd name="T4" fmla="*/ 0 w 193"/>
                <a:gd name="T5" fmla="*/ 63 h 228"/>
                <a:gd name="T6" fmla="*/ 0 w 193"/>
                <a:gd name="T7" fmla="*/ 63 h 228"/>
                <a:gd name="T8" fmla="*/ 192 w 193"/>
                <a:gd name="T9" fmla="*/ 227 h 228"/>
                <a:gd name="T10" fmla="*/ 167 w 193"/>
                <a:gd name="T11" fmla="*/ 75 h 228"/>
                <a:gd name="T12" fmla="*/ 167 w 193"/>
                <a:gd name="T13" fmla="*/ 75 h 228"/>
                <a:gd name="T14" fmla="*/ 182 w 193"/>
                <a:gd name="T15" fmla="*/ 40 h 228"/>
                <a:gd name="T16" fmla="*/ 182 w 193"/>
                <a:gd name="T17" fmla="*/ 40 h 228"/>
                <a:gd name="T18" fmla="*/ 5 w 193"/>
                <a:gd name="T19" fmla="*/ 3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228">
                  <a:moveTo>
                    <a:pt x="5" y="30"/>
                  </a:moveTo>
                  <a:lnTo>
                    <a:pt x="5" y="30"/>
                  </a:lnTo>
                  <a:cubicBezTo>
                    <a:pt x="4" y="40"/>
                    <a:pt x="2" y="51"/>
                    <a:pt x="0" y="63"/>
                  </a:cubicBezTo>
                  <a:lnTo>
                    <a:pt x="0" y="63"/>
                  </a:lnTo>
                  <a:cubicBezTo>
                    <a:pt x="22" y="177"/>
                    <a:pt x="192" y="227"/>
                    <a:pt x="192" y="227"/>
                  </a:cubicBezTo>
                  <a:lnTo>
                    <a:pt x="167" y="75"/>
                  </a:lnTo>
                  <a:lnTo>
                    <a:pt x="167" y="75"/>
                  </a:lnTo>
                  <a:cubicBezTo>
                    <a:pt x="167" y="75"/>
                    <a:pt x="188" y="57"/>
                    <a:pt x="182" y="40"/>
                  </a:cubicBezTo>
                  <a:lnTo>
                    <a:pt x="182" y="40"/>
                  </a:lnTo>
                  <a:cubicBezTo>
                    <a:pt x="115" y="19"/>
                    <a:pt x="29" y="0"/>
                    <a:pt x="5" y="30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8" name="Freeform 14">
              <a:extLst>
                <a:ext uri="{FF2B5EF4-FFF2-40B4-BE49-F238E27FC236}">
                  <a16:creationId xmlns:a16="http://schemas.microsoft.com/office/drawing/2014/main" id="{6E6BD434-77D8-0749-8BB5-22084436D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9" name="Freeform 15">
              <a:extLst>
                <a:ext uri="{FF2B5EF4-FFF2-40B4-BE49-F238E27FC236}">
                  <a16:creationId xmlns:a16="http://schemas.microsoft.com/office/drawing/2014/main" id="{BD3AC789-87AC-B34D-92B8-FA8E91A00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449" y="5907503"/>
              <a:ext cx="161297" cy="581821"/>
            </a:xfrm>
            <a:custGeom>
              <a:avLst/>
              <a:gdLst>
                <a:gd name="T0" fmla="*/ 0 w 249"/>
                <a:gd name="T1" fmla="*/ 0 h 891"/>
                <a:gd name="T2" fmla="*/ 37 w 249"/>
                <a:gd name="T3" fmla="*/ 877 h 891"/>
                <a:gd name="T4" fmla="*/ 165 w 249"/>
                <a:gd name="T5" fmla="*/ 890 h 891"/>
                <a:gd name="T6" fmla="*/ 248 w 249"/>
                <a:gd name="T7" fmla="*/ 101 h 891"/>
                <a:gd name="T8" fmla="*/ 0 w 249"/>
                <a:gd name="T9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891">
                  <a:moveTo>
                    <a:pt x="0" y="0"/>
                  </a:moveTo>
                  <a:lnTo>
                    <a:pt x="37" y="877"/>
                  </a:lnTo>
                  <a:lnTo>
                    <a:pt x="165" y="890"/>
                  </a:lnTo>
                  <a:lnTo>
                    <a:pt x="248" y="101"/>
                  </a:lnTo>
                  <a:lnTo>
                    <a:pt x="0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0" name="Freeform 16">
              <a:extLst>
                <a:ext uri="{FF2B5EF4-FFF2-40B4-BE49-F238E27FC236}">
                  <a16:creationId xmlns:a16="http://schemas.microsoft.com/office/drawing/2014/main" id="{7DB33E49-C65F-6847-9568-E34598CA20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4507" y="5466815"/>
              <a:ext cx="135373" cy="691273"/>
            </a:xfrm>
            <a:custGeom>
              <a:avLst/>
              <a:gdLst>
                <a:gd name="T0" fmla="*/ 162 w 206"/>
                <a:gd name="T1" fmla="*/ 601 h 1058"/>
                <a:gd name="T2" fmla="*/ 162 w 206"/>
                <a:gd name="T3" fmla="*/ 601 h 1058"/>
                <a:gd name="T4" fmla="*/ 36 w 206"/>
                <a:gd name="T5" fmla="*/ 0 h 1058"/>
                <a:gd name="T6" fmla="*/ 0 w 206"/>
                <a:gd name="T7" fmla="*/ 411 h 1058"/>
                <a:gd name="T8" fmla="*/ 0 w 206"/>
                <a:gd name="T9" fmla="*/ 411 h 1058"/>
                <a:gd name="T10" fmla="*/ 75 w 206"/>
                <a:gd name="T11" fmla="*/ 710 h 1058"/>
                <a:gd name="T12" fmla="*/ 75 w 206"/>
                <a:gd name="T13" fmla="*/ 710 h 1058"/>
                <a:gd name="T14" fmla="*/ 55 w 206"/>
                <a:gd name="T15" fmla="*/ 1056 h 1058"/>
                <a:gd name="T16" fmla="*/ 55 w 206"/>
                <a:gd name="T17" fmla="*/ 1057 h 1058"/>
                <a:gd name="T18" fmla="*/ 55 w 206"/>
                <a:gd name="T19" fmla="*/ 1057 h 1058"/>
                <a:gd name="T20" fmla="*/ 162 w 206"/>
                <a:gd name="T21" fmla="*/ 601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58">
                  <a:moveTo>
                    <a:pt x="162" y="601"/>
                  </a:moveTo>
                  <a:lnTo>
                    <a:pt x="162" y="601"/>
                  </a:lnTo>
                  <a:cubicBezTo>
                    <a:pt x="119" y="413"/>
                    <a:pt x="36" y="0"/>
                    <a:pt x="36" y="0"/>
                  </a:cubicBezTo>
                  <a:lnTo>
                    <a:pt x="0" y="411"/>
                  </a:lnTo>
                  <a:lnTo>
                    <a:pt x="0" y="411"/>
                  </a:lnTo>
                  <a:cubicBezTo>
                    <a:pt x="41" y="533"/>
                    <a:pt x="77" y="645"/>
                    <a:pt x="75" y="710"/>
                  </a:cubicBezTo>
                  <a:lnTo>
                    <a:pt x="75" y="710"/>
                  </a:lnTo>
                  <a:cubicBezTo>
                    <a:pt x="73" y="817"/>
                    <a:pt x="65" y="937"/>
                    <a:pt x="55" y="1056"/>
                  </a:cubicBezTo>
                  <a:lnTo>
                    <a:pt x="55" y="1057"/>
                  </a:lnTo>
                  <a:lnTo>
                    <a:pt x="55" y="1057"/>
                  </a:lnTo>
                  <a:cubicBezTo>
                    <a:pt x="55" y="1057"/>
                    <a:pt x="205" y="787"/>
                    <a:pt x="162" y="60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1" name="Freeform 17">
              <a:extLst>
                <a:ext uri="{FF2B5EF4-FFF2-40B4-BE49-F238E27FC236}">
                  <a16:creationId xmlns:a16="http://schemas.microsoft.com/office/drawing/2014/main" id="{AEC435B4-5C6E-D140-BE51-ECA8E8216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8483" y="5368885"/>
              <a:ext cx="253467" cy="717196"/>
            </a:xfrm>
            <a:custGeom>
              <a:avLst/>
              <a:gdLst>
                <a:gd name="T0" fmla="*/ 261 w 387"/>
                <a:gd name="T1" fmla="*/ 0 h 1097"/>
                <a:gd name="T2" fmla="*/ 261 w 387"/>
                <a:gd name="T3" fmla="*/ 0 h 1097"/>
                <a:gd name="T4" fmla="*/ 101 w 387"/>
                <a:gd name="T5" fmla="*/ 354 h 1097"/>
                <a:gd name="T6" fmla="*/ 101 w 387"/>
                <a:gd name="T7" fmla="*/ 354 h 1097"/>
                <a:gd name="T8" fmla="*/ 103 w 387"/>
                <a:gd name="T9" fmla="*/ 1024 h 1097"/>
                <a:gd name="T10" fmla="*/ 103 w 387"/>
                <a:gd name="T11" fmla="*/ 1024 h 1097"/>
                <a:gd name="T12" fmla="*/ 323 w 387"/>
                <a:gd name="T13" fmla="*/ 1011 h 1097"/>
                <a:gd name="T14" fmla="*/ 323 w 387"/>
                <a:gd name="T15" fmla="*/ 1011 h 1097"/>
                <a:gd name="T16" fmla="*/ 376 w 387"/>
                <a:gd name="T17" fmla="*/ 376 h 1097"/>
                <a:gd name="T18" fmla="*/ 376 w 387"/>
                <a:gd name="T19" fmla="*/ 376 h 1097"/>
                <a:gd name="T20" fmla="*/ 261 w 387"/>
                <a:gd name="T21" fmla="*/ 0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097">
                  <a:moveTo>
                    <a:pt x="261" y="0"/>
                  </a:moveTo>
                  <a:lnTo>
                    <a:pt x="261" y="0"/>
                  </a:lnTo>
                  <a:cubicBezTo>
                    <a:pt x="261" y="0"/>
                    <a:pt x="159" y="40"/>
                    <a:pt x="101" y="354"/>
                  </a:cubicBezTo>
                  <a:lnTo>
                    <a:pt x="101" y="354"/>
                  </a:lnTo>
                  <a:cubicBezTo>
                    <a:pt x="43" y="669"/>
                    <a:pt x="0" y="983"/>
                    <a:pt x="103" y="1024"/>
                  </a:cubicBezTo>
                  <a:lnTo>
                    <a:pt x="103" y="1024"/>
                  </a:lnTo>
                  <a:cubicBezTo>
                    <a:pt x="207" y="1065"/>
                    <a:pt x="293" y="1096"/>
                    <a:pt x="323" y="1011"/>
                  </a:cubicBezTo>
                  <a:lnTo>
                    <a:pt x="323" y="1011"/>
                  </a:lnTo>
                  <a:cubicBezTo>
                    <a:pt x="353" y="927"/>
                    <a:pt x="372" y="522"/>
                    <a:pt x="376" y="376"/>
                  </a:cubicBezTo>
                  <a:lnTo>
                    <a:pt x="376" y="376"/>
                  </a:lnTo>
                  <a:cubicBezTo>
                    <a:pt x="380" y="231"/>
                    <a:pt x="386" y="29"/>
                    <a:pt x="26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2" name="Freeform 18">
              <a:extLst>
                <a:ext uri="{FF2B5EF4-FFF2-40B4-BE49-F238E27FC236}">
                  <a16:creationId xmlns:a16="http://schemas.microsoft.com/office/drawing/2014/main" id="{949AD547-0AEB-864B-9295-69F7E1FD6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400" y="6074560"/>
              <a:ext cx="273628" cy="236185"/>
            </a:xfrm>
            <a:custGeom>
              <a:avLst/>
              <a:gdLst>
                <a:gd name="T0" fmla="*/ 200 w 420"/>
                <a:gd name="T1" fmla="*/ 32 h 360"/>
                <a:gd name="T2" fmla="*/ 200 w 420"/>
                <a:gd name="T3" fmla="*/ 32 h 360"/>
                <a:gd name="T4" fmla="*/ 295 w 420"/>
                <a:gd name="T5" fmla="*/ 96 h 360"/>
                <a:gd name="T6" fmla="*/ 295 w 420"/>
                <a:gd name="T7" fmla="*/ 96 h 360"/>
                <a:gd name="T8" fmla="*/ 360 w 420"/>
                <a:gd name="T9" fmla="*/ 183 h 360"/>
                <a:gd name="T10" fmla="*/ 360 w 420"/>
                <a:gd name="T11" fmla="*/ 183 h 360"/>
                <a:gd name="T12" fmla="*/ 400 w 420"/>
                <a:gd name="T13" fmla="*/ 347 h 360"/>
                <a:gd name="T14" fmla="*/ 400 w 420"/>
                <a:gd name="T15" fmla="*/ 347 h 360"/>
                <a:gd name="T16" fmla="*/ 251 w 420"/>
                <a:gd name="T17" fmla="*/ 217 h 360"/>
                <a:gd name="T18" fmla="*/ 251 w 420"/>
                <a:gd name="T19" fmla="*/ 217 h 360"/>
                <a:gd name="T20" fmla="*/ 228 w 420"/>
                <a:gd name="T21" fmla="*/ 301 h 360"/>
                <a:gd name="T22" fmla="*/ 228 w 420"/>
                <a:gd name="T23" fmla="*/ 301 h 360"/>
                <a:gd name="T24" fmla="*/ 63 w 420"/>
                <a:gd name="T25" fmla="*/ 57 h 360"/>
                <a:gd name="T26" fmla="*/ 63 w 420"/>
                <a:gd name="T27" fmla="*/ 57 h 360"/>
                <a:gd name="T28" fmla="*/ 200 w 420"/>
                <a:gd name="T29" fmla="*/ 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60">
                  <a:moveTo>
                    <a:pt x="200" y="32"/>
                  </a:moveTo>
                  <a:lnTo>
                    <a:pt x="200" y="32"/>
                  </a:lnTo>
                  <a:cubicBezTo>
                    <a:pt x="200" y="32"/>
                    <a:pt x="255" y="52"/>
                    <a:pt x="295" y="96"/>
                  </a:cubicBezTo>
                  <a:lnTo>
                    <a:pt x="295" y="96"/>
                  </a:lnTo>
                  <a:cubicBezTo>
                    <a:pt x="328" y="132"/>
                    <a:pt x="346" y="162"/>
                    <a:pt x="360" y="183"/>
                  </a:cubicBezTo>
                  <a:lnTo>
                    <a:pt x="360" y="183"/>
                  </a:lnTo>
                  <a:cubicBezTo>
                    <a:pt x="393" y="231"/>
                    <a:pt x="419" y="334"/>
                    <a:pt x="400" y="347"/>
                  </a:cubicBezTo>
                  <a:lnTo>
                    <a:pt x="400" y="347"/>
                  </a:lnTo>
                  <a:cubicBezTo>
                    <a:pt x="380" y="359"/>
                    <a:pt x="269" y="174"/>
                    <a:pt x="251" y="217"/>
                  </a:cubicBezTo>
                  <a:lnTo>
                    <a:pt x="251" y="217"/>
                  </a:lnTo>
                  <a:cubicBezTo>
                    <a:pt x="234" y="260"/>
                    <a:pt x="252" y="300"/>
                    <a:pt x="228" y="301"/>
                  </a:cubicBezTo>
                  <a:lnTo>
                    <a:pt x="228" y="301"/>
                  </a:lnTo>
                  <a:cubicBezTo>
                    <a:pt x="205" y="301"/>
                    <a:pt x="125" y="115"/>
                    <a:pt x="63" y="57"/>
                  </a:cubicBezTo>
                  <a:lnTo>
                    <a:pt x="63" y="57"/>
                  </a:lnTo>
                  <a:cubicBezTo>
                    <a:pt x="0" y="0"/>
                    <a:pt x="200" y="32"/>
                    <a:pt x="200" y="3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3" name="Freeform 19">
              <a:extLst>
                <a:ext uri="{FF2B5EF4-FFF2-40B4-BE49-F238E27FC236}">
                  <a16:creationId xmlns:a16="http://schemas.microsoft.com/office/drawing/2014/main" id="{BCAB3EB1-4A9D-4C49-BC1B-0377182A2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819" y="6690944"/>
              <a:ext cx="77767" cy="1264452"/>
            </a:xfrm>
            <a:custGeom>
              <a:avLst/>
              <a:gdLst>
                <a:gd name="T0" fmla="*/ 0 w 120"/>
                <a:gd name="T1" fmla="*/ 1933 h 1934"/>
                <a:gd name="T2" fmla="*/ 0 w 120"/>
                <a:gd name="T3" fmla="*/ 1933 h 1934"/>
                <a:gd name="T4" fmla="*/ 70 w 120"/>
                <a:gd name="T5" fmla="*/ 1926 h 1934"/>
                <a:gd name="T6" fmla="*/ 119 w 120"/>
                <a:gd name="T7" fmla="*/ 0 h 1934"/>
                <a:gd name="T8" fmla="*/ 0 w 120"/>
                <a:gd name="T9" fmla="*/ 1933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934">
                  <a:moveTo>
                    <a:pt x="0" y="1933"/>
                  </a:moveTo>
                  <a:lnTo>
                    <a:pt x="0" y="1933"/>
                  </a:lnTo>
                  <a:cubicBezTo>
                    <a:pt x="0" y="1933"/>
                    <a:pt x="31" y="1933"/>
                    <a:pt x="70" y="1926"/>
                  </a:cubicBezTo>
                  <a:lnTo>
                    <a:pt x="119" y="0"/>
                  </a:lnTo>
                  <a:lnTo>
                    <a:pt x="0" y="193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4" name="Freeform 20">
              <a:extLst>
                <a:ext uri="{FF2B5EF4-FFF2-40B4-BE49-F238E27FC236}">
                  <a16:creationId xmlns:a16="http://schemas.microsoft.com/office/drawing/2014/main" id="{AC22E268-5551-F742-9677-0C4F9D95C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601984" cy="818006"/>
            </a:xfrm>
            <a:custGeom>
              <a:avLst/>
              <a:gdLst>
                <a:gd name="T0" fmla="*/ 867 w 922"/>
                <a:gd name="T1" fmla="*/ 1250 h 1251"/>
                <a:gd name="T2" fmla="*/ 799 w 922"/>
                <a:gd name="T3" fmla="*/ 1162 h 1251"/>
                <a:gd name="T4" fmla="*/ 82 w 922"/>
                <a:gd name="T5" fmla="*/ 746 h 1251"/>
                <a:gd name="T6" fmla="*/ 82 w 922"/>
                <a:gd name="T7" fmla="*/ 746 h 1251"/>
                <a:gd name="T8" fmla="*/ 41 w 922"/>
                <a:gd name="T9" fmla="*/ 667 h 1251"/>
                <a:gd name="T10" fmla="*/ 41 w 922"/>
                <a:gd name="T11" fmla="*/ 80 h 1251"/>
                <a:gd name="T12" fmla="*/ 0 w 922"/>
                <a:gd name="T13" fmla="*/ 28 h 1251"/>
                <a:gd name="T14" fmla="*/ 39 w 922"/>
                <a:gd name="T15" fmla="*/ 5 h 1251"/>
                <a:gd name="T16" fmla="*/ 39 w 922"/>
                <a:gd name="T17" fmla="*/ 5 h 1251"/>
                <a:gd name="T18" fmla="*/ 39 w 922"/>
                <a:gd name="T19" fmla="*/ 5 h 1251"/>
                <a:gd name="T20" fmla="*/ 67 w 922"/>
                <a:gd name="T21" fmla="*/ 7 h 1251"/>
                <a:gd name="T22" fmla="*/ 879 w 922"/>
                <a:gd name="T23" fmla="*/ 476 h 1251"/>
                <a:gd name="T24" fmla="*/ 879 w 922"/>
                <a:gd name="T25" fmla="*/ 476 h 1251"/>
                <a:gd name="T26" fmla="*/ 921 w 922"/>
                <a:gd name="T27" fmla="*/ 556 h 1251"/>
                <a:gd name="T28" fmla="*/ 920 w 922"/>
                <a:gd name="T29" fmla="*/ 1195 h 1251"/>
                <a:gd name="T30" fmla="*/ 920 w 922"/>
                <a:gd name="T31" fmla="*/ 1195 h 1251"/>
                <a:gd name="T32" fmla="*/ 905 w 922"/>
                <a:gd name="T33" fmla="*/ 1228 h 1251"/>
                <a:gd name="T34" fmla="*/ 867 w 922"/>
                <a:gd name="T35" fmla="*/ 1250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2" h="1251">
                  <a:moveTo>
                    <a:pt x="867" y="1250"/>
                  </a:moveTo>
                  <a:lnTo>
                    <a:pt x="799" y="1162"/>
                  </a:lnTo>
                  <a:lnTo>
                    <a:pt x="82" y="746"/>
                  </a:lnTo>
                  <a:lnTo>
                    <a:pt x="82" y="746"/>
                  </a:lnTo>
                  <a:cubicBezTo>
                    <a:pt x="59" y="733"/>
                    <a:pt x="40" y="698"/>
                    <a:pt x="41" y="667"/>
                  </a:cubicBez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902" y="489"/>
                    <a:pt x="921" y="525"/>
                    <a:pt x="921" y="556"/>
                  </a:cubicBezTo>
                  <a:lnTo>
                    <a:pt x="920" y="1195"/>
                  </a:lnTo>
                  <a:lnTo>
                    <a:pt x="920" y="1195"/>
                  </a:lnTo>
                  <a:cubicBezTo>
                    <a:pt x="920" y="1211"/>
                    <a:pt x="914" y="1224"/>
                    <a:pt x="905" y="1228"/>
                  </a:cubicBezTo>
                  <a:lnTo>
                    <a:pt x="867" y="125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5" name="Freeform 21">
              <a:extLst>
                <a:ext uri="{FF2B5EF4-FFF2-40B4-BE49-F238E27FC236}">
                  <a16:creationId xmlns:a16="http://schemas.microsoft.com/office/drawing/2014/main" id="{F4D884CF-09D1-7248-8311-F6DDEC1E4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40"/>
              <a:ext cx="596224" cy="596224"/>
            </a:xfrm>
            <a:custGeom>
              <a:avLst/>
              <a:gdLst>
                <a:gd name="T0" fmla="*/ 372 w 911"/>
                <a:gd name="T1" fmla="*/ 914 h 915"/>
                <a:gd name="T2" fmla="*/ 321 w 911"/>
                <a:gd name="T3" fmla="*/ 884 h 915"/>
                <a:gd name="T4" fmla="*/ 41 w 911"/>
                <a:gd name="T5" fmla="*/ 399 h 915"/>
                <a:gd name="T6" fmla="*/ 41 w 911"/>
                <a:gd name="T7" fmla="*/ 80 h 915"/>
                <a:gd name="T8" fmla="*/ 0 w 911"/>
                <a:gd name="T9" fmla="*/ 28 h 915"/>
                <a:gd name="T10" fmla="*/ 39 w 911"/>
                <a:gd name="T11" fmla="*/ 5 h 915"/>
                <a:gd name="T12" fmla="*/ 39 w 911"/>
                <a:gd name="T13" fmla="*/ 5 h 915"/>
                <a:gd name="T14" fmla="*/ 39 w 911"/>
                <a:gd name="T15" fmla="*/ 5 h 915"/>
                <a:gd name="T16" fmla="*/ 67 w 911"/>
                <a:gd name="T17" fmla="*/ 7 h 915"/>
                <a:gd name="T18" fmla="*/ 879 w 911"/>
                <a:gd name="T19" fmla="*/ 476 h 915"/>
                <a:gd name="T20" fmla="*/ 879 w 911"/>
                <a:gd name="T21" fmla="*/ 476 h 915"/>
                <a:gd name="T22" fmla="*/ 910 w 911"/>
                <a:gd name="T23" fmla="*/ 512 h 915"/>
                <a:gd name="T24" fmla="*/ 372 w 911"/>
                <a:gd name="T25" fmla="*/ 914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915">
                  <a:moveTo>
                    <a:pt x="372" y="914"/>
                  </a:moveTo>
                  <a:lnTo>
                    <a:pt x="321" y="884"/>
                  </a:lnTo>
                  <a:lnTo>
                    <a:pt x="41" y="399"/>
                  </a:ln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891" y="483"/>
                    <a:pt x="902" y="496"/>
                    <a:pt x="910" y="512"/>
                  </a:cubicBezTo>
                  <a:lnTo>
                    <a:pt x="372" y="91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6" name="Freeform 22">
              <a:extLst>
                <a:ext uri="{FF2B5EF4-FFF2-40B4-BE49-F238E27FC236}">
                  <a16:creationId xmlns:a16="http://schemas.microsoft.com/office/drawing/2014/main" id="{18B0CC34-D2D4-D34E-BB4C-56CDDE42E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54727" cy="34564"/>
            </a:xfrm>
            <a:custGeom>
              <a:avLst/>
              <a:gdLst>
                <a:gd name="T0" fmla="*/ 19 w 82"/>
                <a:gd name="T1" fmla="*/ 51 h 52"/>
                <a:gd name="T2" fmla="*/ 0 w 82"/>
                <a:gd name="T3" fmla="*/ 28 h 52"/>
                <a:gd name="T4" fmla="*/ 39 w 82"/>
                <a:gd name="T5" fmla="*/ 5 h 52"/>
                <a:gd name="T6" fmla="*/ 39 w 82"/>
                <a:gd name="T7" fmla="*/ 5 h 52"/>
                <a:gd name="T8" fmla="*/ 39 w 82"/>
                <a:gd name="T9" fmla="*/ 5 h 52"/>
                <a:gd name="T10" fmla="*/ 67 w 82"/>
                <a:gd name="T11" fmla="*/ 7 h 52"/>
                <a:gd name="T12" fmla="*/ 81 w 82"/>
                <a:gd name="T13" fmla="*/ 15 h 52"/>
                <a:gd name="T14" fmla="*/ 19 w 82"/>
                <a:gd name="T15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2">
                  <a:moveTo>
                    <a:pt x="19" y="51"/>
                  </a:move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1" y="15"/>
                  </a:lnTo>
                  <a:lnTo>
                    <a:pt x="19" y="51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7" name="Freeform 23">
              <a:extLst>
                <a:ext uri="{FF2B5EF4-FFF2-40B4-BE49-F238E27FC236}">
                  <a16:creationId xmlns:a16="http://schemas.microsoft.com/office/drawing/2014/main" id="{8B650000-D030-0242-8ECE-B218EE2CB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6771594"/>
              <a:ext cx="77769" cy="74888"/>
            </a:xfrm>
            <a:custGeom>
              <a:avLst/>
              <a:gdLst>
                <a:gd name="T0" fmla="*/ 83 w 118"/>
                <a:gd name="T1" fmla="*/ 0 h 115"/>
                <a:gd name="T2" fmla="*/ 83 w 118"/>
                <a:gd name="T3" fmla="*/ 0 h 115"/>
                <a:gd name="T4" fmla="*/ 117 w 118"/>
                <a:gd name="T5" fmla="*/ 69 h 115"/>
                <a:gd name="T6" fmla="*/ 38 w 118"/>
                <a:gd name="T7" fmla="*/ 114 h 115"/>
                <a:gd name="T8" fmla="*/ 0 w 118"/>
                <a:gd name="T9" fmla="*/ 49 h 115"/>
                <a:gd name="T10" fmla="*/ 83 w 118"/>
                <a:gd name="T1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115">
                  <a:moveTo>
                    <a:pt x="83" y="0"/>
                  </a:moveTo>
                  <a:lnTo>
                    <a:pt x="83" y="0"/>
                  </a:lnTo>
                  <a:cubicBezTo>
                    <a:pt x="101" y="15"/>
                    <a:pt x="116" y="43"/>
                    <a:pt x="117" y="69"/>
                  </a:cubicBezTo>
                  <a:lnTo>
                    <a:pt x="38" y="114"/>
                  </a:lnTo>
                  <a:lnTo>
                    <a:pt x="0" y="49"/>
                  </a:lnTo>
                  <a:lnTo>
                    <a:pt x="83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8" name="Freeform 24">
              <a:extLst>
                <a:ext uri="{FF2B5EF4-FFF2-40B4-BE49-F238E27FC236}">
                  <a16:creationId xmlns:a16="http://schemas.microsoft.com/office/drawing/2014/main" id="{9621B5B3-0B07-4245-AB9F-B27E2D0C4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2786" y="6469161"/>
              <a:ext cx="584700" cy="815126"/>
            </a:xfrm>
            <a:custGeom>
              <a:avLst/>
              <a:gdLst>
                <a:gd name="T0" fmla="*/ 854 w 897"/>
                <a:gd name="T1" fmla="*/ 482 h 1246"/>
                <a:gd name="T2" fmla="*/ 42 w 897"/>
                <a:gd name="T3" fmla="*/ 13 h 1246"/>
                <a:gd name="T4" fmla="*/ 42 w 897"/>
                <a:gd name="T5" fmla="*/ 13 h 1246"/>
                <a:gd name="T6" fmla="*/ 1 w 897"/>
                <a:gd name="T7" fmla="*/ 45 h 1246"/>
                <a:gd name="T8" fmla="*/ 0 w 897"/>
                <a:gd name="T9" fmla="*/ 683 h 1246"/>
                <a:gd name="T10" fmla="*/ 0 w 897"/>
                <a:gd name="T11" fmla="*/ 683 h 1246"/>
                <a:gd name="T12" fmla="*/ 42 w 897"/>
                <a:gd name="T13" fmla="*/ 762 h 1246"/>
                <a:gd name="T14" fmla="*/ 854 w 897"/>
                <a:gd name="T15" fmla="*/ 1232 h 1246"/>
                <a:gd name="T16" fmla="*/ 854 w 897"/>
                <a:gd name="T17" fmla="*/ 1232 h 1246"/>
                <a:gd name="T18" fmla="*/ 895 w 897"/>
                <a:gd name="T19" fmla="*/ 1201 h 1246"/>
                <a:gd name="T20" fmla="*/ 896 w 897"/>
                <a:gd name="T21" fmla="*/ 562 h 1246"/>
                <a:gd name="T22" fmla="*/ 896 w 897"/>
                <a:gd name="T23" fmla="*/ 562 h 1246"/>
                <a:gd name="T24" fmla="*/ 854 w 897"/>
                <a:gd name="T25" fmla="*/ 482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7" h="1246">
                  <a:moveTo>
                    <a:pt x="854" y="482"/>
                  </a:moveTo>
                  <a:lnTo>
                    <a:pt x="42" y="13"/>
                  </a:lnTo>
                  <a:lnTo>
                    <a:pt x="42" y="13"/>
                  </a:lnTo>
                  <a:cubicBezTo>
                    <a:pt x="19" y="0"/>
                    <a:pt x="1" y="14"/>
                    <a:pt x="1" y="45"/>
                  </a:cubicBezTo>
                  <a:lnTo>
                    <a:pt x="0" y="683"/>
                  </a:lnTo>
                  <a:lnTo>
                    <a:pt x="0" y="683"/>
                  </a:lnTo>
                  <a:cubicBezTo>
                    <a:pt x="0" y="713"/>
                    <a:pt x="19" y="749"/>
                    <a:pt x="42" y="762"/>
                  </a:cubicBezTo>
                  <a:lnTo>
                    <a:pt x="854" y="1232"/>
                  </a:lnTo>
                  <a:lnTo>
                    <a:pt x="854" y="1232"/>
                  </a:lnTo>
                  <a:cubicBezTo>
                    <a:pt x="877" y="1245"/>
                    <a:pt x="895" y="1231"/>
                    <a:pt x="895" y="1201"/>
                  </a:cubicBezTo>
                  <a:lnTo>
                    <a:pt x="896" y="562"/>
                  </a:lnTo>
                  <a:lnTo>
                    <a:pt x="896" y="562"/>
                  </a:lnTo>
                  <a:cubicBezTo>
                    <a:pt x="896" y="531"/>
                    <a:pt x="877" y="496"/>
                    <a:pt x="854" y="4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9" name="Freeform 25">
              <a:extLst>
                <a:ext uri="{FF2B5EF4-FFF2-40B4-BE49-F238E27FC236}">
                  <a16:creationId xmlns:a16="http://schemas.microsoft.com/office/drawing/2014/main" id="{68B28C4E-F396-0449-8445-BCA600E11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0328" y="6362590"/>
              <a:ext cx="141136" cy="403242"/>
            </a:xfrm>
            <a:custGeom>
              <a:avLst/>
              <a:gdLst>
                <a:gd name="T0" fmla="*/ 34 w 215"/>
                <a:gd name="T1" fmla="*/ 174 h 618"/>
                <a:gd name="T2" fmla="*/ 34 w 215"/>
                <a:gd name="T3" fmla="*/ 174 h 618"/>
                <a:gd name="T4" fmla="*/ 5 w 215"/>
                <a:gd name="T5" fmla="*/ 443 h 618"/>
                <a:gd name="T6" fmla="*/ 5 w 215"/>
                <a:gd name="T7" fmla="*/ 443 h 618"/>
                <a:gd name="T8" fmla="*/ 72 w 215"/>
                <a:gd name="T9" fmla="*/ 614 h 618"/>
                <a:gd name="T10" fmla="*/ 72 w 215"/>
                <a:gd name="T11" fmla="*/ 614 h 618"/>
                <a:gd name="T12" fmla="*/ 120 w 215"/>
                <a:gd name="T13" fmla="*/ 377 h 618"/>
                <a:gd name="T14" fmla="*/ 120 w 215"/>
                <a:gd name="T15" fmla="*/ 377 h 618"/>
                <a:gd name="T16" fmla="*/ 192 w 215"/>
                <a:gd name="T17" fmla="*/ 432 h 618"/>
                <a:gd name="T18" fmla="*/ 192 w 215"/>
                <a:gd name="T19" fmla="*/ 432 h 618"/>
                <a:gd name="T20" fmla="*/ 171 w 215"/>
                <a:gd name="T21" fmla="*/ 97 h 618"/>
                <a:gd name="T22" fmla="*/ 171 w 215"/>
                <a:gd name="T23" fmla="*/ 97 h 618"/>
                <a:gd name="T24" fmla="*/ 34 w 215"/>
                <a:gd name="T25" fmla="*/ 174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618">
                  <a:moveTo>
                    <a:pt x="34" y="174"/>
                  </a:moveTo>
                  <a:lnTo>
                    <a:pt x="34" y="174"/>
                  </a:lnTo>
                  <a:cubicBezTo>
                    <a:pt x="34" y="174"/>
                    <a:pt x="0" y="377"/>
                    <a:pt x="5" y="443"/>
                  </a:cubicBezTo>
                  <a:lnTo>
                    <a:pt x="5" y="443"/>
                  </a:lnTo>
                  <a:cubicBezTo>
                    <a:pt x="10" y="508"/>
                    <a:pt x="45" y="617"/>
                    <a:pt x="72" y="614"/>
                  </a:cubicBezTo>
                  <a:lnTo>
                    <a:pt x="72" y="614"/>
                  </a:lnTo>
                  <a:cubicBezTo>
                    <a:pt x="99" y="612"/>
                    <a:pt x="73" y="351"/>
                    <a:pt x="120" y="377"/>
                  </a:cubicBezTo>
                  <a:lnTo>
                    <a:pt x="120" y="377"/>
                  </a:lnTo>
                  <a:cubicBezTo>
                    <a:pt x="166" y="403"/>
                    <a:pt x="171" y="447"/>
                    <a:pt x="192" y="432"/>
                  </a:cubicBezTo>
                  <a:lnTo>
                    <a:pt x="192" y="432"/>
                  </a:lnTo>
                  <a:cubicBezTo>
                    <a:pt x="214" y="416"/>
                    <a:pt x="155" y="194"/>
                    <a:pt x="171" y="97"/>
                  </a:cubicBezTo>
                  <a:lnTo>
                    <a:pt x="171" y="97"/>
                  </a:lnTo>
                  <a:cubicBezTo>
                    <a:pt x="186" y="0"/>
                    <a:pt x="34" y="174"/>
                    <a:pt x="34" y="174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0" name="Freeform 26">
              <a:extLst>
                <a:ext uri="{FF2B5EF4-FFF2-40B4-BE49-F238E27FC236}">
                  <a16:creationId xmlns:a16="http://schemas.microsoft.com/office/drawing/2014/main" id="{FF8D8323-C2E4-9943-A8F0-C8CB9995E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2537" y="4908036"/>
              <a:ext cx="288030" cy="149776"/>
            </a:xfrm>
            <a:custGeom>
              <a:avLst/>
              <a:gdLst>
                <a:gd name="T0" fmla="*/ 236 w 441"/>
                <a:gd name="T1" fmla="*/ 172 h 231"/>
                <a:gd name="T2" fmla="*/ 236 w 441"/>
                <a:gd name="T3" fmla="*/ 172 h 231"/>
                <a:gd name="T4" fmla="*/ 434 w 441"/>
                <a:gd name="T5" fmla="*/ 192 h 231"/>
                <a:gd name="T6" fmla="*/ 434 w 441"/>
                <a:gd name="T7" fmla="*/ 192 h 231"/>
                <a:gd name="T8" fmla="*/ 437 w 441"/>
                <a:gd name="T9" fmla="*/ 162 h 231"/>
                <a:gd name="T10" fmla="*/ 437 w 441"/>
                <a:gd name="T11" fmla="*/ 162 h 231"/>
                <a:gd name="T12" fmla="*/ 427 w 441"/>
                <a:gd name="T13" fmla="*/ 58 h 231"/>
                <a:gd name="T14" fmla="*/ 0 w 441"/>
                <a:gd name="T15" fmla="*/ 0 h 231"/>
                <a:gd name="T16" fmla="*/ 0 w 441"/>
                <a:gd name="T17" fmla="*/ 0 h 231"/>
                <a:gd name="T18" fmla="*/ 236 w 441"/>
                <a:gd name="T19" fmla="*/ 17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231">
                  <a:moveTo>
                    <a:pt x="236" y="172"/>
                  </a:moveTo>
                  <a:lnTo>
                    <a:pt x="236" y="172"/>
                  </a:lnTo>
                  <a:cubicBezTo>
                    <a:pt x="401" y="230"/>
                    <a:pt x="432" y="195"/>
                    <a:pt x="434" y="192"/>
                  </a:cubicBezTo>
                  <a:lnTo>
                    <a:pt x="434" y="192"/>
                  </a:lnTo>
                  <a:cubicBezTo>
                    <a:pt x="435" y="182"/>
                    <a:pt x="437" y="172"/>
                    <a:pt x="437" y="162"/>
                  </a:cubicBezTo>
                  <a:lnTo>
                    <a:pt x="437" y="162"/>
                  </a:lnTo>
                  <a:cubicBezTo>
                    <a:pt x="440" y="126"/>
                    <a:pt x="435" y="91"/>
                    <a:pt x="427" y="58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68" y="112"/>
                    <a:pt x="236" y="172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1" name="Freeform 27">
              <a:extLst>
                <a:ext uri="{FF2B5EF4-FFF2-40B4-BE49-F238E27FC236}">
                  <a16:creationId xmlns:a16="http://schemas.microsoft.com/office/drawing/2014/main" id="{8CFF82FB-7571-2F41-BAA5-DD797C25F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5156" y="4674733"/>
              <a:ext cx="601982" cy="561658"/>
            </a:xfrm>
            <a:custGeom>
              <a:avLst/>
              <a:gdLst>
                <a:gd name="T0" fmla="*/ 765 w 923"/>
                <a:gd name="T1" fmla="*/ 197 h 859"/>
                <a:gd name="T2" fmla="*/ 765 w 923"/>
                <a:gd name="T3" fmla="*/ 197 h 859"/>
                <a:gd name="T4" fmla="*/ 337 w 923"/>
                <a:gd name="T5" fmla="*/ 39 h 859"/>
                <a:gd name="T6" fmla="*/ 337 w 923"/>
                <a:gd name="T7" fmla="*/ 39 h 859"/>
                <a:gd name="T8" fmla="*/ 20 w 923"/>
                <a:gd name="T9" fmla="*/ 413 h 859"/>
                <a:gd name="T10" fmla="*/ 20 w 923"/>
                <a:gd name="T11" fmla="*/ 413 h 859"/>
                <a:gd name="T12" fmla="*/ 171 w 923"/>
                <a:gd name="T13" fmla="*/ 858 h 859"/>
                <a:gd name="T14" fmla="*/ 171 w 923"/>
                <a:gd name="T15" fmla="*/ 858 h 859"/>
                <a:gd name="T16" fmla="*/ 188 w 923"/>
                <a:gd name="T17" fmla="*/ 849 h 859"/>
                <a:gd name="T18" fmla="*/ 188 w 923"/>
                <a:gd name="T19" fmla="*/ 849 h 859"/>
                <a:gd name="T20" fmla="*/ 258 w 923"/>
                <a:gd name="T21" fmla="*/ 785 h 859"/>
                <a:gd name="T22" fmla="*/ 272 w 923"/>
                <a:gd name="T23" fmla="*/ 660 h 859"/>
                <a:gd name="T24" fmla="*/ 272 w 923"/>
                <a:gd name="T25" fmla="*/ 660 h 859"/>
                <a:gd name="T26" fmla="*/ 241 w 923"/>
                <a:gd name="T27" fmla="*/ 626 h 859"/>
                <a:gd name="T28" fmla="*/ 241 w 923"/>
                <a:gd name="T29" fmla="*/ 626 h 859"/>
                <a:gd name="T30" fmla="*/ 194 w 923"/>
                <a:gd name="T31" fmla="*/ 598 h 859"/>
                <a:gd name="T32" fmla="*/ 194 w 923"/>
                <a:gd name="T33" fmla="*/ 598 h 859"/>
                <a:gd name="T34" fmla="*/ 247 w 923"/>
                <a:gd name="T35" fmla="*/ 475 h 859"/>
                <a:gd name="T36" fmla="*/ 247 w 923"/>
                <a:gd name="T37" fmla="*/ 475 h 859"/>
                <a:gd name="T38" fmla="*/ 304 w 923"/>
                <a:gd name="T39" fmla="*/ 434 h 859"/>
                <a:gd name="T40" fmla="*/ 304 w 923"/>
                <a:gd name="T41" fmla="*/ 434 h 859"/>
                <a:gd name="T42" fmla="*/ 343 w 923"/>
                <a:gd name="T43" fmla="*/ 414 h 859"/>
                <a:gd name="T44" fmla="*/ 343 w 923"/>
                <a:gd name="T45" fmla="*/ 414 h 859"/>
                <a:gd name="T46" fmla="*/ 756 w 923"/>
                <a:gd name="T47" fmla="*/ 471 h 859"/>
                <a:gd name="T48" fmla="*/ 756 w 923"/>
                <a:gd name="T49" fmla="*/ 471 h 859"/>
                <a:gd name="T50" fmla="*/ 765 w 923"/>
                <a:gd name="T51" fmla="*/ 19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3" h="859">
                  <a:moveTo>
                    <a:pt x="765" y="197"/>
                  </a:moveTo>
                  <a:lnTo>
                    <a:pt x="765" y="197"/>
                  </a:lnTo>
                  <a:cubicBezTo>
                    <a:pt x="727" y="164"/>
                    <a:pt x="587" y="0"/>
                    <a:pt x="337" y="39"/>
                  </a:cubicBezTo>
                  <a:lnTo>
                    <a:pt x="337" y="39"/>
                  </a:lnTo>
                  <a:cubicBezTo>
                    <a:pt x="181" y="63"/>
                    <a:pt x="48" y="170"/>
                    <a:pt x="20" y="413"/>
                  </a:cubicBezTo>
                  <a:lnTo>
                    <a:pt x="20" y="413"/>
                  </a:lnTo>
                  <a:cubicBezTo>
                    <a:pt x="0" y="577"/>
                    <a:pt x="60" y="738"/>
                    <a:pt x="171" y="858"/>
                  </a:cubicBezTo>
                  <a:lnTo>
                    <a:pt x="171" y="858"/>
                  </a:lnTo>
                  <a:cubicBezTo>
                    <a:pt x="176" y="854"/>
                    <a:pt x="183" y="852"/>
                    <a:pt x="188" y="849"/>
                  </a:cubicBezTo>
                  <a:lnTo>
                    <a:pt x="188" y="849"/>
                  </a:lnTo>
                  <a:cubicBezTo>
                    <a:pt x="251" y="808"/>
                    <a:pt x="258" y="785"/>
                    <a:pt x="258" y="785"/>
                  </a:cubicBezTo>
                  <a:lnTo>
                    <a:pt x="272" y="660"/>
                  </a:lnTo>
                  <a:lnTo>
                    <a:pt x="272" y="660"/>
                  </a:lnTo>
                  <a:cubicBezTo>
                    <a:pt x="271" y="642"/>
                    <a:pt x="258" y="627"/>
                    <a:pt x="241" y="626"/>
                  </a:cubicBezTo>
                  <a:lnTo>
                    <a:pt x="241" y="626"/>
                  </a:lnTo>
                  <a:cubicBezTo>
                    <a:pt x="227" y="625"/>
                    <a:pt x="211" y="618"/>
                    <a:pt x="194" y="598"/>
                  </a:cubicBezTo>
                  <a:lnTo>
                    <a:pt x="194" y="598"/>
                  </a:lnTo>
                  <a:cubicBezTo>
                    <a:pt x="159" y="551"/>
                    <a:pt x="175" y="477"/>
                    <a:pt x="247" y="475"/>
                  </a:cubicBezTo>
                  <a:lnTo>
                    <a:pt x="247" y="475"/>
                  </a:lnTo>
                  <a:cubicBezTo>
                    <a:pt x="284" y="474"/>
                    <a:pt x="299" y="454"/>
                    <a:pt x="304" y="434"/>
                  </a:cubicBezTo>
                  <a:lnTo>
                    <a:pt x="304" y="434"/>
                  </a:lnTo>
                  <a:cubicBezTo>
                    <a:pt x="309" y="417"/>
                    <a:pt x="327" y="408"/>
                    <a:pt x="343" y="414"/>
                  </a:cubicBezTo>
                  <a:lnTo>
                    <a:pt x="343" y="414"/>
                  </a:lnTo>
                  <a:cubicBezTo>
                    <a:pt x="425" y="444"/>
                    <a:pt x="626" y="507"/>
                    <a:pt x="756" y="471"/>
                  </a:cubicBezTo>
                  <a:lnTo>
                    <a:pt x="756" y="471"/>
                  </a:lnTo>
                  <a:cubicBezTo>
                    <a:pt x="922" y="424"/>
                    <a:pt x="804" y="230"/>
                    <a:pt x="765" y="197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2" name="Freeform 28">
              <a:extLst>
                <a:ext uri="{FF2B5EF4-FFF2-40B4-BE49-F238E27FC236}">
                  <a16:creationId xmlns:a16="http://schemas.microsoft.com/office/drawing/2014/main" id="{1A4CE70F-EF80-8746-910A-85BE5F309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9107" y="5101018"/>
              <a:ext cx="129615" cy="74888"/>
            </a:xfrm>
            <a:custGeom>
              <a:avLst/>
              <a:gdLst>
                <a:gd name="T0" fmla="*/ 98 w 199"/>
                <a:gd name="T1" fmla="*/ 28 h 115"/>
                <a:gd name="T2" fmla="*/ 198 w 199"/>
                <a:gd name="T3" fmla="*/ 0 h 115"/>
                <a:gd name="T4" fmla="*/ 198 w 199"/>
                <a:gd name="T5" fmla="*/ 0 h 115"/>
                <a:gd name="T6" fmla="*/ 80 w 199"/>
                <a:gd name="T7" fmla="*/ 94 h 115"/>
                <a:gd name="T8" fmla="*/ 80 w 199"/>
                <a:gd name="T9" fmla="*/ 94 h 115"/>
                <a:gd name="T10" fmla="*/ 0 w 199"/>
                <a:gd name="T11" fmla="*/ 54 h 115"/>
                <a:gd name="T12" fmla="*/ 98 w 199"/>
                <a:gd name="T13" fmla="*/ 2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15">
                  <a:moveTo>
                    <a:pt x="98" y="28"/>
                  </a:moveTo>
                  <a:lnTo>
                    <a:pt x="198" y="0"/>
                  </a:lnTo>
                  <a:lnTo>
                    <a:pt x="198" y="0"/>
                  </a:lnTo>
                  <a:cubicBezTo>
                    <a:pt x="198" y="0"/>
                    <a:pt x="150" y="75"/>
                    <a:pt x="80" y="94"/>
                  </a:cubicBezTo>
                  <a:lnTo>
                    <a:pt x="80" y="94"/>
                  </a:lnTo>
                  <a:cubicBezTo>
                    <a:pt x="10" y="114"/>
                    <a:pt x="0" y="54"/>
                    <a:pt x="0" y="54"/>
                  </a:cubicBezTo>
                  <a:lnTo>
                    <a:pt x="98" y="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3" name="Freeform 29">
              <a:extLst>
                <a:ext uri="{FF2B5EF4-FFF2-40B4-BE49-F238E27FC236}">
                  <a16:creationId xmlns:a16="http://schemas.microsoft.com/office/drawing/2014/main" id="{24796B7F-B18F-7A4A-A4E5-F702A3E46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8098" y="6607415"/>
              <a:ext cx="57606" cy="46085"/>
            </a:xfrm>
            <a:custGeom>
              <a:avLst/>
              <a:gdLst>
                <a:gd name="T0" fmla="*/ 85 w 86"/>
                <a:gd name="T1" fmla="*/ 50 h 70"/>
                <a:gd name="T2" fmla="*/ 0 w 86"/>
                <a:gd name="T3" fmla="*/ 0 h 70"/>
                <a:gd name="T4" fmla="*/ 32 w 86"/>
                <a:gd name="T5" fmla="*/ 53 h 70"/>
                <a:gd name="T6" fmla="*/ 75 w 86"/>
                <a:gd name="T7" fmla="*/ 69 h 70"/>
                <a:gd name="T8" fmla="*/ 85 w 86"/>
                <a:gd name="T9" fmla="*/ 5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0">
                  <a:moveTo>
                    <a:pt x="85" y="50"/>
                  </a:moveTo>
                  <a:lnTo>
                    <a:pt x="0" y="0"/>
                  </a:lnTo>
                  <a:lnTo>
                    <a:pt x="32" y="53"/>
                  </a:lnTo>
                  <a:lnTo>
                    <a:pt x="75" y="69"/>
                  </a:lnTo>
                  <a:lnTo>
                    <a:pt x="85" y="5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4" name="Freeform 413">
              <a:extLst>
                <a:ext uri="{FF2B5EF4-FFF2-40B4-BE49-F238E27FC236}">
                  <a16:creationId xmlns:a16="http://schemas.microsoft.com/office/drawing/2014/main" id="{682BF9F6-59E6-E74D-B021-6129ECF41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54105" y="7923714"/>
              <a:ext cx="1295483" cy="748226"/>
            </a:xfrm>
            <a:custGeom>
              <a:avLst/>
              <a:gdLst>
                <a:gd name="connsiteX0" fmla="*/ 863765 w 1295483"/>
                <a:gd name="connsiteY0" fmla="*/ 250584 h 748226"/>
                <a:gd name="connsiteX1" fmla="*/ 1295483 w 1295483"/>
                <a:gd name="connsiteY1" fmla="*/ 499405 h 748226"/>
                <a:gd name="connsiteX2" fmla="*/ 863765 w 1295483"/>
                <a:gd name="connsiteY2" fmla="*/ 748226 h 748226"/>
                <a:gd name="connsiteX3" fmla="*/ 432045 w 1295483"/>
                <a:gd name="connsiteY3" fmla="*/ 499405 h 748226"/>
                <a:gd name="connsiteX4" fmla="*/ 431719 w 1295483"/>
                <a:gd name="connsiteY4" fmla="*/ 0 h 748226"/>
                <a:gd name="connsiteX5" fmla="*/ 863439 w 1295483"/>
                <a:gd name="connsiteY5" fmla="*/ 248820 h 748226"/>
                <a:gd name="connsiteX6" fmla="*/ 431719 w 1295483"/>
                <a:gd name="connsiteY6" fmla="*/ 497640 h 748226"/>
                <a:gd name="connsiteX7" fmla="*/ 0 w 1295483"/>
                <a:gd name="connsiteY7" fmla="*/ 248820 h 748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5483" h="748226">
                  <a:moveTo>
                    <a:pt x="863765" y="250584"/>
                  </a:moveTo>
                  <a:lnTo>
                    <a:pt x="1295483" y="499405"/>
                  </a:lnTo>
                  <a:lnTo>
                    <a:pt x="863765" y="748226"/>
                  </a:lnTo>
                  <a:lnTo>
                    <a:pt x="432045" y="499405"/>
                  </a:lnTo>
                  <a:close/>
                  <a:moveTo>
                    <a:pt x="431719" y="0"/>
                  </a:moveTo>
                  <a:lnTo>
                    <a:pt x="863439" y="248820"/>
                  </a:lnTo>
                  <a:lnTo>
                    <a:pt x="431719" y="497640"/>
                  </a:lnTo>
                  <a:lnTo>
                    <a:pt x="0" y="2488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5" name="Freeform 32">
              <a:extLst>
                <a:ext uri="{FF2B5EF4-FFF2-40B4-BE49-F238E27FC236}">
                  <a16:creationId xmlns:a16="http://schemas.microsoft.com/office/drawing/2014/main" id="{3516FC6E-D594-0D4D-BB73-4DD87A101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002018"/>
              <a:ext cx="368679" cy="959140"/>
            </a:xfrm>
            <a:custGeom>
              <a:avLst/>
              <a:gdLst>
                <a:gd name="T0" fmla="*/ 0 w 563"/>
                <a:gd name="T1" fmla="*/ 1469 h 1470"/>
                <a:gd name="T2" fmla="*/ 0 w 563"/>
                <a:gd name="T3" fmla="*/ 325 h 1470"/>
                <a:gd name="T4" fmla="*/ 562 w 563"/>
                <a:gd name="T5" fmla="*/ 0 h 1470"/>
                <a:gd name="T6" fmla="*/ 562 w 563"/>
                <a:gd name="T7" fmla="*/ 1144 h 1470"/>
                <a:gd name="T8" fmla="*/ 0 w 563"/>
                <a:gd name="T9" fmla="*/ 1469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470">
                  <a:moveTo>
                    <a:pt x="0" y="1469"/>
                  </a:moveTo>
                  <a:lnTo>
                    <a:pt x="0" y="325"/>
                  </a:lnTo>
                  <a:lnTo>
                    <a:pt x="562" y="0"/>
                  </a:lnTo>
                  <a:lnTo>
                    <a:pt x="562" y="1144"/>
                  </a:lnTo>
                  <a:lnTo>
                    <a:pt x="0" y="1469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6" name="Freeform 33">
              <a:extLst>
                <a:ext uri="{FF2B5EF4-FFF2-40B4-BE49-F238E27FC236}">
                  <a16:creationId xmlns:a16="http://schemas.microsoft.com/office/drawing/2014/main" id="{53B359C2-94B5-BD47-94A0-FD727E9E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002018"/>
              <a:ext cx="368679" cy="959140"/>
            </a:xfrm>
            <a:custGeom>
              <a:avLst/>
              <a:gdLst>
                <a:gd name="T0" fmla="*/ 563 w 564"/>
                <a:gd name="T1" fmla="*/ 325 h 1470"/>
                <a:gd name="T2" fmla="*/ 0 w 564"/>
                <a:gd name="T3" fmla="*/ 0 h 1470"/>
                <a:gd name="T4" fmla="*/ 0 w 564"/>
                <a:gd name="T5" fmla="*/ 1144 h 1470"/>
                <a:gd name="T6" fmla="*/ 563 w 564"/>
                <a:gd name="T7" fmla="*/ 1469 h 1470"/>
                <a:gd name="T8" fmla="*/ 563 w 564"/>
                <a:gd name="T9" fmla="*/ 325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470">
                  <a:moveTo>
                    <a:pt x="563" y="325"/>
                  </a:moveTo>
                  <a:lnTo>
                    <a:pt x="0" y="0"/>
                  </a:lnTo>
                  <a:lnTo>
                    <a:pt x="0" y="1144"/>
                  </a:lnTo>
                  <a:lnTo>
                    <a:pt x="563" y="1469"/>
                  </a:lnTo>
                  <a:lnTo>
                    <a:pt x="563" y="325"/>
                  </a:lnTo>
                </a:path>
              </a:pathLst>
            </a:custGeom>
            <a:solidFill>
              <a:srgbClr val="B45EF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7" name="Freeform 34">
              <a:extLst>
                <a:ext uri="{FF2B5EF4-FFF2-40B4-BE49-F238E27FC236}">
                  <a16:creationId xmlns:a16="http://schemas.microsoft.com/office/drawing/2014/main" id="{AC64E9D0-1958-4B43-9A4D-1F16A7C1FE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791755"/>
              <a:ext cx="734476" cy="423405"/>
            </a:xfrm>
            <a:custGeom>
              <a:avLst/>
              <a:gdLst>
                <a:gd name="T0" fmla="*/ 1125 w 1126"/>
                <a:gd name="T1" fmla="*/ 324 h 650"/>
                <a:gd name="T2" fmla="*/ 563 w 1126"/>
                <a:gd name="T3" fmla="*/ 0 h 650"/>
                <a:gd name="T4" fmla="*/ 0 w 1126"/>
                <a:gd name="T5" fmla="*/ 324 h 650"/>
                <a:gd name="T6" fmla="*/ 563 w 1126"/>
                <a:gd name="T7" fmla="*/ 649 h 650"/>
                <a:gd name="T8" fmla="*/ 1125 w 1126"/>
                <a:gd name="T9" fmla="*/ 32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4"/>
                  </a:moveTo>
                  <a:lnTo>
                    <a:pt x="563" y="0"/>
                  </a:lnTo>
                  <a:lnTo>
                    <a:pt x="0" y="324"/>
                  </a:lnTo>
                  <a:lnTo>
                    <a:pt x="563" y="649"/>
                  </a:lnTo>
                  <a:lnTo>
                    <a:pt x="1125" y="32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8" name="Freeform 35">
              <a:extLst>
                <a:ext uri="{FF2B5EF4-FFF2-40B4-BE49-F238E27FC236}">
                  <a16:creationId xmlns:a16="http://schemas.microsoft.com/office/drawing/2014/main" id="{D49D3551-A6E0-5F4C-B6FC-E4A7C62D4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820023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9" name="Freeform 36">
              <a:extLst>
                <a:ext uri="{FF2B5EF4-FFF2-40B4-BE49-F238E27FC236}">
                  <a16:creationId xmlns:a16="http://schemas.microsoft.com/office/drawing/2014/main" id="{9893A27B-6821-DC43-BF5B-615A0444C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0" name="Freeform 37">
              <a:extLst>
                <a:ext uri="{FF2B5EF4-FFF2-40B4-BE49-F238E27FC236}">
                  <a16:creationId xmlns:a16="http://schemas.microsoft.com/office/drawing/2014/main" id="{DBE41A3C-4133-0B43-A313-137B52A5A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1" name="Freeform 38">
              <a:extLst>
                <a:ext uri="{FF2B5EF4-FFF2-40B4-BE49-F238E27FC236}">
                  <a16:creationId xmlns:a16="http://schemas.microsoft.com/office/drawing/2014/main" id="{E9631F67-D6F8-3E48-AB24-C57C01239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2" name="Freeform 39">
              <a:extLst>
                <a:ext uri="{FF2B5EF4-FFF2-40B4-BE49-F238E27FC236}">
                  <a16:creationId xmlns:a16="http://schemas.microsoft.com/office/drawing/2014/main" id="{4BF70252-D87F-DF41-9B38-A0A753FED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3" name="Freeform 40">
              <a:extLst>
                <a:ext uri="{FF2B5EF4-FFF2-40B4-BE49-F238E27FC236}">
                  <a16:creationId xmlns:a16="http://schemas.microsoft.com/office/drawing/2014/main" id="{9892F675-4997-1D44-BA4B-2AC781F158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4" name="Freeform 41">
              <a:extLst>
                <a:ext uri="{FF2B5EF4-FFF2-40B4-BE49-F238E27FC236}">
                  <a16:creationId xmlns:a16="http://schemas.microsoft.com/office/drawing/2014/main" id="{82C011CB-CCA4-5C4A-B5F6-C278EC205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5" name="Freeform 42">
              <a:extLst>
                <a:ext uri="{FF2B5EF4-FFF2-40B4-BE49-F238E27FC236}">
                  <a16:creationId xmlns:a16="http://schemas.microsoft.com/office/drawing/2014/main" id="{4C8C60C7-431D-DC43-9F68-D51A89C680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537753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6" name="Freeform 43">
              <a:extLst>
                <a:ext uri="{FF2B5EF4-FFF2-40B4-BE49-F238E27FC236}">
                  <a16:creationId xmlns:a16="http://schemas.microsoft.com/office/drawing/2014/main" id="{616D9AFF-401C-054A-9CE5-65B0FEF75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537753"/>
              <a:ext cx="368679" cy="849688"/>
            </a:xfrm>
            <a:custGeom>
              <a:avLst/>
              <a:gdLst>
                <a:gd name="T0" fmla="*/ 563 w 564"/>
                <a:gd name="T1" fmla="*/ 324 h 1299"/>
                <a:gd name="T2" fmla="*/ 0 w 564"/>
                <a:gd name="T3" fmla="*/ 0 h 1299"/>
                <a:gd name="T4" fmla="*/ 0 w 564"/>
                <a:gd name="T5" fmla="*/ 973 h 1299"/>
                <a:gd name="T6" fmla="*/ 563 w 564"/>
                <a:gd name="T7" fmla="*/ 1298 h 1299"/>
                <a:gd name="T8" fmla="*/ 563 w 564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299">
                  <a:moveTo>
                    <a:pt x="563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3" y="1298"/>
                  </a:lnTo>
                  <a:lnTo>
                    <a:pt x="563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7" name="Freeform 44">
              <a:extLst>
                <a:ext uri="{FF2B5EF4-FFF2-40B4-BE49-F238E27FC236}">
                  <a16:creationId xmlns:a16="http://schemas.microsoft.com/office/drawing/2014/main" id="{159224D9-DF97-2048-9103-DCFA4A2FC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324611"/>
              <a:ext cx="734476" cy="423404"/>
            </a:xfrm>
            <a:custGeom>
              <a:avLst/>
              <a:gdLst>
                <a:gd name="T0" fmla="*/ 1125 w 1126"/>
                <a:gd name="T1" fmla="*/ 325 h 650"/>
                <a:gd name="T2" fmla="*/ 563 w 1126"/>
                <a:gd name="T3" fmla="*/ 0 h 650"/>
                <a:gd name="T4" fmla="*/ 0 w 1126"/>
                <a:gd name="T5" fmla="*/ 325 h 650"/>
                <a:gd name="T6" fmla="*/ 563 w 1126"/>
                <a:gd name="T7" fmla="*/ 649 h 650"/>
                <a:gd name="T8" fmla="*/ 1125 w 1126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5"/>
                  </a:moveTo>
                  <a:lnTo>
                    <a:pt x="563" y="0"/>
                  </a:lnTo>
                  <a:lnTo>
                    <a:pt x="0" y="325"/>
                  </a:lnTo>
                  <a:lnTo>
                    <a:pt x="563" y="649"/>
                  </a:lnTo>
                  <a:lnTo>
                    <a:pt x="1125" y="325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8" name="Freeform 45">
              <a:extLst>
                <a:ext uri="{FF2B5EF4-FFF2-40B4-BE49-F238E27FC236}">
                  <a16:creationId xmlns:a16="http://schemas.microsoft.com/office/drawing/2014/main" id="{DC36E513-5944-CC49-9DA0-595EBE542E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56885" y="3018558"/>
              <a:ext cx="60485" cy="1281735"/>
            </a:xfrm>
            <a:custGeom>
              <a:avLst/>
              <a:gdLst>
                <a:gd name="T0" fmla="*/ 45 w 92"/>
                <a:gd name="T1" fmla="*/ 1963 h 1964"/>
                <a:gd name="T2" fmla="*/ 45 w 92"/>
                <a:gd name="T3" fmla="*/ 1963 h 1964"/>
                <a:gd name="T4" fmla="*/ 0 w 92"/>
                <a:gd name="T5" fmla="*/ 1917 h 1964"/>
                <a:gd name="T6" fmla="*/ 0 w 92"/>
                <a:gd name="T7" fmla="*/ 46 h 1964"/>
                <a:gd name="T8" fmla="*/ 0 w 92"/>
                <a:gd name="T9" fmla="*/ 46 h 1964"/>
                <a:gd name="T10" fmla="*/ 45 w 92"/>
                <a:gd name="T11" fmla="*/ 0 h 1964"/>
                <a:gd name="T12" fmla="*/ 45 w 92"/>
                <a:gd name="T13" fmla="*/ 0 h 1964"/>
                <a:gd name="T14" fmla="*/ 91 w 92"/>
                <a:gd name="T15" fmla="*/ 46 h 1964"/>
                <a:gd name="T16" fmla="*/ 91 w 92"/>
                <a:gd name="T17" fmla="*/ 1917 h 1964"/>
                <a:gd name="T18" fmla="*/ 91 w 92"/>
                <a:gd name="T19" fmla="*/ 1917 h 1964"/>
                <a:gd name="T20" fmla="*/ 45 w 92"/>
                <a:gd name="T21" fmla="*/ 1963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4">
                  <a:moveTo>
                    <a:pt x="45" y="1963"/>
                  </a:moveTo>
                  <a:lnTo>
                    <a:pt x="45" y="1963"/>
                  </a:lnTo>
                  <a:cubicBezTo>
                    <a:pt x="20" y="1963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0" y="0"/>
                    <a:pt x="45" y="0"/>
                  </a:cubicBezTo>
                  <a:lnTo>
                    <a:pt x="45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3"/>
                    <a:pt x="45" y="196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9" name="Freeform 428">
              <a:extLst>
                <a:ext uri="{FF2B5EF4-FFF2-40B4-BE49-F238E27FC236}">
                  <a16:creationId xmlns:a16="http://schemas.microsoft.com/office/drawing/2014/main" id="{D04F28FA-5CFC-4C47-B6C2-F2161E1C2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8021" y="2972473"/>
              <a:ext cx="213585" cy="520392"/>
            </a:xfrm>
            <a:custGeom>
              <a:avLst/>
              <a:gdLst>
                <a:gd name="connsiteX0" fmla="*/ 1095 w 213585"/>
                <a:gd name="connsiteY0" fmla="*/ 0 h 520392"/>
                <a:gd name="connsiteX1" fmla="*/ 213585 w 213585"/>
                <a:gd name="connsiteY1" fmla="*/ 0 h 520392"/>
                <a:gd name="connsiteX2" fmla="*/ 213585 w 213585"/>
                <a:gd name="connsiteY2" fmla="*/ 457318 h 520392"/>
                <a:gd name="connsiteX3" fmla="*/ 211451 w 213585"/>
                <a:gd name="connsiteY3" fmla="*/ 457318 h 520392"/>
                <a:gd name="connsiteX4" fmla="*/ 211962 w 213585"/>
                <a:gd name="connsiteY4" fmla="*/ 458836 h 520392"/>
                <a:gd name="connsiteX5" fmla="*/ 181170 w 213585"/>
                <a:gd name="connsiteY5" fmla="*/ 502245 h 520392"/>
                <a:gd name="connsiteX6" fmla="*/ 31281 w 213585"/>
                <a:gd name="connsiteY6" fmla="*/ 502245 h 520392"/>
                <a:gd name="connsiteX7" fmla="*/ 0 w 213585"/>
                <a:gd name="connsiteY7" fmla="*/ 458836 h 520392"/>
                <a:gd name="connsiteX8" fmla="*/ 1095 w 213585"/>
                <a:gd name="connsiteY8" fmla="*/ 455630 h 5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5" h="520392">
                  <a:moveTo>
                    <a:pt x="1095" y="0"/>
                  </a:moveTo>
                  <a:lnTo>
                    <a:pt x="213585" y="0"/>
                  </a:lnTo>
                  <a:lnTo>
                    <a:pt x="213585" y="457318"/>
                  </a:lnTo>
                  <a:lnTo>
                    <a:pt x="211451" y="457318"/>
                  </a:lnTo>
                  <a:lnTo>
                    <a:pt x="211962" y="458836"/>
                  </a:lnTo>
                  <a:cubicBezTo>
                    <a:pt x="211962" y="474450"/>
                    <a:pt x="201698" y="490146"/>
                    <a:pt x="181170" y="502245"/>
                  </a:cubicBezTo>
                  <a:cubicBezTo>
                    <a:pt x="140113" y="526442"/>
                    <a:pt x="72989" y="526442"/>
                    <a:pt x="31281" y="502245"/>
                  </a:cubicBezTo>
                  <a:cubicBezTo>
                    <a:pt x="10427" y="490146"/>
                    <a:pt x="0" y="474450"/>
                    <a:pt x="0" y="458836"/>
                  </a:cubicBezTo>
                  <a:lnTo>
                    <a:pt x="1095" y="45563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D7136FC2-4523-254F-8867-0FC8880D5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9116" y="3018559"/>
              <a:ext cx="213142" cy="213142"/>
            </a:xfrm>
            <a:custGeom>
              <a:avLst/>
              <a:gdLst>
                <a:gd name="T0" fmla="*/ 0 w 327"/>
                <a:gd name="T1" fmla="*/ 44 h 326"/>
                <a:gd name="T2" fmla="*/ 0 w 327"/>
                <a:gd name="T3" fmla="*/ 281 h 326"/>
                <a:gd name="T4" fmla="*/ 0 w 327"/>
                <a:gd name="T5" fmla="*/ 281 h 326"/>
                <a:gd name="T6" fmla="*/ 326 w 327"/>
                <a:gd name="T7" fmla="*/ 281 h 326"/>
                <a:gd name="T8" fmla="*/ 326 w 327"/>
                <a:gd name="T9" fmla="*/ 44 h 326"/>
                <a:gd name="T10" fmla="*/ 326 w 327"/>
                <a:gd name="T11" fmla="*/ 44 h 326"/>
                <a:gd name="T12" fmla="*/ 0 w 327"/>
                <a:gd name="T13" fmla="*/ 4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326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6" y="325"/>
                    <a:pt x="230" y="325"/>
                    <a:pt x="326" y="281"/>
                  </a:cubicBezTo>
                  <a:lnTo>
                    <a:pt x="326" y="44"/>
                  </a:lnTo>
                  <a:lnTo>
                    <a:pt x="326" y="44"/>
                  </a:lnTo>
                  <a:cubicBezTo>
                    <a:pt x="230" y="0"/>
                    <a:pt x="96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1" name="Freeform 430">
              <a:extLst>
                <a:ext uri="{FF2B5EF4-FFF2-40B4-BE49-F238E27FC236}">
                  <a16:creationId xmlns:a16="http://schemas.microsoft.com/office/drawing/2014/main" id="{D0DD0641-490B-534F-8973-B4CC7927C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368" y="2333047"/>
              <a:ext cx="345482" cy="819071"/>
            </a:xfrm>
            <a:custGeom>
              <a:avLst/>
              <a:gdLst>
                <a:gd name="connsiteX0" fmla="*/ 501 w 345482"/>
                <a:gd name="connsiteY0" fmla="*/ 0 h 819071"/>
                <a:gd name="connsiteX1" fmla="*/ 345482 w 345482"/>
                <a:gd name="connsiteY1" fmla="*/ 0 h 819071"/>
                <a:gd name="connsiteX2" fmla="*/ 345482 w 345482"/>
                <a:gd name="connsiteY2" fmla="*/ 719422 h 819071"/>
                <a:gd name="connsiteX3" fmla="*/ 343023 w 345482"/>
                <a:gd name="connsiteY3" fmla="*/ 719422 h 819071"/>
                <a:gd name="connsiteX4" fmla="*/ 343106 w 345482"/>
                <a:gd name="connsiteY4" fmla="*/ 719666 h 819071"/>
                <a:gd name="connsiteX5" fmla="*/ 292764 w 345482"/>
                <a:gd name="connsiteY5" fmla="*/ 789666 h 819071"/>
                <a:gd name="connsiteX6" fmla="*/ 50341 w 345482"/>
                <a:gd name="connsiteY6" fmla="*/ 789666 h 819071"/>
                <a:gd name="connsiteX7" fmla="*/ 0 w 345482"/>
                <a:gd name="connsiteY7" fmla="*/ 719666 h 819071"/>
                <a:gd name="connsiteX8" fmla="*/ 501 w 345482"/>
                <a:gd name="connsiteY8" fmla="*/ 718175 h 81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5482" h="819071">
                  <a:moveTo>
                    <a:pt x="501" y="0"/>
                  </a:moveTo>
                  <a:lnTo>
                    <a:pt x="345482" y="0"/>
                  </a:lnTo>
                  <a:lnTo>
                    <a:pt x="345482" y="719422"/>
                  </a:lnTo>
                  <a:lnTo>
                    <a:pt x="343023" y="719422"/>
                  </a:lnTo>
                  <a:lnTo>
                    <a:pt x="343106" y="719666"/>
                  </a:lnTo>
                  <a:cubicBezTo>
                    <a:pt x="343106" y="745069"/>
                    <a:pt x="326325" y="770390"/>
                    <a:pt x="292764" y="789666"/>
                  </a:cubicBezTo>
                  <a:cubicBezTo>
                    <a:pt x="225642" y="828873"/>
                    <a:pt x="117464" y="828873"/>
                    <a:pt x="50341" y="789666"/>
                  </a:cubicBezTo>
                  <a:cubicBezTo>
                    <a:pt x="16780" y="770390"/>
                    <a:pt x="0" y="745069"/>
                    <a:pt x="0" y="719666"/>
                  </a:cubicBezTo>
                  <a:lnTo>
                    <a:pt x="501" y="7181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2" name="Freeform 431">
              <a:extLst>
                <a:ext uri="{FF2B5EF4-FFF2-40B4-BE49-F238E27FC236}">
                  <a16:creationId xmlns:a16="http://schemas.microsoft.com/office/drawing/2014/main" id="{39CFB252-707A-1B4F-BA47-33B971210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46448" y="3689670"/>
              <a:ext cx="60487" cy="1281734"/>
            </a:xfrm>
            <a:custGeom>
              <a:avLst/>
              <a:gdLst>
                <a:gd name="T0" fmla="*/ 46 w 92"/>
                <a:gd name="T1" fmla="*/ 1962 h 1963"/>
                <a:gd name="T2" fmla="*/ 46 w 92"/>
                <a:gd name="T3" fmla="*/ 1962 h 1963"/>
                <a:gd name="T4" fmla="*/ 0 w 92"/>
                <a:gd name="T5" fmla="*/ 1917 h 1963"/>
                <a:gd name="T6" fmla="*/ 0 w 92"/>
                <a:gd name="T7" fmla="*/ 46 h 1963"/>
                <a:gd name="T8" fmla="*/ 0 w 92"/>
                <a:gd name="T9" fmla="*/ 46 h 1963"/>
                <a:gd name="T10" fmla="*/ 46 w 92"/>
                <a:gd name="T11" fmla="*/ 0 h 1963"/>
                <a:gd name="T12" fmla="*/ 46 w 92"/>
                <a:gd name="T13" fmla="*/ 0 h 1963"/>
                <a:gd name="T14" fmla="*/ 91 w 92"/>
                <a:gd name="T15" fmla="*/ 46 h 1963"/>
                <a:gd name="T16" fmla="*/ 91 w 92"/>
                <a:gd name="T17" fmla="*/ 1917 h 1963"/>
                <a:gd name="T18" fmla="*/ 91 w 92"/>
                <a:gd name="T19" fmla="*/ 1917 h 1963"/>
                <a:gd name="T20" fmla="*/ 46 w 92"/>
                <a:gd name="T21" fmla="*/ 1962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3">
                  <a:moveTo>
                    <a:pt x="46" y="1962"/>
                  </a:moveTo>
                  <a:lnTo>
                    <a:pt x="46" y="1962"/>
                  </a:lnTo>
                  <a:cubicBezTo>
                    <a:pt x="21" y="1962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1" y="0"/>
                    <a:pt x="46" y="0"/>
                  </a:cubicBezTo>
                  <a:lnTo>
                    <a:pt x="46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2"/>
                    <a:pt x="46" y="196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3" name="Freeform 432">
              <a:extLst>
                <a:ext uri="{FF2B5EF4-FFF2-40B4-BE49-F238E27FC236}">
                  <a16:creationId xmlns:a16="http://schemas.microsoft.com/office/drawing/2014/main" id="{EDEA4830-30B3-1C42-B08F-C78AE49FF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0466" y="3643583"/>
              <a:ext cx="213583" cy="517544"/>
            </a:xfrm>
            <a:custGeom>
              <a:avLst/>
              <a:gdLst>
                <a:gd name="connsiteX0" fmla="*/ 1095 w 213583"/>
                <a:gd name="connsiteY0" fmla="*/ 0 h 517544"/>
                <a:gd name="connsiteX1" fmla="*/ 213583 w 213583"/>
                <a:gd name="connsiteY1" fmla="*/ 0 h 517544"/>
                <a:gd name="connsiteX2" fmla="*/ 213583 w 213583"/>
                <a:gd name="connsiteY2" fmla="*/ 457316 h 517544"/>
                <a:gd name="connsiteX3" fmla="*/ 211421 w 213583"/>
                <a:gd name="connsiteY3" fmla="*/ 457316 h 517544"/>
                <a:gd name="connsiteX4" fmla="*/ 203979 w 213583"/>
                <a:gd name="connsiteY4" fmla="*/ 479186 h 517544"/>
                <a:gd name="connsiteX5" fmla="*/ 180518 w 213583"/>
                <a:gd name="connsiteY5" fmla="*/ 499484 h 517544"/>
                <a:gd name="connsiteX6" fmla="*/ 31281 w 213583"/>
                <a:gd name="connsiteY6" fmla="*/ 499484 h 517544"/>
                <a:gd name="connsiteX7" fmla="*/ 0 w 213583"/>
                <a:gd name="connsiteY7" fmla="*/ 456203 h 517544"/>
                <a:gd name="connsiteX8" fmla="*/ 1095 w 213583"/>
                <a:gd name="connsiteY8" fmla="*/ 452985 h 5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3" h="517544">
                  <a:moveTo>
                    <a:pt x="1095" y="0"/>
                  </a:moveTo>
                  <a:lnTo>
                    <a:pt x="213583" y="0"/>
                  </a:lnTo>
                  <a:lnTo>
                    <a:pt x="213583" y="457316"/>
                  </a:lnTo>
                  <a:lnTo>
                    <a:pt x="211421" y="457316"/>
                  </a:lnTo>
                  <a:lnTo>
                    <a:pt x="203979" y="479186"/>
                  </a:lnTo>
                  <a:cubicBezTo>
                    <a:pt x="198765" y="486549"/>
                    <a:pt x="190945" y="493464"/>
                    <a:pt x="180518" y="499484"/>
                  </a:cubicBezTo>
                  <a:cubicBezTo>
                    <a:pt x="139462" y="523565"/>
                    <a:pt x="72338" y="523565"/>
                    <a:pt x="31281" y="499484"/>
                  </a:cubicBezTo>
                  <a:cubicBezTo>
                    <a:pt x="10427" y="487444"/>
                    <a:pt x="0" y="471823"/>
                    <a:pt x="0" y="456203"/>
                  </a:cubicBezTo>
                  <a:lnTo>
                    <a:pt x="1095" y="45298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4" name="Freeform 55">
              <a:extLst>
                <a:ext uri="{FF2B5EF4-FFF2-40B4-BE49-F238E27FC236}">
                  <a16:creationId xmlns:a16="http://schemas.microsoft.com/office/drawing/2014/main" id="{006D2CA5-29D1-DD42-9410-1DB38525D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1561" y="3689670"/>
              <a:ext cx="213142" cy="213142"/>
            </a:xfrm>
            <a:custGeom>
              <a:avLst/>
              <a:gdLst>
                <a:gd name="T0" fmla="*/ 0 w 326"/>
                <a:gd name="T1" fmla="*/ 44 h 325"/>
                <a:gd name="T2" fmla="*/ 0 w 326"/>
                <a:gd name="T3" fmla="*/ 281 h 325"/>
                <a:gd name="T4" fmla="*/ 0 w 326"/>
                <a:gd name="T5" fmla="*/ 281 h 325"/>
                <a:gd name="T6" fmla="*/ 325 w 326"/>
                <a:gd name="T7" fmla="*/ 281 h 325"/>
                <a:gd name="T8" fmla="*/ 325 w 326"/>
                <a:gd name="T9" fmla="*/ 44 h 325"/>
                <a:gd name="T10" fmla="*/ 325 w 326"/>
                <a:gd name="T11" fmla="*/ 44 h 325"/>
                <a:gd name="T12" fmla="*/ 0 w 326"/>
                <a:gd name="T13" fmla="*/ 4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325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5" y="324"/>
                    <a:pt x="230" y="324"/>
                    <a:pt x="325" y="281"/>
                  </a:cubicBezTo>
                  <a:lnTo>
                    <a:pt x="325" y="44"/>
                  </a:lnTo>
                  <a:lnTo>
                    <a:pt x="325" y="44"/>
                  </a:lnTo>
                  <a:cubicBezTo>
                    <a:pt x="230" y="0"/>
                    <a:pt x="95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5" name="Freeform 434">
              <a:extLst>
                <a:ext uri="{FF2B5EF4-FFF2-40B4-BE49-F238E27FC236}">
                  <a16:creationId xmlns:a16="http://schemas.microsoft.com/office/drawing/2014/main" id="{91150D8B-06B3-1741-8908-3492D24779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4813" y="3004158"/>
              <a:ext cx="345482" cy="819203"/>
            </a:xfrm>
            <a:custGeom>
              <a:avLst/>
              <a:gdLst>
                <a:gd name="connsiteX0" fmla="*/ 501 w 345482"/>
                <a:gd name="connsiteY0" fmla="*/ 0 h 819203"/>
                <a:gd name="connsiteX1" fmla="*/ 345482 w 345482"/>
                <a:gd name="connsiteY1" fmla="*/ 0 h 819203"/>
                <a:gd name="connsiteX2" fmla="*/ 345482 w 345482"/>
                <a:gd name="connsiteY2" fmla="*/ 716542 h 819203"/>
                <a:gd name="connsiteX3" fmla="*/ 342032 w 345482"/>
                <a:gd name="connsiteY3" fmla="*/ 716542 h 819203"/>
                <a:gd name="connsiteX4" fmla="*/ 343106 w 345482"/>
                <a:gd name="connsiteY4" fmla="*/ 719747 h 819203"/>
                <a:gd name="connsiteX5" fmla="*/ 292764 w 345482"/>
                <a:gd name="connsiteY5" fmla="*/ 790202 h 819203"/>
                <a:gd name="connsiteX6" fmla="*/ 50341 w 345482"/>
                <a:gd name="connsiteY6" fmla="*/ 790202 h 819203"/>
                <a:gd name="connsiteX7" fmla="*/ 0 w 345482"/>
                <a:gd name="connsiteY7" fmla="*/ 719747 h 819203"/>
                <a:gd name="connsiteX8" fmla="*/ 1073 w 345482"/>
                <a:gd name="connsiteY8" fmla="*/ 716542 h 819203"/>
                <a:gd name="connsiteX9" fmla="*/ 501 w 345482"/>
                <a:gd name="connsiteY9" fmla="*/ 716542 h 81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482" h="819203">
                  <a:moveTo>
                    <a:pt x="501" y="0"/>
                  </a:moveTo>
                  <a:lnTo>
                    <a:pt x="345482" y="0"/>
                  </a:lnTo>
                  <a:lnTo>
                    <a:pt x="345482" y="716542"/>
                  </a:lnTo>
                  <a:lnTo>
                    <a:pt x="342032" y="716542"/>
                  </a:lnTo>
                  <a:lnTo>
                    <a:pt x="343106" y="719747"/>
                  </a:lnTo>
                  <a:cubicBezTo>
                    <a:pt x="343105" y="745307"/>
                    <a:pt x="326325" y="770868"/>
                    <a:pt x="292764" y="790202"/>
                  </a:cubicBezTo>
                  <a:cubicBezTo>
                    <a:pt x="225642" y="828871"/>
                    <a:pt x="116812" y="828871"/>
                    <a:pt x="50341" y="790202"/>
                  </a:cubicBezTo>
                  <a:cubicBezTo>
                    <a:pt x="16780" y="770868"/>
                    <a:pt x="0" y="745307"/>
                    <a:pt x="0" y="719747"/>
                  </a:cubicBezTo>
                  <a:lnTo>
                    <a:pt x="1073" y="716542"/>
                  </a:lnTo>
                  <a:lnTo>
                    <a:pt x="501" y="7165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6" name="Freeform 435">
              <a:extLst>
                <a:ext uri="{FF2B5EF4-FFF2-40B4-BE49-F238E27FC236}">
                  <a16:creationId xmlns:a16="http://schemas.microsoft.com/office/drawing/2014/main" id="{8D9459ED-A098-F641-BAC6-37BDCCCD98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6221" y="326624"/>
              <a:ext cx="3945361" cy="3869324"/>
            </a:xfrm>
            <a:custGeom>
              <a:avLst/>
              <a:gdLst>
                <a:gd name="connsiteX0" fmla="*/ 1228925 w 3945361"/>
                <a:gd name="connsiteY0" fmla="*/ 698 h 3869324"/>
                <a:gd name="connsiteX1" fmla="*/ 1491817 w 3945361"/>
                <a:gd name="connsiteY1" fmla="*/ 51774 h 3869324"/>
                <a:gd name="connsiteX2" fmla="*/ 1504408 w 3945361"/>
                <a:gd name="connsiteY2" fmla="*/ 57687 h 3869324"/>
                <a:gd name="connsiteX3" fmla="*/ 1507544 w 3945361"/>
                <a:gd name="connsiteY3" fmla="*/ 58822 h 3869324"/>
                <a:gd name="connsiteX4" fmla="*/ 1516877 w 3945361"/>
                <a:gd name="connsiteY4" fmla="*/ 63542 h 3869324"/>
                <a:gd name="connsiteX5" fmla="*/ 1563353 w 3945361"/>
                <a:gd name="connsiteY5" fmla="*/ 85368 h 3869324"/>
                <a:gd name="connsiteX6" fmla="*/ 1561810 w 3945361"/>
                <a:gd name="connsiteY6" fmla="*/ 86269 h 3869324"/>
                <a:gd name="connsiteX7" fmla="*/ 1603733 w 3945361"/>
                <a:gd name="connsiteY7" fmla="*/ 107472 h 3869324"/>
                <a:gd name="connsiteX8" fmla="*/ 2376653 w 3945361"/>
                <a:gd name="connsiteY8" fmla="*/ 1348418 h 3869324"/>
                <a:gd name="connsiteX9" fmla="*/ 2508386 w 3945361"/>
                <a:gd name="connsiteY9" fmla="*/ 1375932 h 3869324"/>
                <a:gd name="connsiteX10" fmla="*/ 2574281 w 3945361"/>
                <a:gd name="connsiteY10" fmla="*/ 1402017 h 3869324"/>
                <a:gd name="connsiteX11" fmla="*/ 2575067 w 3945361"/>
                <a:gd name="connsiteY11" fmla="*/ 1401558 h 3869324"/>
                <a:gd name="connsiteX12" fmla="*/ 2649509 w 3945361"/>
                <a:gd name="connsiteY12" fmla="*/ 1440077 h 3869324"/>
                <a:gd name="connsiteX13" fmla="*/ 2677427 w 3945361"/>
                <a:gd name="connsiteY13" fmla="*/ 1459440 h 3869324"/>
                <a:gd name="connsiteX14" fmla="*/ 2768983 w 3945361"/>
                <a:gd name="connsiteY14" fmla="*/ 1521376 h 3869324"/>
                <a:gd name="connsiteX15" fmla="*/ 2777370 w 3945361"/>
                <a:gd name="connsiteY15" fmla="*/ 1528756 h 3869324"/>
                <a:gd name="connsiteX16" fmla="*/ 2788150 w 3945361"/>
                <a:gd name="connsiteY16" fmla="*/ 1536233 h 3869324"/>
                <a:gd name="connsiteX17" fmla="*/ 2824413 w 3945361"/>
                <a:gd name="connsiteY17" fmla="*/ 1570156 h 3869324"/>
                <a:gd name="connsiteX18" fmla="*/ 2881003 w 3945361"/>
                <a:gd name="connsiteY18" fmla="*/ 1619957 h 3869324"/>
                <a:gd name="connsiteX19" fmla="*/ 2900198 w 3945361"/>
                <a:gd name="connsiteY19" fmla="*/ 1641050 h 3869324"/>
                <a:gd name="connsiteX20" fmla="*/ 2917241 w 3945361"/>
                <a:gd name="connsiteY20" fmla="*/ 1656993 h 3869324"/>
                <a:gd name="connsiteX21" fmla="*/ 2943943 w 3945361"/>
                <a:gd name="connsiteY21" fmla="*/ 1689122 h 3869324"/>
                <a:gd name="connsiteX22" fmla="*/ 2984754 w 3945361"/>
                <a:gd name="connsiteY22" fmla="*/ 1733969 h 3869324"/>
                <a:gd name="connsiteX23" fmla="*/ 3013929 w 3945361"/>
                <a:gd name="connsiteY23" fmla="*/ 1773329 h 3869324"/>
                <a:gd name="connsiteX24" fmla="*/ 3034087 w 3945361"/>
                <a:gd name="connsiteY24" fmla="*/ 1797584 h 3869324"/>
                <a:gd name="connsiteX25" fmla="*/ 3050595 w 3945361"/>
                <a:gd name="connsiteY25" fmla="*/ 1822796 h 3869324"/>
                <a:gd name="connsiteX26" fmla="*/ 3078521 w 3945361"/>
                <a:gd name="connsiteY26" fmla="*/ 1860472 h 3869324"/>
                <a:gd name="connsiteX27" fmla="*/ 3116645 w 3945361"/>
                <a:gd name="connsiteY27" fmla="*/ 1923676 h 3869324"/>
                <a:gd name="connsiteX28" fmla="*/ 3135997 w 3945361"/>
                <a:gd name="connsiteY28" fmla="*/ 1953232 h 3869324"/>
                <a:gd name="connsiteX29" fmla="*/ 3134872 w 3945361"/>
                <a:gd name="connsiteY29" fmla="*/ 1953893 h 3869324"/>
                <a:gd name="connsiteX30" fmla="*/ 3160589 w 3945361"/>
                <a:gd name="connsiteY30" fmla="*/ 1996527 h 3869324"/>
                <a:gd name="connsiteX31" fmla="*/ 3319446 w 3945361"/>
                <a:gd name="connsiteY31" fmla="*/ 2432614 h 3869324"/>
                <a:gd name="connsiteX32" fmla="*/ 3479518 w 3945361"/>
                <a:gd name="connsiteY32" fmla="*/ 2491396 h 3869324"/>
                <a:gd name="connsiteX33" fmla="*/ 3945361 w 3945361"/>
                <a:gd name="connsiteY33" fmla="*/ 3298664 h 3869324"/>
                <a:gd name="connsiteX34" fmla="*/ 3808973 w 3945361"/>
                <a:gd name="connsiteY34" fmla="*/ 3600491 h 3869324"/>
                <a:gd name="connsiteX35" fmla="*/ 3798425 w 3945361"/>
                <a:gd name="connsiteY35" fmla="*/ 3604458 h 3869324"/>
                <a:gd name="connsiteX36" fmla="*/ 3348264 w 3945361"/>
                <a:gd name="connsiteY36" fmla="*/ 3869324 h 3869324"/>
                <a:gd name="connsiteX37" fmla="*/ 3282814 w 3945361"/>
                <a:gd name="connsiteY37" fmla="*/ 3427379 h 3869324"/>
                <a:gd name="connsiteX38" fmla="*/ 1168598 w 3945361"/>
                <a:gd name="connsiteY38" fmla="*/ 1918601 h 3869324"/>
                <a:gd name="connsiteX39" fmla="*/ 559886 w 3945361"/>
                <a:gd name="connsiteY39" fmla="*/ 995075 h 3869324"/>
                <a:gd name="connsiteX40" fmla="*/ 552753 w 3945361"/>
                <a:gd name="connsiteY40" fmla="*/ 909487 h 3869324"/>
                <a:gd name="connsiteX41" fmla="*/ 497341 w 3945361"/>
                <a:gd name="connsiteY41" fmla="*/ 926665 h 3869324"/>
                <a:gd name="connsiteX42" fmla="*/ 286061 w 3945361"/>
                <a:gd name="connsiteY42" fmla="*/ 991901 h 3869324"/>
                <a:gd name="connsiteX43" fmla="*/ 0 w 3945361"/>
                <a:gd name="connsiteY43" fmla="*/ 860448 h 3869324"/>
                <a:gd name="connsiteX44" fmla="*/ 736704 w 3945361"/>
                <a:gd name="connsiteY44" fmla="*/ 436658 h 3869324"/>
                <a:gd name="connsiteX45" fmla="*/ 736699 w 3945361"/>
                <a:gd name="connsiteY45" fmla="*/ 436733 h 3869324"/>
                <a:gd name="connsiteX46" fmla="*/ 756547 w 3945361"/>
                <a:gd name="connsiteY46" fmla="*/ 424954 h 3869324"/>
                <a:gd name="connsiteX47" fmla="*/ 614553 w 3945361"/>
                <a:gd name="connsiteY47" fmla="*/ 312555 h 3869324"/>
                <a:gd name="connsiteX48" fmla="*/ 615315 w 3945361"/>
                <a:gd name="connsiteY48" fmla="*/ 312106 h 3869324"/>
                <a:gd name="connsiteX49" fmla="*/ 613106 w 3945361"/>
                <a:gd name="connsiteY49" fmla="*/ 310358 h 3869324"/>
                <a:gd name="connsiteX50" fmla="*/ 1047113 w 3945361"/>
                <a:gd name="connsiteY50" fmla="*/ 54718 h 3869324"/>
                <a:gd name="connsiteX51" fmla="*/ 1057555 w 3945361"/>
                <a:gd name="connsiteY51" fmla="*/ 48848 h 3869324"/>
                <a:gd name="connsiteX52" fmla="*/ 1064735 w 3945361"/>
                <a:gd name="connsiteY52" fmla="*/ 44283 h 3869324"/>
                <a:gd name="connsiteX53" fmla="*/ 1064735 w 3945361"/>
                <a:gd name="connsiteY53" fmla="*/ 44935 h 3869324"/>
                <a:gd name="connsiteX54" fmla="*/ 1228925 w 3945361"/>
                <a:gd name="connsiteY54" fmla="*/ 698 h 3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945361" h="3869324">
                  <a:moveTo>
                    <a:pt x="1228925" y="698"/>
                  </a:moveTo>
                  <a:cubicBezTo>
                    <a:pt x="1308996" y="-3709"/>
                    <a:pt x="1397715" y="12691"/>
                    <a:pt x="1491817" y="51774"/>
                  </a:cubicBezTo>
                  <a:lnTo>
                    <a:pt x="1504408" y="57687"/>
                  </a:lnTo>
                  <a:lnTo>
                    <a:pt x="1507544" y="58822"/>
                  </a:lnTo>
                  <a:lnTo>
                    <a:pt x="1516877" y="63542"/>
                  </a:lnTo>
                  <a:lnTo>
                    <a:pt x="1563353" y="85368"/>
                  </a:lnTo>
                  <a:lnTo>
                    <a:pt x="1561810" y="86269"/>
                  </a:lnTo>
                  <a:lnTo>
                    <a:pt x="1603733" y="107472"/>
                  </a:lnTo>
                  <a:cubicBezTo>
                    <a:pt x="2003587" y="338027"/>
                    <a:pt x="2332225" y="875553"/>
                    <a:pt x="2376653" y="1348418"/>
                  </a:cubicBezTo>
                  <a:cubicBezTo>
                    <a:pt x="2418468" y="1351684"/>
                    <a:pt x="2462569" y="1360665"/>
                    <a:pt x="2508386" y="1375932"/>
                  </a:cubicBezTo>
                  <a:lnTo>
                    <a:pt x="2574281" y="1402017"/>
                  </a:lnTo>
                  <a:lnTo>
                    <a:pt x="2575067" y="1401558"/>
                  </a:lnTo>
                  <a:cubicBezTo>
                    <a:pt x="2599228" y="1412657"/>
                    <a:pt x="2624042" y="1425714"/>
                    <a:pt x="2649509" y="1440077"/>
                  </a:cubicBezTo>
                  <a:lnTo>
                    <a:pt x="2677427" y="1459440"/>
                  </a:lnTo>
                  <a:lnTo>
                    <a:pt x="2768983" y="1521376"/>
                  </a:lnTo>
                  <a:lnTo>
                    <a:pt x="2777370" y="1528756"/>
                  </a:lnTo>
                  <a:lnTo>
                    <a:pt x="2788150" y="1536233"/>
                  </a:lnTo>
                  <a:lnTo>
                    <a:pt x="2824413" y="1570156"/>
                  </a:lnTo>
                  <a:lnTo>
                    <a:pt x="2881003" y="1619957"/>
                  </a:lnTo>
                  <a:lnTo>
                    <a:pt x="2900198" y="1641050"/>
                  </a:lnTo>
                  <a:lnTo>
                    <a:pt x="2917241" y="1656993"/>
                  </a:lnTo>
                  <a:lnTo>
                    <a:pt x="2943943" y="1689122"/>
                  </a:lnTo>
                  <a:lnTo>
                    <a:pt x="2984754" y="1733969"/>
                  </a:lnTo>
                  <a:lnTo>
                    <a:pt x="3013929" y="1773329"/>
                  </a:lnTo>
                  <a:lnTo>
                    <a:pt x="3034087" y="1797584"/>
                  </a:lnTo>
                  <a:lnTo>
                    <a:pt x="3050595" y="1822796"/>
                  </a:lnTo>
                  <a:lnTo>
                    <a:pt x="3078521" y="1860472"/>
                  </a:lnTo>
                  <a:lnTo>
                    <a:pt x="3116645" y="1923676"/>
                  </a:lnTo>
                  <a:lnTo>
                    <a:pt x="3135997" y="1953232"/>
                  </a:lnTo>
                  <a:lnTo>
                    <a:pt x="3134872" y="1953893"/>
                  </a:lnTo>
                  <a:lnTo>
                    <a:pt x="3160589" y="1996527"/>
                  </a:lnTo>
                  <a:cubicBezTo>
                    <a:pt x="3236235" y="2136379"/>
                    <a:pt x="3291760" y="2286150"/>
                    <a:pt x="3319446" y="2432614"/>
                  </a:cubicBezTo>
                  <a:cubicBezTo>
                    <a:pt x="3369101" y="2439798"/>
                    <a:pt x="3423329" y="2458739"/>
                    <a:pt x="3479518" y="2491396"/>
                  </a:cubicBezTo>
                  <a:cubicBezTo>
                    <a:pt x="3736941" y="2639656"/>
                    <a:pt x="3945361" y="3001490"/>
                    <a:pt x="3945361" y="3298664"/>
                  </a:cubicBezTo>
                  <a:cubicBezTo>
                    <a:pt x="3945361" y="3447251"/>
                    <a:pt x="3893257" y="3551752"/>
                    <a:pt x="3808973" y="3600491"/>
                  </a:cubicBezTo>
                  <a:lnTo>
                    <a:pt x="3798425" y="3604458"/>
                  </a:lnTo>
                  <a:lnTo>
                    <a:pt x="3348264" y="3869324"/>
                  </a:lnTo>
                  <a:lnTo>
                    <a:pt x="3282814" y="3427379"/>
                  </a:lnTo>
                  <a:lnTo>
                    <a:pt x="1168598" y="1918601"/>
                  </a:lnTo>
                  <a:cubicBezTo>
                    <a:pt x="868463" y="1745439"/>
                    <a:pt x="617850" y="1354756"/>
                    <a:pt x="559886" y="995075"/>
                  </a:cubicBezTo>
                  <a:lnTo>
                    <a:pt x="552753" y="909487"/>
                  </a:lnTo>
                  <a:lnTo>
                    <a:pt x="497341" y="926665"/>
                  </a:lnTo>
                  <a:cubicBezTo>
                    <a:pt x="391701" y="959365"/>
                    <a:pt x="286061" y="991901"/>
                    <a:pt x="286061" y="991901"/>
                  </a:cubicBezTo>
                  <a:lnTo>
                    <a:pt x="0" y="860448"/>
                  </a:lnTo>
                  <a:lnTo>
                    <a:pt x="736704" y="436658"/>
                  </a:lnTo>
                  <a:lnTo>
                    <a:pt x="736699" y="436733"/>
                  </a:lnTo>
                  <a:lnTo>
                    <a:pt x="756547" y="424954"/>
                  </a:lnTo>
                  <a:lnTo>
                    <a:pt x="614553" y="312555"/>
                  </a:lnTo>
                  <a:lnTo>
                    <a:pt x="615315" y="312106"/>
                  </a:lnTo>
                  <a:lnTo>
                    <a:pt x="613106" y="310358"/>
                  </a:lnTo>
                  <a:lnTo>
                    <a:pt x="1047113" y="54718"/>
                  </a:lnTo>
                  <a:cubicBezTo>
                    <a:pt x="1050376" y="52761"/>
                    <a:pt x="1054292" y="50805"/>
                    <a:pt x="1057555" y="48848"/>
                  </a:cubicBezTo>
                  <a:lnTo>
                    <a:pt x="1064735" y="44283"/>
                  </a:lnTo>
                  <a:lnTo>
                    <a:pt x="1064735" y="44935"/>
                  </a:lnTo>
                  <a:cubicBezTo>
                    <a:pt x="1113683" y="19013"/>
                    <a:pt x="1168872" y="4003"/>
                    <a:pt x="1228925" y="69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7" name="Freeform 436">
              <a:extLst>
                <a:ext uri="{FF2B5EF4-FFF2-40B4-BE49-F238E27FC236}">
                  <a16:creationId xmlns:a16="http://schemas.microsoft.com/office/drawing/2014/main" id="{6917CE32-B593-9247-9410-355074A450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4228" y="345638"/>
              <a:ext cx="2384237" cy="2375596"/>
            </a:xfrm>
            <a:custGeom>
              <a:avLst/>
              <a:gdLst>
                <a:gd name="connsiteX0" fmla="*/ 2236666 w 2384237"/>
                <a:gd name="connsiteY0" fmla="*/ 1808829 h 2375596"/>
                <a:gd name="connsiteX1" fmla="*/ 2384237 w 2384237"/>
                <a:gd name="connsiteY1" fmla="*/ 2064788 h 2375596"/>
                <a:gd name="connsiteX2" fmla="*/ 1857942 w 2384237"/>
                <a:gd name="connsiteY2" fmla="*/ 2375596 h 2375596"/>
                <a:gd name="connsiteX3" fmla="*/ 1656174 w 2384237"/>
                <a:gd name="connsiteY3" fmla="*/ 2150979 h 2375596"/>
                <a:gd name="connsiteX4" fmla="*/ 577449 w 2384237"/>
                <a:gd name="connsiteY4" fmla="*/ 0 h 2375596"/>
                <a:gd name="connsiteX5" fmla="*/ 784755 w 2384237"/>
                <a:gd name="connsiteY5" fmla="*/ 86762 h 2375596"/>
                <a:gd name="connsiteX6" fmla="*/ 918163 w 2384237"/>
                <a:gd name="connsiteY6" fmla="*/ 177438 h 2375596"/>
                <a:gd name="connsiteX7" fmla="*/ 324365 w 2384237"/>
                <a:gd name="connsiteY7" fmla="*/ 526444 h 2375596"/>
                <a:gd name="connsiteX8" fmla="*/ 0 w 2384237"/>
                <a:gd name="connsiteY8" fmla="*/ 339220 h 237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4237" h="2375596">
                  <a:moveTo>
                    <a:pt x="2236666" y="1808829"/>
                  </a:moveTo>
                  <a:cubicBezTo>
                    <a:pt x="2292821" y="1889796"/>
                    <a:pt x="2343100" y="1975986"/>
                    <a:pt x="2384237" y="2064788"/>
                  </a:cubicBezTo>
                  <a:lnTo>
                    <a:pt x="1857942" y="2375596"/>
                  </a:lnTo>
                  <a:lnTo>
                    <a:pt x="1656174" y="2150979"/>
                  </a:lnTo>
                  <a:close/>
                  <a:moveTo>
                    <a:pt x="577449" y="0"/>
                  </a:moveTo>
                  <a:cubicBezTo>
                    <a:pt x="643499" y="17613"/>
                    <a:pt x="712819" y="45664"/>
                    <a:pt x="784755" y="86762"/>
                  </a:cubicBezTo>
                  <a:cubicBezTo>
                    <a:pt x="830532" y="113508"/>
                    <a:pt x="875002" y="143516"/>
                    <a:pt x="918163" y="177438"/>
                  </a:cubicBezTo>
                  <a:lnTo>
                    <a:pt x="324365" y="526444"/>
                  </a:lnTo>
                  <a:lnTo>
                    <a:pt x="0" y="33922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8" name="Freeform 64">
              <a:extLst>
                <a:ext uri="{FF2B5EF4-FFF2-40B4-BE49-F238E27FC236}">
                  <a16:creationId xmlns:a16="http://schemas.microsoft.com/office/drawing/2014/main" id="{3C0E3F56-32AB-9049-B33E-52AB4D5A6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9002" y="455089"/>
              <a:ext cx="3675266" cy="3856726"/>
            </a:xfrm>
            <a:custGeom>
              <a:avLst/>
              <a:gdLst>
                <a:gd name="T0" fmla="*/ 4915 w 5629"/>
                <a:gd name="T1" fmla="*/ 4029 h 5905"/>
                <a:gd name="T2" fmla="*/ 4915 w 5629"/>
                <a:gd name="T3" fmla="*/ 4029 h 5905"/>
                <a:gd name="T4" fmla="*/ 4671 w 5629"/>
                <a:gd name="T5" fmla="*/ 3939 h 5905"/>
                <a:gd name="T6" fmla="*/ 4671 w 5629"/>
                <a:gd name="T7" fmla="*/ 3939 h 5905"/>
                <a:gd name="T8" fmla="*/ 3646 w 5629"/>
                <a:gd name="T9" fmla="*/ 2421 h 5905"/>
                <a:gd name="T10" fmla="*/ 3646 w 5629"/>
                <a:gd name="T11" fmla="*/ 2421 h 5905"/>
                <a:gd name="T12" fmla="*/ 3227 w 5629"/>
                <a:gd name="T13" fmla="*/ 2279 h 5905"/>
                <a:gd name="T14" fmla="*/ 3227 w 5629"/>
                <a:gd name="T15" fmla="*/ 2279 h 5905"/>
                <a:gd name="T16" fmla="*/ 2044 w 5629"/>
                <a:gd name="T17" fmla="*/ 380 h 5905"/>
                <a:gd name="T18" fmla="*/ 2044 w 5629"/>
                <a:gd name="T19" fmla="*/ 380 h 5905"/>
                <a:gd name="T20" fmla="*/ 854 w 5629"/>
                <a:gd name="T21" fmla="*/ 1067 h 5905"/>
                <a:gd name="T22" fmla="*/ 854 w 5629"/>
                <a:gd name="T23" fmla="*/ 1067 h 5905"/>
                <a:gd name="T24" fmla="*/ 857 w 5629"/>
                <a:gd name="T25" fmla="*/ 1144 h 5905"/>
                <a:gd name="T26" fmla="*/ 857 w 5629"/>
                <a:gd name="T27" fmla="*/ 1144 h 5905"/>
                <a:gd name="T28" fmla="*/ 0 w 5629"/>
                <a:gd name="T29" fmla="*/ 1742 h 5905"/>
                <a:gd name="T30" fmla="*/ 0 w 5629"/>
                <a:gd name="T31" fmla="*/ 1742 h 5905"/>
                <a:gd name="T32" fmla="*/ 950 w 5629"/>
                <a:gd name="T33" fmla="*/ 3388 h 5905"/>
                <a:gd name="T34" fmla="*/ 4915 w 5629"/>
                <a:gd name="T35" fmla="*/ 5677 h 5905"/>
                <a:gd name="T36" fmla="*/ 4915 w 5629"/>
                <a:gd name="T37" fmla="*/ 5677 h 5905"/>
                <a:gd name="T38" fmla="*/ 5628 w 5629"/>
                <a:gd name="T39" fmla="*/ 5265 h 5905"/>
                <a:gd name="T40" fmla="*/ 5628 w 5629"/>
                <a:gd name="T41" fmla="*/ 5265 h 5905"/>
                <a:gd name="T42" fmla="*/ 4915 w 5629"/>
                <a:gd name="T43" fmla="*/ 4029 h 5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29" h="5905">
                  <a:moveTo>
                    <a:pt x="4915" y="4029"/>
                  </a:moveTo>
                  <a:lnTo>
                    <a:pt x="4915" y="4029"/>
                  </a:lnTo>
                  <a:cubicBezTo>
                    <a:pt x="4829" y="3979"/>
                    <a:pt x="4747" y="3950"/>
                    <a:pt x="4671" y="3939"/>
                  </a:cubicBezTo>
                  <a:lnTo>
                    <a:pt x="4671" y="3939"/>
                  </a:lnTo>
                  <a:cubicBezTo>
                    <a:pt x="4557" y="3341"/>
                    <a:pt x="4141" y="2707"/>
                    <a:pt x="3646" y="2421"/>
                  </a:cubicBezTo>
                  <a:lnTo>
                    <a:pt x="3646" y="2421"/>
                  </a:lnTo>
                  <a:cubicBezTo>
                    <a:pt x="3497" y="2335"/>
                    <a:pt x="3356" y="2289"/>
                    <a:pt x="3227" y="2279"/>
                  </a:cubicBezTo>
                  <a:lnTo>
                    <a:pt x="3227" y="2279"/>
                  </a:lnTo>
                  <a:cubicBezTo>
                    <a:pt x="3159" y="1555"/>
                    <a:pt x="2656" y="733"/>
                    <a:pt x="2044" y="380"/>
                  </a:cubicBezTo>
                  <a:lnTo>
                    <a:pt x="2044" y="380"/>
                  </a:lnTo>
                  <a:cubicBezTo>
                    <a:pt x="1387" y="0"/>
                    <a:pt x="854" y="308"/>
                    <a:pt x="854" y="1067"/>
                  </a:cubicBezTo>
                  <a:lnTo>
                    <a:pt x="854" y="1067"/>
                  </a:lnTo>
                  <a:cubicBezTo>
                    <a:pt x="854" y="1092"/>
                    <a:pt x="855" y="1118"/>
                    <a:pt x="857" y="1144"/>
                  </a:cubicBezTo>
                  <a:lnTo>
                    <a:pt x="857" y="1144"/>
                  </a:lnTo>
                  <a:cubicBezTo>
                    <a:pt x="375" y="921"/>
                    <a:pt x="0" y="1173"/>
                    <a:pt x="0" y="1742"/>
                  </a:cubicBezTo>
                  <a:lnTo>
                    <a:pt x="0" y="1742"/>
                  </a:lnTo>
                  <a:cubicBezTo>
                    <a:pt x="0" y="2348"/>
                    <a:pt x="425" y="3085"/>
                    <a:pt x="950" y="3388"/>
                  </a:cubicBezTo>
                  <a:lnTo>
                    <a:pt x="4915" y="5677"/>
                  </a:lnTo>
                  <a:lnTo>
                    <a:pt x="4915" y="5677"/>
                  </a:lnTo>
                  <a:cubicBezTo>
                    <a:pt x="5309" y="5904"/>
                    <a:pt x="5628" y="5720"/>
                    <a:pt x="5628" y="5265"/>
                  </a:cubicBezTo>
                  <a:lnTo>
                    <a:pt x="5628" y="5265"/>
                  </a:lnTo>
                  <a:cubicBezTo>
                    <a:pt x="5628" y="4810"/>
                    <a:pt x="5309" y="4257"/>
                    <a:pt x="4915" y="4029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9" name="Freeform 438">
              <a:extLst>
                <a:ext uri="{FF2B5EF4-FFF2-40B4-BE49-F238E27FC236}">
                  <a16:creationId xmlns:a16="http://schemas.microsoft.com/office/drawing/2014/main" id="{8CD77CCA-FA5A-DE43-99C0-C9682432F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40135" y="558351"/>
              <a:ext cx="3570922" cy="3582873"/>
            </a:xfrm>
            <a:custGeom>
              <a:avLst/>
              <a:gdLst>
                <a:gd name="connsiteX0" fmla="*/ 232326 w 3570922"/>
                <a:gd name="connsiteY0" fmla="*/ 556197 h 3582873"/>
                <a:gd name="connsiteX1" fmla="*/ 415035 w 3570922"/>
                <a:gd name="connsiteY1" fmla="*/ 592467 h 3582873"/>
                <a:gd name="connsiteX2" fmla="*/ 415035 w 3570922"/>
                <a:gd name="connsiteY2" fmla="*/ 594424 h 3582873"/>
                <a:gd name="connsiteX3" fmla="*/ 416992 w 3570922"/>
                <a:gd name="connsiteY3" fmla="*/ 644639 h 3582873"/>
                <a:gd name="connsiteX4" fmla="*/ 0 w 3570922"/>
                <a:gd name="connsiteY4" fmla="*/ 662247 h 3582873"/>
                <a:gd name="connsiteX5" fmla="*/ 232326 w 3570922"/>
                <a:gd name="connsiteY5" fmla="*/ 556197 h 3582873"/>
                <a:gd name="connsiteX6" fmla="*/ 861169 w 3570922"/>
                <a:gd name="connsiteY6" fmla="*/ 541 h 3582873"/>
                <a:gd name="connsiteX7" fmla="*/ 1230740 w 3570922"/>
                <a:gd name="connsiteY7" fmla="*/ 106286 h 3582873"/>
                <a:gd name="connsiteX8" fmla="*/ 2002530 w 3570922"/>
                <a:gd name="connsiteY8" fmla="*/ 1347457 h 3582873"/>
                <a:gd name="connsiteX9" fmla="*/ 2276117 w 3570922"/>
                <a:gd name="connsiteY9" fmla="*/ 1439566 h 3582873"/>
                <a:gd name="connsiteX10" fmla="*/ 2945394 w 3570922"/>
                <a:gd name="connsiteY10" fmla="*/ 2431196 h 3582873"/>
                <a:gd name="connsiteX11" fmla="*/ 3104061 w 3570922"/>
                <a:gd name="connsiteY11" fmla="*/ 2489989 h 3582873"/>
                <a:gd name="connsiteX12" fmla="*/ 3570922 w 3570922"/>
                <a:gd name="connsiteY12" fmla="*/ 3298057 h 3582873"/>
                <a:gd name="connsiteX13" fmla="*/ 3457961 w 3570922"/>
                <a:gd name="connsiteY13" fmla="*/ 3582873 h 3582873"/>
                <a:gd name="connsiteX14" fmla="*/ 3532398 w 3570922"/>
                <a:gd name="connsiteY14" fmla="*/ 3334639 h 3582873"/>
                <a:gd name="connsiteX15" fmla="*/ 3066843 w 3570922"/>
                <a:gd name="connsiteY15" fmla="*/ 2527224 h 3582873"/>
                <a:gd name="connsiteX16" fmla="*/ 2907522 w 3570922"/>
                <a:gd name="connsiteY16" fmla="*/ 2468431 h 3582873"/>
                <a:gd name="connsiteX17" fmla="*/ 2238246 w 3570922"/>
                <a:gd name="connsiteY17" fmla="*/ 1476801 h 3582873"/>
                <a:gd name="connsiteX18" fmla="*/ 1964659 w 3570922"/>
                <a:gd name="connsiteY18" fmla="*/ 1384039 h 3582873"/>
                <a:gd name="connsiteX19" fmla="*/ 1192216 w 3570922"/>
                <a:gd name="connsiteY19" fmla="*/ 143521 h 3582873"/>
                <a:gd name="connsiteX20" fmla="*/ 587582 w 3570922"/>
                <a:gd name="connsiteY20" fmla="*/ 128496 h 3582873"/>
                <a:gd name="connsiteX21" fmla="*/ 861169 w 3570922"/>
                <a:gd name="connsiteY21" fmla="*/ 541 h 358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70922" h="3582873">
                  <a:moveTo>
                    <a:pt x="232326" y="556197"/>
                  </a:moveTo>
                  <a:cubicBezTo>
                    <a:pt x="288732" y="555264"/>
                    <a:pt x="350186" y="567034"/>
                    <a:pt x="415035" y="592467"/>
                  </a:cubicBezTo>
                  <a:cubicBezTo>
                    <a:pt x="415035" y="592467"/>
                    <a:pt x="415035" y="593119"/>
                    <a:pt x="415035" y="594424"/>
                  </a:cubicBezTo>
                  <a:cubicBezTo>
                    <a:pt x="415035" y="610727"/>
                    <a:pt x="415687" y="627683"/>
                    <a:pt x="416992" y="644639"/>
                  </a:cubicBezTo>
                  <a:cubicBezTo>
                    <a:pt x="248629" y="567686"/>
                    <a:pt x="101148" y="578120"/>
                    <a:pt x="0" y="662247"/>
                  </a:cubicBezTo>
                  <a:cubicBezTo>
                    <a:pt x="58324" y="594587"/>
                    <a:pt x="138315" y="557751"/>
                    <a:pt x="232326" y="556197"/>
                  </a:cubicBezTo>
                  <a:close/>
                  <a:moveTo>
                    <a:pt x="861169" y="541"/>
                  </a:moveTo>
                  <a:cubicBezTo>
                    <a:pt x="971029" y="-4766"/>
                    <a:pt x="1096885" y="28876"/>
                    <a:pt x="1230740" y="106286"/>
                  </a:cubicBezTo>
                  <a:cubicBezTo>
                    <a:pt x="1629041" y="336883"/>
                    <a:pt x="1958129" y="873853"/>
                    <a:pt x="2002530" y="1347457"/>
                  </a:cubicBezTo>
                  <a:cubicBezTo>
                    <a:pt x="2086108" y="1353990"/>
                    <a:pt x="2178827" y="1383386"/>
                    <a:pt x="2276117" y="1439566"/>
                  </a:cubicBezTo>
                  <a:cubicBezTo>
                    <a:pt x="2599329" y="1627048"/>
                    <a:pt x="2870957" y="2040554"/>
                    <a:pt x="2945394" y="2431196"/>
                  </a:cubicBezTo>
                  <a:cubicBezTo>
                    <a:pt x="2995018" y="2439035"/>
                    <a:pt x="3048560" y="2457979"/>
                    <a:pt x="3104061" y="2489989"/>
                  </a:cubicBezTo>
                  <a:cubicBezTo>
                    <a:pt x="3361977" y="2638929"/>
                    <a:pt x="3570922" y="3000175"/>
                    <a:pt x="3570922" y="3298057"/>
                  </a:cubicBezTo>
                  <a:cubicBezTo>
                    <a:pt x="3570922" y="3431319"/>
                    <a:pt x="3527827" y="3528653"/>
                    <a:pt x="3457961" y="3582873"/>
                  </a:cubicBezTo>
                  <a:cubicBezTo>
                    <a:pt x="3504974" y="3525387"/>
                    <a:pt x="3532398" y="3441771"/>
                    <a:pt x="3532398" y="3334639"/>
                  </a:cubicBezTo>
                  <a:cubicBezTo>
                    <a:pt x="3532398" y="3037411"/>
                    <a:pt x="3324106" y="2676164"/>
                    <a:pt x="3066843" y="2527224"/>
                  </a:cubicBezTo>
                  <a:cubicBezTo>
                    <a:pt x="3010689" y="2494561"/>
                    <a:pt x="2957147" y="2475617"/>
                    <a:pt x="2907522" y="2468431"/>
                  </a:cubicBezTo>
                  <a:cubicBezTo>
                    <a:pt x="2833086" y="2077789"/>
                    <a:pt x="2561458" y="1663630"/>
                    <a:pt x="2238246" y="1476801"/>
                  </a:cubicBezTo>
                  <a:cubicBezTo>
                    <a:pt x="2140956" y="1420621"/>
                    <a:pt x="2048890" y="1390572"/>
                    <a:pt x="1964659" y="1384039"/>
                  </a:cubicBezTo>
                  <a:cubicBezTo>
                    <a:pt x="1920258" y="911088"/>
                    <a:pt x="1591823" y="374118"/>
                    <a:pt x="1192216" y="143521"/>
                  </a:cubicBezTo>
                  <a:cubicBezTo>
                    <a:pt x="948012" y="1766"/>
                    <a:pt x="729926" y="6339"/>
                    <a:pt x="587582" y="128496"/>
                  </a:cubicBezTo>
                  <a:cubicBezTo>
                    <a:pt x="657448" y="50107"/>
                    <a:pt x="751310" y="5849"/>
                    <a:pt x="861169" y="5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0" name="Freeform 67">
              <a:extLst>
                <a:ext uri="{FF2B5EF4-FFF2-40B4-BE49-F238E27FC236}">
                  <a16:creationId xmlns:a16="http://schemas.microsoft.com/office/drawing/2014/main" id="{240C2C15-C707-B144-80C3-86BF860DB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8616" y="699915"/>
              <a:ext cx="3416039" cy="3410278"/>
            </a:xfrm>
            <a:custGeom>
              <a:avLst/>
              <a:gdLst>
                <a:gd name="T0" fmla="*/ 574 w 5231"/>
                <a:gd name="T1" fmla="*/ 949 h 5220"/>
                <a:gd name="T2" fmla="*/ 871 w 5231"/>
                <a:gd name="T3" fmla="*/ 1087 h 5220"/>
                <a:gd name="T4" fmla="*/ 856 w 5231"/>
                <a:gd name="T5" fmla="*/ 759 h 5220"/>
                <a:gd name="T6" fmla="*/ 856 w 5231"/>
                <a:gd name="T7" fmla="*/ 759 h 5220"/>
                <a:gd name="T8" fmla="*/ 854 w 5231"/>
                <a:gd name="T9" fmla="*/ 691 h 5220"/>
                <a:gd name="T10" fmla="*/ 854 w 5231"/>
                <a:gd name="T11" fmla="*/ 691 h 5220"/>
                <a:gd name="T12" fmla="*/ 1103 w 5231"/>
                <a:gd name="T13" fmla="*/ 93 h 5220"/>
                <a:gd name="T14" fmla="*/ 1103 w 5231"/>
                <a:gd name="T15" fmla="*/ 93 h 5220"/>
                <a:gd name="T16" fmla="*/ 1746 w 5231"/>
                <a:gd name="T17" fmla="*/ 176 h 5220"/>
                <a:gd name="T18" fmla="*/ 1746 w 5231"/>
                <a:gd name="T19" fmla="*/ 176 h 5220"/>
                <a:gd name="T20" fmla="*/ 2829 w 5231"/>
                <a:gd name="T21" fmla="*/ 1922 h 5220"/>
                <a:gd name="T22" fmla="*/ 2845 w 5231"/>
                <a:gd name="T23" fmla="*/ 2089 h 5220"/>
                <a:gd name="T24" fmla="*/ 3013 w 5231"/>
                <a:gd name="T25" fmla="*/ 2101 h 5220"/>
                <a:gd name="T26" fmla="*/ 3013 w 5231"/>
                <a:gd name="T27" fmla="*/ 2101 h 5220"/>
                <a:gd name="T28" fmla="*/ 3347 w 5231"/>
                <a:gd name="T29" fmla="*/ 2218 h 5220"/>
                <a:gd name="T30" fmla="*/ 3347 w 5231"/>
                <a:gd name="T31" fmla="*/ 2218 h 5220"/>
                <a:gd name="T32" fmla="*/ 4276 w 5231"/>
                <a:gd name="T33" fmla="*/ 3600 h 5220"/>
                <a:gd name="T34" fmla="*/ 4302 w 5231"/>
                <a:gd name="T35" fmla="*/ 3738 h 5220"/>
                <a:gd name="T36" fmla="*/ 4441 w 5231"/>
                <a:gd name="T37" fmla="*/ 3760 h 5220"/>
                <a:gd name="T38" fmla="*/ 4441 w 5231"/>
                <a:gd name="T39" fmla="*/ 3760 h 5220"/>
                <a:gd name="T40" fmla="*/ 4616 w 5231"/>
                <a:gd name="T41" fmla="*/ 3825 h 5220"/>
                <a:gd name="T42" fmla="*/ 4616 w 5231"/>
                <a:gd name="T43" fmla="*/ 3825 h 5220"/>
                <a:gd name="T44" fmla="*/ 5230 w 5231"/>
                <a:gd name="T45" fmla="*/ 4889 h 5220"/>
                <a:gd name="T46" fmla="*/ 5230 w 5231"/>
                <a:gd name="T47" fmla="*/ 4889 h 5220"/>
                <a:gd name="T48" fmla="*/ 5121 w 5231"/>
                <a:gd name="T49" fmla="*/ 5179 h 5220"/>
                <a:gd name="T50" fmla="*/ 5121 w 5231"/>
                <a:gd name="T51" fmla="*/ 5179 h 5220"/>
                <a:gd name="T52" fmla="*/ 4815 w 5231"/>
                <a:gd name="T53" fmla="*/ 5129 h 5220"/>
                <a:gd name="T54" fmla="*/ 851 w 5231"/>
                <a:gd name="T55" fmla="*/ 2840 h 5220"/>
                <a:gd name="T56" fmla="*/ 851 w 5231"/>
                <a:gd name="T57" fmla="*/ 2840 h 5220"/>
                <a:gd name="T58" fmla="*/ 0 w 5231"/>
                <a:gd name="T59" fmla="*/ 1366 h 5220"/>
                <a:gd name="T60" fmla="*/ 0 w 5231"/>
                <a:gd name="T61" fmla="*/ 1366 h 5220"/>
                <a:gd name="T62" fmla="*/ 170 w 5231"/>
                <a:gd name="T63" fmla="*/ 929 h 5220"/>
                <a:gd name="T64" fmla="*/ 170 w 5231"/>
                <a:gd name="T65" fmla="*/ 929 h 5220"/>
                <a:gd name="T66" fmla="*/ 327 w 5231"/>
                <a:gd name="T67" fmla="*/ 887 h 5220"/>
                <a:gd name="T68" fmla="*/ 327 w 5231"/>
                <a:gd name="T69" fmla="*/ 887 h 5220"/>
                <a:gd name="T70" fmla="*/ 574 w 5231"/>
                <a:gd name="T71" fmla="*/ 949 h 5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31" h="5220">
                  <a:moveTo>
                    <a:pt x="574" y="949"/>
                  </a:moveTo>
                  <a:lnTo>
                    <a:pt x="871" y="1087"/>
                  </a:lnTo>
                  <a:lnTo>
                    <a:pt x="856" y="759"/>
                  </a:lnTo>
                  <a:lnTo>
                    <a:pt x="856" y="759"/>
                  </a:lnTo>
                  <a:cubicBezTo>
                    <a:pt x="855" y="736"/>
                    <a:pt x="854" y="714"/>
                    <a:pt x="854" y="691"/>
                  </a:cubicBezTo>
                  <a:lnTo>
                    <a:pt x="854" y="691"/>
                  </a:lnTo>
                  <a:cubicBezTo>
                    <a:pt x="854" y="398"/>
                    <a:pt x="943" y="186"/>
                    <a:pt x="1103" y="93"/>
                  </a:cubicBezTo>
                  <a:lnTo>
                    <a:pt x="1103" y="93"/>
                  </a:lnTo>
                  <a:cubicBezTo>
                    <a:pt x="1264" y="0"/>
                    <a:pt x="1492" y="29"/>
                    <a:pt x="1746" y="176"/>
                  </a:cubicBezTo>
                  <a:lnTo>
                    <a:pt x="1746" y="176"/>
                  </a:lnTo>
                  <a:cubicBezTo>
                    <a:pt x="2291" y="491"/>
                    <a:pt x="2767" y="1257"/>
                    <a:pt x="2829" y="1922"/>
                  </a:cubicBezTo>
                  <a:lnTo>
                    <a:pt x="2845" y="2089"/>
                  </a:lnTo>
                  <a:lnTo>
                    <a:pt x="3013" y="2101"/>
                  </a:lnTo>
                  <a:lnTo>
                    <a:pt x="3013" y="2101"/>
                  </a:lnTo>
                  <a:cubicBezTo>
                    <a:pt x="3116" y="2110"/>
                    <a:pt x="3228" y="2148"/>
                    <a:pt x="3347" y="2218"/>
                  </a:cubicBezTo>
                  <a:lnTo>
                    <a:pt x="3347" y="2218"/>
                  </a:lnTo>
                  <a:cubicBezTo>
                    <a:pt x="3781" y="2468"/>
                    <a:pt x="4171" y="3049"/>
                    <a:pt x="4276" y="3600"/>
                  </a:cubicBezTo>
                  <a:lnTo>
                    <a:pt x="4302" y="3738"/>
                  </a:lnTo>
                  <a:lnTo>
                    <a:pt x="4441" y="3760"/>
                  </a:lnTo>
                  <a:lnTo>
                    <a:pt x="4441" y="3760"/>
                  </a:lnTo>
                  <a:cubicBezTo>
                    <a:pt x="4496" y="3768"/>
                    <a:pt x="4555" y="3790"/>
                    <a:pt x="4616" y="3825"/>
                  </a:cubicBezTo>
                  <a:lnTo>
                    <a:pt x="4616" y="3825"/>
                  </a:lnTo>
                  <a:cubicBezTo>
                    <a:pt x="4949" y="4018"/>
                    <a:pt x="5230" y="4505"/>
                    <a:pt x="5230" y="4889"/>
                  </a:cubicBezTo>
                  <a:lnTo>
                    <a:pt x="5230" y="4889"/>
                  </a:lnTo>
                  <a:cubicBezTo>
                    <a:pt x="5230" y="5033"/>
                    <a:pt x="5191" y="5139"/>
                    <a:pt x="5121" y="5179"/>
                  </a:cubicBezTo>
                  <a:lnTo>
                    <a:pt x="5121" y="5179"/>
                  </a:lnTo>
                  <a:cubicBezTo>
                    <a:pt x="5051" y="5219"/>
                    <a:pt x="4940" y="5200"/>
                    <a:pt x="4815" y="5129"/>
                  </a:cubicBezTo>
                  <a:lnTo>
                    <a:pt x="851" y="2840"/>
                  </a:lnTo>
                  <a:lnTo>
                    <a:pt x="851" y="2840"/>
                  </a:lnTo>
                  <a:cubicBezTo>
                    <a:pt x="390" y="2574"/>
                    <a:pt x="0" y="1899"/>
                    <a:pt x="0" y="1366"/>
                  </a:cubicBezTo>
                  <a:lnTo>
                    <a:pt x="0" y="1366"/>
                  </a:lnTo>
                  <a:cubicBezTo>
                    <a:pt x="0" y="1157"/>
                    <a:pt x="62" y="998"/>
                    <a:pt x="170" y="929"/>
                  </a:cubicBezTo>
                  <a:lnTo>
                    <a:pt x="170" y="929"/>
                  </a:lnTo>
                  <a:cubicBezTo>
                    <a:pt x="213" y="901"/>
                    <a:pt x="267" y="887"/>
                    <a:pt x="327" y="887"/>
                  </a:cubicBezTo>
                  <a:lnTo>
                    <a:pt x="327" y="887"/>
                  </a:lnTo>
                  <a:cubicBezTo>
                    <a:pt x="401" y="887"/>
                    <a:pt x="484" y="908"/>
                    <a:pt x="574" y="949"/>
                  </a:cubicBezTo>
                </a:path>
              </a:pathLst>
            </a:custGeom>
            <a:solidFill>
              <a:srgbClr val="943639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1" name="Freeform 440">
              <a:extLst>
                <a:ext uri="{FF2B5EF4-FFF2-40B4-BE49-F238E27FC236}">
                  <a16:creationId xmlns:a16="http://schemas.microsoft.com/office/drawing/2014/main" id="{C10BDACB-0E32-2842-BA0F-901ECB556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0346" y="1985294"/>
              <a:ext cx="766265" cy="957723"/>
            </a:xfrm>
            <a:custGeom>
              <a:avLst/>
              <a:gdLst>
                <a:gd name="connsiteX0" fmla="*/ 368972 w 766265"/>
                <a:gd name="connsiteY0" fmla="*/ 207 h 957723"/>
                <a:gd name="connsiteX1" fmla="*/ 412710 w 766265"/>
                <a:gd name="connsiteY1" fmla="*/ 36556 h 957723"/>
                <a:gd name="connsiteX2" fmla="*/ 759672 w 766265"/>
                <a:gd name="connsiteY2" fmla="*/ 671010 h 957723"/>
                <a:gd name="connsiteX3" fmla="*/ 754619 w 766265"/>
                <a:gd name="connsiteY3" fmla="*/ 709470 h 957723"/>
                <a:gd name="connsiteX4" fmla="*/ 753720 w 766265"/>
                <a:gd name="connsiteY4" fmla="*/ 709232 h 957723"/>
                <a:gd name="connsiteX5" fmla="*/ 688918 w 766265"/>
                <a:gd name="connsiteY5" fmla="*/ 741706 h 957723"/>
                <a:gd name="connsiteX6" fmla="*/ 655029 w 766265"/>
                <a:gd name="connsiteY6" fmla="*/ 655752 h 957723"/>
                <a:gd name="connsiteX7" fmla="*/ 575675 w 766265"/>
                <a:gd name="connsiteY7" fmla="*/ 609233 h 957723"/>
                <a:gd name="connsiteX8" fmla="*/ 574650 w 766265"/>
                <a:gd name="connsiteY8" fmla="*/ 902355 h 957723"/>
                <a:gd name="connsiteX9" fmla="*/ 566050 w 766265"/>
                <a:gd name="connsiteY9" fmla="*/ 923458 h 957723"/>
                <a:gd name="connsiteX10" fmla="*/ 563891 w 766265"/>
                <a:gd name="connsiteY10" fmla="*/ 923306 h 957723"/>
                <a:gd name="connsiteX11" fmla="*/ 495965 w 766265"/>
                <a:gd name="connsiteY11" fmla="*/ 957723 h 957723"/>
                <a:gd name="connsiteX12" fmla="*/ 496455 w 766265"/>
                <a:gd name="connsiteY12" fmla="*/ 893295 h 957723"/>
                <a:gd name="connsiteX13" fmla="*/ 220798 w 766265"/>
                <a:gd name="connsiteY13" fmla="*/ 730917 h 957723"/>
                <a:gd name="connsiteX14" fmla="*/ 190655 w 766265"/>
                <a:gd name="connsiteY14" fmla="*/ 676607 h 957723"/>
                <a:gd name="connsiteX15" fmla="*/ 191680 w 766265"/>
                <a:gd name="connsiteY15" fmla="*/ 383365 h 957723"/>
                <a:gd name="connsiteX16" fmla="*/ 26543 w 766265"/>
                <a:gd name="connsiteY16" fmla="*/ 285899 h 957723"/>
                <a:gd name="connsiteX17" fmla="*/ 6287 w 766265"/>
                <a:gd name="connsiteY17" fmla="*/ 227806 h 957723"/>
                <a:gd name="connsiteX18" fmla="*/ 305473 w 766265"/>
                <a:gd name="connsiteY18" fmla="*/ 35075 h 957723"/>
                <a:gd name="connsiteX19" fmla="*/ 288583 w 766265"/>
                <a:gd name="connsiteY19" fmla="*/ 34759 h 957723"/>
                <a:gd name="connsiteX20" fmla="*/ 355716 w 766265"/>
                <a:gd name="connsiteY20" fmla="*/ 2115 h 957723"/>
                <a:gd name="connsiteX21" fmla="*/ 355739 w 766265"/>
                <a:gd name="connsiteY21" fmla="*/ 2694 h 957723"/>
                <a:gd name="connsiteX22" fmla="*/ 355863 w 766265"/>
                <a:gd name="connsiteY22" fmla="*/ 2614 h 957723"/>
                <a:gd name="connsiteX23" fmla="*/ 368972 w 766265"/>
                <a:gd name="connsiteY23" fmla="*/ 207 h 95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66265" h="957723">
                  <a:moveTo>
                    <a:pt x="368972" y="207"/>
                  </a:moveTo>
                  <a:cubicBezTo>
                    <a:pt x="383551" y="2043"/>
                    <a:pt x="401438" y="15995"/>
                    <a:pt x="412710" y="36556"/>
                  </a:cubicBezTo>
                  <a:lnTo>
                    <a:pt x="759672" y="671010"/>
                  </a:lnTo>
                  <a:cubicBezTo>
                    <a:pt x="770944" y="691082"/>
                    <a:pt x="766778" y="707848"/>
                    <a:pt x="754619" y="709470"/>
                  </a:cubicBezTo>
                  <a:lnTo>
                    <a:pt x="753720" y="709232"/>
                  </a:lnTo>
                  <a:lnTo>
                    <a:pt x="688918" y="741706"/>
                  </a:lnTo>
                  <a:lnTo>
                    <a:pt x="655029" y="655752"/>
                  </a:lnTo>
                  <a:lnTo>
                    <a:pt x="575675" y="609233"/>
                  </a:lnTo>
                  <a:lnTo>
                    <a:pt x="574650" y="902355"/>
                  </a:lnTo>
                  <a:cubicBezTo>
                    <a:pt x="574650" y="912498"/>
                    <a:pt x="571374" y="919859"/>
                    <a:pt x="566050" y="923458"/>
                  </a:cubicBezTo>
                  <a:lnTo>
                    <a:pt x="563891" y="923306"/>
                  </a:lnTo>
                  <a:lnTo>
                    <a:pt x="495965" y="957723"/>
                  </a:lnTo>
                  <a:lnTo>
                    <a:pt x="496455" y="893295"/>
                  </a:lnTo>
                  <a:lnTo>
                    <a:pt x="220798" y="730917"/>
                  </a:lnTo>
                  <a:cubicBezTo>
                    <a:pt x="204416" y="721757"/>
                    <a:pt x="190655" y="696892"/>
                    <a:pt x="190655" y="676607"/>
                  </a:cubicBezTo>
                  <a:lnTo>
                    <a:pt x="191680" y="383365"/>
                  </a:lnTo>
                  <a:lnTo>
                    <a:pt x="26543" y="285899"/>
                  </a:lnTo>
                  <a:cubicBezTo>
                    <a:pt x="3673" y="272192"/>
                    <a:pt x="-8088" y="236945"/>
                    <a:pt x="6287" y="227806"/>
                  </a:cubicBezTo>
                  <a:lnTo>
                    <a:pt x="305473" y="35075"/>
                  </a:lnTo>
                  <a:lnTo>
                    <a:pt x="288583" y="34759"/>
                  </a:lnTo>
                  <a:lnTo>
                    <a:pt x="355716" y="2115"/>
                  </a:lnTo>
                  <a:lnTo>
                    <a:pt x="355739" y="2694"/>
                  </a:lnTo>
                  <a:lnTo>
                    <a:pt x="355863" y="2614"/>
                  </a:lnTo>
                  <a:cubicBezTo>
                    <a:pt x="359620" y="330"/>
                    <a:pt x="364112" y="-405"/>
                    <a:pt x="368972" y="20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2" name="Freeform 441">
              <a:extLst>
                <a:ext uri="{FF2B5EF4-FFF2-40B4-BE49-F238E27FC236}">
                  <a16:creationId xmlns:a16="http://schemas.microsoft.com/office/drawing/2014/main" id="{2DF83EC5-B440-0249-A22D-5B6224588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1437" y="2020187"/>
              <a:ext cx="766046" cy="925374"/>
            </a:xfrm>
            <a:custGeom>
              <a:avLst/>
              <a:gdLst>
                <a:gd name="connsiteX0" fmla="*/ 368753 w 766046"/>
                <a:gd name="connsiteY0" fmla="*/ 146 h 925374"/>
                <a:gd name="connsiteX1" fmla="*/ 412491 w 766046"/>
                <a:gd name="connsiteY1" fmla="*/ 36188 h 925374"/>
                <a:gd name="connsiteX2" fmla="*/ 759453 w 766046"/>
                <a:gd name="connsiteY2" fmla="*/ 670071 h 925374"/>
                <a:gd name="connsiteX3" fmla="*/ 739851 w 766046"/>
                <a:gd name="connsiteY3" fmla="*/ 705287 h 925374"/>
                <a:gd name="connsiteX4" fmla="*/ 575457 w 766046"/>
                <a:gd name="connsiteY4" fmla="*/ 608526 h 925374"/>
                <a:gd name="connsiteX5" fmla="*/ 574430 w 766046"/>
                <a:gd name="connsiteY5" fmla="*/ 902058 h 925374"/>
                <a:gd name="connsiteX6" fmla="*/ 544942 w 766046"/>
                <a:gd name="connsiteY6" fmla="*/ 921014 h 925374"/>
                <a:gd name="connsiteX7" fmla="*/ 220578 w 766046"/>
                <a:gd name="connsiteY7" fmla="*/ 730797 h 925374"/>
                <a:gd name="connsiteX8" fmla="*/ 191090 w 766046"/>
                <a:gd name="connsiteY8" fmla="*/ 675889 h 925374"/>
                <a:gd name="connsiteX9" fmla="*/ 191604 w 766046"/>
                <a:gd name="connsiteY9" fmla="*/ 382590 h 925374"/>
                <a:gd name="connsiteX10" fmla="*/ 26324 w 766046"/>
                <a:gd name="connsiteY10" fmla="*/ 285307 h 925374"/>
                <a:gd name="connsiteX11" fmla="*/ 6721 w 766046"/>
                <a:gd name="connsiteY11" fmla="*/ 227266 h 925374"/>
                <a:gd name="connsiteX12" fmla="*/ 355644 w 766046"/>
                <a:gd name="connsiteY12" fmla="*/ 2928 h 925374"/>
                <a:gd name="connsiteX13" fmla="*/ 368753 w 766046"/>
                <a:gd name="connsiteY13" fmla="*/ 146 h 925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6046" h="925374">
                  <a:moveTo>
                    <a:pt x="368753" y="146"/>
                  </a:moveTo>
                  <a:cubicBezTo>
                    <a:pt x="383332" y="1705"/>
                    <a:pt x="401219" y="15645"/>
                    <a:pt x="412491" y="36188"/>
                  </a:cubicBezTo>
                  <a:lnTo>
                    <a:pt x="759453" y="670071"/>
                  </a:lnTo>
                  <a:cubicBezTo>
                    <a:pt x="774482" y="696809"/>
                    <a:pt x="762067" y="718330"/>
                    <a:pt x="739851" y="705287"/>
                  </a:cubicBezTo>
                  <a:lnTo>
                    <a:pt x="575457" y="608526"/>
                  </a:lnTo>
                  <a:lnTo>
                    <a:pt x="574430" y="902058"/>
                  </a:lnTo>
                  <a:cubicBezTo>
                    <a:pt x="574430" y="922321"/>
                    <a:pt x="561325" y="931472"/>
                    <a:pt x="544942" y="921014"/>
                  </a:cubicBezTo>
                  <a:lnTo>
                    <a:pt x="220578" y="730797"/>
                  </a:lnTo>
                  <a:cubicBezTo>
                    <a:pt x="203541" y="720992"/>
                    <a:pt x="190435" y="696153"/>
                    <a:pt x="191090" y="675889"/>
                  </a:cubicBezTo>
                  <a:lnTo>
                    <a:pt x="191604" y="382590"/>
                  </a:lnTo>
                  <a:lnTo>
                    <a:pt x="26324" y="285307"/>
                  </a:lnTo>
                  <a:cubicBezTo>
                    <a:pt x="3454" y="272264"/>
                    <a:pt x="-8307" y="237048"/>
                    <a:pt x="6721" y="227266"/>
                  </a:cubicBezTo>
                  <a:lnTo>
                    <a:pt x="355644" y="2928"/>
                  </a:lnTo>
                  <a:cubicBezTo>
                    <a:pt x="359401" y="483"/>
                    <a:pt x="363893" y="-373"/>
                    <a:pt x="368753" y="146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3" name="Freeform 442">
              <a:extLst>
                <a:ext uri="{FF2B5EF4-FFF2-40B4-BE49-F238E27FC236}">
                  <a16:creationId xmlns:a16="http://schemas.microsoft.com/office/drawing/2014/main" id="{0C0C5DA9-D954-C54A-A2DB-A72255B6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7757" y="3289171"/>
              <a:ext cx="1258042" cy="765428"/>
            </a:xfrm>
            <a:custGeom>
              <a:avLst/>
              <a:gdLst>
                <a:gd name="connsiteX0" fmla="*/ 1201862 w 1258042"/>
                <a:gd name="connsiteY0" fmla="*/ 682370 h 765428"/>
                <a:gd name="connsiteX1" fmla="*/ 1224919 w 1258042"/>
                <a:gd name="connsiteY1" fmla="*/ 684573 h 765428"/>
                <a:gd name="connsiteX2" fmla="*/ 1258042 w 1258042"/>
                <a:gd name="connsiteY2" fmla="*/ 742025 h 765428"/>
                <a:gd name="connsiteX3" fmla="*/ 1224919 w 1258042"/>
                <a:gd name="connsiteY3" fmla="*/ 760958 h 765428"/>
                <a:gd name="connsiteX4" fmla="*/ 1192445 w 1258042"/>
                <a:gd name="connsiteY4" fmla="*/ 704159 h 765428"/>
                <a:gd name="connsiteX5" fmla="*/ 1201862 w 1258042"/>
                <a:gd name="connsiteY5" fmla="*/ 682370 h 765428"/>
                <a:gd name="connsiteX6" fmla="*/ 9661 w 1258042"/>
                <a:gd name="connsiteY6" fmla="*/ 2211 h 765428"/>
                <a:gd name="connsiteX7" fmla="*/ 32474 w 1258042"/>
                <a:gd name="connsiteY7" fmla="*/ 4169 h 765428"/>
                <a:gd name="connsiteX8" fmla="*/ 65597 w 1258042"/>
                <a:gd name="connsiteY8" fmla="*/ 61621 h 765428"/>
                <a:gd name="connsiteX9" fmla="*/ 32474 w 1258042"/>
                <a:gd name="connsiteY9" fmla="*/ 80555 h 765428"/>
                <a:gd name="connsiteX10" fmla="*/ 0 w 1258042"/>
                <a:gd name="connsiteY10" fmla="*/ 23755 h 765428"/>
                <a:gd name="connsiteX11" fmla="*/ 9661 w 1258042"/>
                <a:gd name="connsiteY11" fmla="*/ 2211 h 76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58042" h="765428">
                  <a:moveTo>
                    <a:pt x="1201862" y="682370"/>
                  </a:moveTo>
                  <a:cubicBezTo>
                    <a:pt x="1207708" y="678860"/>
                    <a:pt x="1215826" y="679350"/>
                    <a:pt x="1224919" y="684573"/>
                  </a:cubicBezTo>
                  <a:cubicBezTo>
                    <a:pt x="1243753" y="695019"/>
                    <a:pt x="1258042" y="721134"/>
                    <a:pt x="1258042" y="742025"/>
                  </a:cubicBezTo>
                  <a:cubicBezTo>
                    <a:pt x="1258042" y="762917"/>
                    <a:pt x="1243753" y="771404"/>
                    <a:pt x="1224919" y="760958"/>
                  </a:cubicBezTo>
                  <a:cubicBezTo>
                    <a:pt x="1206733" y="750513"/>
                    <a:pt x="1192445" y="724398"/>
                    <a:pt x="1192445" y="704159"/>
                  </a:cubicBezTo>
                  <a:cubicBezTo>
                    <a:pt x="1192445" y="693387"/>
                    <a:pt x="1196017" y="685879"/>
                    <a:pt x="1201862" y="682370"/>
                  </a:cubicBezTo>
                  <a:close/>
                  <a:moveTo>
                    <a:pt x="9661" y="2211"/>
                  </a:moveTo>
                  <a:cubicBezTo>
                    <a:pt x="15588" y="-1217"/>
                    <a:pt x="23706" y="-727"/>
                    <a:pt x="32474" y="4169"/>
                  </a:cubicBezTo>
                  <a:cubicBezTo>
                    <a:pt x="51308" y="15268"/>
                    <a:pt x="65597" y="40730"/>
                    <a:pt x="65597" y="61621"/>
                  </a:cubicBezTo>
                  <a:cubicBezTo>
                    <a:pt x="65597" y="82513"/>
                    <a:pt x="51308" y="91653"/>
                    <a:pt x="32474" y="80555"/>
                  </a:cubicBezTo>
                  <a:cubicBezTo>
                    <a:pt x="14938" y="70109"/>
                    <a:pt x="0" y="44647"/>
                    <a:pt x="0" y="23755"/>
                  </a:cubicBezTo>
                  <a:cubicBezTo>
                    <a:pt x="0" y="12983"/>
                    <a:pt x="3735" y="5638"/>
                    <a:pt x="9661" y="221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4" name="Freeform 77">
              <a:extLst>
                <a:ext uri="{FF2B5EF4-FFF2-40B4-BE49-F238E27FC236}">
                  <a16:creationId xmlns:a16="http://schemas.microsoft.com/office/drawing/2014/main" id="{31C363B8-2124-844D-940E-522AEADCB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45261" y="7120109"/>
              <a:ext cx="2724766" cy="1564005"/>
            </a:xfrm>
            <a:custGeom>
              <a:avLst/>
              <a:gdLst>
                <a:gd name="T0" fmla="*/ 2400 w 4173"/>
                <a:gd name="T1" fmla="*/ 2344 h 2393"/>
                <a:gd name="T2" fmla="*/ 85 w 4173"/>
                <a:gd name="T3" fmla="*/ 1023 h 2393"/>
                <a:gd name="T4" fmla="*/ 85 w 4173"/>
                <a:gd name="T5" fmla="*/ 1023 h 2393"/>
                <a:gd name="T6" fmla="*/ 108 w 4173"/>
                <a:gd name="T7" fmla="*/ 832 h 2393"/>
                <a:gd name="T8" fmla="*/ 1440 w 4173"/>
                <a:gd name="T9" fmla="*/ 62 h 2393"/>
                <a:gd name="T10" fmla="*/ 1440 w 4173"/>
                <a:gd name="T11" fmla="*/ 62 h 2393"/>
                <a:gd name="T12" fmla="*/ 1771 w 4173"/>
                <a:gd name="T13" fmla="*/ 48 h 2393"/>
                <a:gd name="T14" fmla="*/ 4087 w 4173"/>
                <a:gd name="T15" fmla="*/ 1369 h 2393"/>
                <a:gd name="T16" fmla="*/ 4087 w 4173"/>
                <a:gd name="T17" fmla="*/ 1369 h 2393"/>
                <a:gd name="T18" fmla="*/ 4064 w 4173"/>
                <a:gd name="T19" fmla="*/ 1560 h 2393"/>
                <a:gd name="T20" fmla="*/ 2731 w 4173"/>
                <a:gd name="T21" fmla="*/ 2330 h 2393"/>
                <a:gd name="T22" fmla="*/ 2731 w 4173"/>
                <a:gd name="T23" fmla="*/ 2330 h 2393"/>
                <a:gd name="T24" fmla="*/ 2400 w 4173"/>
                <a:gd name="T25" fmla="*/ 2344 h 2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3" h="2393">
                  <a:moveTo>
                    <a:pt x="2400" y="2344"/>
                  </a:moveTo>
                  <a:lnTo>
                    <a:pt x="85" y="1023"/>
                  </a:lnTo>
                  <a:lnTo>
                    <a:pt x="85" y="1023"/>
                  </a:lnTo>
                  <a:cubicBezTo>
                    <a:pt x="0" y="973"/>
                    <a:pt x="10" y="888"/>
                    <a:pt x="108" y="832"/>
                  </a:cubicBezTo>
                  <a:lnTo>
                    <a:pt x="1440" y="62"/>
                  </a:lnTo>
                  <a:lnTo>
                    <a:pt x="1440" y="62"/>
                  </a:lnTo>
                  <a:cubicBezTo>
                    <a:pt x="1538" y="5"/>
                    <a:pt x="1686" y="0"/>
                    <a:pt x="1771" y="48"/>
                  </a:cubicBezTo>
                  <a:lnTo>
                    <a:pt x="4087" y="1369"/>
                  </a:lnTo>
                  <a:lnTo>
                    <a:pt x="4087" y="1369"/>
                  </a:lnTo>
                  <a:cubicBezTo>
                    <a:pt x="4172" y="1418"/>
                    <a:pt x="4162" y="1504"/>
                    <a:pt x="4064" y="1560"/>
                  </a:cubicBezTo>
                  <a:lnTo>
                    <a:pt x="2731" y="2330"/>
                  </a:lnTo>
                  <a:lnTo>
                    <a:pt x="2731" y="2330"/>
                  </a:lnTo>
                  <a:cubicBezTo>
                    <a:pt x="2633" y="2387"/>
                    <a:pt x="2485" y="2392"/>
                    <a:pt x="2400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5" name="Freeform 78">
              <a:extLst>
                <a:ext uri="{FF2B5EF4-FFF2-40B4-BE49-F238E27FC236}">
                  <a16:creationId xmlns:a16="http://schemas.microsoft.com/office/drawing/2014/main" id="{598A8EAF-1A7E-0F49-B514-73A54AF97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40703"/>
              <a:ext cx="2886063" cy="4746738"/>
            </a:xfrm>
            <a:custGeom>
              <a:avLst/>
              <a:gdLst>
                <a:gd name="T0" fmla="*/ 4416 w 4420"/>
                <a:gd name="T1" fmla="*/ 6252 h 7268"/>
                <a:gd name="T2" fmla="*/ 4416 w 4420"/>
                <a:gd name="T3" fmla="*/ 6252 h 7268"/>
                <a:gd name="T4" fmla="*/ 4416 w 4420"/>
                <a:gd name="T5" fmla="*/ 844 h 7268"/>
                <a:gd name="T6" fmla="*/ 2266 w 4420"/>
                <a:gd name="T7" fmla="*/ 281 h 7268"/>
                <a:gd name="T8" fmla="*/ 1869 w 4420"/>
                <a:gd name="T9" fmla="*/ 53 h 7268"/>
                <a:gd name="T10" fmla="*/ 1869 w 4420"/>
                <a:gd name="T11" fmla="*/ 53 h 7268"/>
                <a:gd name="T12" fmla="*/ 1515 w 4420"/>
                <a:gd name="T13" fmla="*/ 67 h 7268"/>
                <a:gd name="T14" fmla="*/ 1146 w 4420"/>
                <a:gd name="T15" fmla="*/ 281 h 7268"/>
                <a:gd name="T16" fmla="*/ 0 w 4420"/>
                <a:gd name="T17" fmla="*/ 280 h 7268"/>
                <a:gd name="T18" fmla="*/ 339 w 4420"/>
                <a:gd name="T19" fmla="*/ 5500 h 7268"/>
                <a:gd name="T20" fmla="*/ 339 w 4420"/>
                <a:gd name="T21" fmla="*/ 5500 h 7268"/>
                <a:gd name="T22" fmla="*/ 400 w 4420"/>
                <a:gd name="T23" fmla="*/ 5595 h 7268"/>
                <a:gd name="T24" fmla="*/ 2545 w 4420"/>
                <a:gd name="T25" fmla="*/ 7214 h 7268"/>
                <a:gd name="T26" fmla="*/ 2545 w 4420"/>
                <a:gd name="T27" fmla="*/ 7214 h 7268"/>
                <a:gd name="T28" fmla="*/ 2900 w 4420"/>
                <a:gd name="T29" fmla="*/ 7200 h 7268"/>
                <a:gd name="T30" fmla="*/ 4330 w 4420"/>
                <a:gd name="T31" fmla="*/ 6374 h 7268"/>
                <a:gd name="T32" fmla="*/ 4330 w 4420"/>
                <a:gd name="T33" fmla="*/ 6374 h 7268"/>
                <a:gd name="T34" fmla="*/ 4416 w 4420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0" h="7268">
                  <a:moveTo>
                    <a:pt x="4416" y="6252"/>
                  </a:moveTo>
                  <a:lnTo>
                    <a:pt x="4416" y="6252"/>
                  </a:lnTo>
                  <a:lnTo>
                    <a:pt x="4416" y="844"/>
                  </a:lnTo>
                  <a:lnTo>
                    <a:pt x="2266" y="281"/>
                  </a:lnTo>
                  <a:lnTo>
                    <a:pt x="1869" y="53"/>
                  </a:lnTo>
                  <a:lnTo>
                    <a:pt x="1869" y="53"/>
                  </a:lnTo>
                  <a:cubicBezTo>
                    <a:pt x="1779" y="0"/>
                    <a:pt x="1620" y="7"/>
                    <a:pt x="1515" y="67"/>
                  </a:cubicBezTo>
                  <a:lnTo>
                    <a:pt x="1146" y="281"/>
                  </a:lnTo>
                  <a:lnTo>
                    <a:pt x="0" y="280"/>
                  </a:lnTo>
                  <a:lnTo>
                    <a:pt x="339" y="5500"/>
                  </a:lnTo>
                  <a:lnTo>
                    <a:pt x="339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5" y="7214"/>
                  </a:lnTo>
                  <a:lnTo>
                    <a:pt x="2545" y="7214"/>
                  </a:lnTo>
                  <a:cubicBezTo>
                    <a:pt x="2636" y="7267"/>
                    <a:pt x="2795" y="7260"/>
                    <a:pt x="2900" y="7200"/>
                  </a:cubicBezTo>
                  <a:lnTo>
                    <a:pt x="4330" y="6374"/>
                  </a:lnTo>
                  <a:lnTo>
                    <a:pt x="4330" y="6374"/>
                  </a:lnTo>
                  <a:cubicBezTo>
                    <a:pt x="4390" y="6339"/>
                    <a:pt x="4419" y="6294"/>
                    <a:pt x="4416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6" name="Freeform 79">
              <a:extLst>
                <a:ext uri="{FF2B5EF4-FFF2-40B4-BE49-F238E27FC236}">
                  <a16:creationId xmlns:a16="http://schemas.microsoft.com/office/drawing/2014/main" id="{715F1E4C-7AF6-D54C-8098-4BBB36203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52224"/>
              <a:ext cx="1788667" cy="4723696"/>
            </a:xfrm>
            <a:custGeom>
              <a:avLst/>
              <a:gdLst>
                <a:gd name="T0" fmla="*/ 1708 w 2739"/>
                <a:gd name="T1" fmla="*/ 0 h 7234"/>
                <a:gd name="T2" fmla="*/ 1708 w 2739"/>
                <a:gd name="T3" fmla="*/ 0 h 7234"/>
                <a:gd name="T4" fmla="*/ 1518 w 2739"/>
                <a:gd name="T5" fmla="*/ 49 h 7234"/>
                <a:gd name="T6" fmla="*/ 1149 w 2739"/>
                <a:gd name="T7" fmla="*/ 263 h 7234"/>
                <a:gd name="T8" fmla="*/ 3 w 2739"/>
                <a:gd name="T9" fmla="*/ 262 h 7234"/>
                <a:gd name="T10" fmla="*/ 3 w 2739"/>
                <a:gd name="T11" fmla="*/ 5684 h 7234"/>
                <a:gd name="T12" fmla="*/ 3 w 2739"/>
                <a:gd name="T13" fmla="*/ 5684 h 7234"/>
                <a:gd name="T14" fmla="*/ 64 w 2739"/>
                <a:gd name="T15" fmla="*/ 5779 h 7234"/>
                <a:gd name="T16" fmla="*/ 2548 w 2739"/>
                <a:gd name="T17" fmla="*/ 7196 h 7234"/>
                <a:gd name="T18" fmla="*/ 2548 w 2739"/>
                <a:gd name="T19" fmla="*/ 7196 h 7234"/>
                <a:gd name="T20" fmla="*/ 2712 w 2739"/>
                <a:gd name="T21" fmla="*/ 7232 h 7234"/>
                <a:gd name="T22" fmla="*/ 2738 w 2739"/>
                <a:gd name="T23" fmla="*/ 1776 h 7234"/>
                <a:gd name="T24" fmla="*/ 1708 w 2739"/>
                <a:gd name="T25" fmla="*/ 0 h 7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9" h="7234">
                  <a:moveTo>
                    <a:pt x="1708" y="0"/>
                  </a:moveTo>
                  <a:lnTo>
                    <a:pt x="1708" y="0"/>
                  </a:lnTo>
                  <a:cubicBezTo>
                    <a:pt x="1642" y="1"/>
                    <a:pt x="1573" y="18"/>
                    <a:pt x="1518" y="49"/>
                  </a:cubicBezTo>
                  <a:lnTo>
                    <a:pt x="1149" y="263"/>
                  </a:lnTo>
                  <a:lnTo>
                    <a:pt x="3" y="262"/>
                  </a:lnTo>
                  <a:lnTo>
                    <a:pt x="3" y="5684"/>
                  </a:lnTo>
                  <a:lnTo>
                    <a:pt x="3" y="5684"/>
                  </a:lnTo>
                  <a:cubicBezTo>
                    <a:pt x="0" y="5720"/>
                    <a:pt x="20" y="5754"/>
                    <a:pt x="64" y="5779"/>
                  </a:cubicBezTo>
                  <a:lnTo>
                    <a:pt x="2548" y="7196"/>
                  </a:lnTo>
                  <a:lnTo>
                    <a:pt x="2548" y="7196"/>
                  </a:lnTo>
                  <a:cubicBezTo>
                    <a:pt x="2592" y="7222"/>
                    <a:pt x="2651" y="7233"/>
                    <a:pt x="2712" y="7232"/>
                  </a:cubicBezTo>
                  <a:lnTo>
                    <a:pt x="2738" y="1776"/>
                  </a:lnTo>
                  <a:lnTo>
                    <a:pt x="1708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7" name="Freeform 80">
              <a:extLst>
                <a:ext uri="{FF2B5EF4-FFF2-40B4-BE49-F238E27FC236}">
                  <a16:creationId xmlns:a16="http://schemas.microsoft.com/office/drawing/2014/main" id="{1AC15014-62E9-964C-96D2-792542C0B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3827" y="4769783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8" name="Freeform 81">
              <a:extLst>
                <a:ext uri="{FF2B5EF4-FFF2-40B4-BE49-F238E27FC236}">
                  <a16:creationId xmlns:a16="http://schemas.microsoft.com/office/drawing/2014/main" id="{5AF2EA8A-2FD4-CD43-AE7F-EB715FD6D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47330" y="3171216"/>
              <a:ext cx="2923506" cy="1676336"/>
            </a:xfrm>
            <a:custGeom>
              <a:avLst/>
              <a:gdLst>
                <a:gd name="T0" fmla="*/ 2575 w 4477"/>
                <a:gd name="T1" fmla="*/ 2515 h 2568"/>
                <a:gd name="T2" fmla="*/ 91 w 4477"/>
                <a:gd name="T3" fmla="*/ 1098 h 2568"/>
                <a:gd name="T4" fmla="*/ 91 w 4477"/>
                <a:gd name="T5" fmla="*/ 1098 h 2568"/>
                <a:gd name="T6" fmla="*/ 116 w 4477"/>
                <a:gd name="T7" fmla="*/ 893 h 2568"/>
                <a:gd name="T8" fmla="*/ 1545 w 4477"/>
                <a:gd name="T9" fmla="*/ 68 h 2568"/>
                <a:gd name="T10" fmla="*/ 1545 w 4477"/>
                <a:gd name="T11" fmla="*/ 68 h 2568"/>
                <a:gd name="T12" fmla="*/ 1899 w 4477"/>
                <a:gd name="T13" fmla="*/ 53 h 2568"/>
                <a:gd name="T14" fmla="*/ 4385 w 4477"/>
                <a:gd name="T15" fmla="*/ 1470 h 2568"/>
                <a:gd name="T16" fmla="*/ 4385 w 4477"/>
                <a:gd name="T17" fmla="*/ 1470 h 2568"/>
                <a:gd name="T18" fmla="*/ 4360 w 4477"/>
                <a:gd name="T19" fmla="*/ 1675 h 2568"/>
                <a:gd name="T20" fmla="*/ 2930 w 4477"/>
                <a:gd name="T21" fmla="*/ 2501 h 2568"/>
                <a:gd name="T22" fmla="*/ 2930 w 4477"/>
                <a:gd name="T23" fmla="*/ 2501 h 2568"/>
                <a:gd name="T24" fmla="*/ 2575 w 4477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7" h="2568">
                  <a:moveTo>
                    <a:pt x="2575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6"/>
                    <a:pt x="11" y="954"/>
                    <a:pt x="116" y="893"/>
                  </a:cubicBezTo>
                  <a:lnTo>
                    <a:pt x="1545" y="68"/>
                  </a:lnTo>
                  <a:lnTo>
                    <a:pt x="1545" y="68"/>
                  </a:lnTo>
                  <a:cubicBezTo>
                    <a:pt x="1650" y="7"/>
                    <a:pt x="1809" y="0"/>
                    <a:pt x="1899" y="53"/>
                  </a:cubicBezTo>
                  <a:lnTo>
                    <a:pt x="4385" y="1470"/>
                  </a:lnTo>
                  <a:lnTo>
                    <a:pt x="4385" y="1470"/>
                  </a:lnTo>
                  <a:cubicBezTo>
                    <a:pt x="4476" y="1523"/>
                    <a:pt x="4464" y="1614"/>
                    <a:pt x="4360" y="1675"/>
                  </a:cubicBezTo>
                  <a:lnTo>
                    <a:pt x="2930" y="2501"/>
                  </a:lnTo>
                  <a:lnTo>
                    <a:pt x="2930" y="2501"/>
                  </a:lnTo>
                  <a:cubicBezTo>
                    <a:pt x="2825" y="2561"/>
                    <a:pt x="2666" y="2567"/>
                    <a:pt x="2575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9" name="Freeform 82">
              <a:extLst>
                <a:ext uri="{FF2B5EF4-FFF2-40B4-BE49-F238E27FC236}">
                  <a16:creationId xmlns:a16="http://schemas.microsoft.com/office/drawing/2014/main" id="{4D8CA680-6A2B-5F47-B172-F82EF41D6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55971" y="3796240"/>
              <a:ext cx="2909105" cy="1051311"/>
            </a:xfrm>
            <a:custGeom>
              <a:avLst/>
              <a:gdLst>
                <a:gd name="T0" fmla="*/ 4346 w 4453"/>
                <a:gd name="T1" fmla="*/ 617 h 1611"/>
                <a:gd name="T2" fmla="*/ 2916 w 4453"/>
                <a:gd name="T3" fmla="*/ 1443 h 1611"/>
                <a:gd name="T4" fmla="*/ 2916 w 4453"/>
                <a:gd name="T5" fmla="*/ 1443 h 1611"/>
                <a:gd name="T6" fmla="*/ 2561 w 4453"/>
                <a:gd name="T7" fmla="*/ 1458 h 1611"/>
                <a:gd name="T8" fmla="*/ 77 w 4453"/>
                <a:gd name="T9" fmla="*/ 40 h 1611"/>
                <a:gd name="T10" fmla="*/ 77 w 4453"/>
                <a:gd name="T11" fmla="*/ 40 h 1611"/>
                <a:gd name="T12" fmla="*/ 31 w 4453"/>
                <a:gd name="T13" fmla="*/ 0 h 1611"/>
                <a:gd name="T14" fmla="*/ 31 w 4453"/>
                <a:gd name="T15" fmla="*/ 0 h 1611"/>
                <a:gd name="T16" fmla="*/ 77 w 4453"/>
                <a:gd name="T17" fmla="*/ 141 h 1611"/>
                <a:gd name="T18" fmla="*/ 2561 w 4453"/>
                <a:gd name="T19" fmla="*/ 1558 h 1611"/>
                <a:gd name="T20" fmla="*/ 2561 w 4453"/>
                <a:gd name="T21" fmla="*/ 1558 h 1611"/>
                <a:gd name="T22" fmla="*/ 2916 w 4453"/>
                <a:gd name="T23" fmla="*/ 1544 h 1611"/>
                <a:gd name="T24" fmla="*/ 4346 w 4453"/>
                <a:gd name="T25" fmla="*/ 718 h 1611"/>
                <a:gd name="T26" fmla="*/ 4346 w 4453"/>
                <a:gd name="T27" fmla="*/ 718 h 1611"/>
                <a:gd name="T28" fmla="*/ 4416 w 4453"/>
                <a:gd name="T29" fmla="*/ 553 h 1611"/>
                <a:gd name="T30" fmla="*/ 4416 w 4453"/>
                <a:gd name="T31" fmla="*/ 553 h 1611"/>
                <a:gd name="T32" fmla="*/ 4346 w 4453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3" h="1611">
                  <a:moveTo>
                    <a:pt x="4346" y="617"/>
                  </a:moveTo>
                  <a:lnTo>
                    <a:pt x="2916" y="1443"/>
                  </a:lnTo>
                  <a:lnTo>
                    <a:pt x="2916" y="1443"/>
                  </a:lnTo>
                  <a:cubicBezTo>
                    <a:pt x="2811" y="1504"/>
                    <a:pt x="2652" y="1510"/>
                    <a:pt x="2561" y="1458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2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4" y="105"/>
                    <a:pt x="77" y="141"/>
                  </a:cubicBezTo>
                  <a:lnTo>
                    <a:pt x="2561" y="1558"/>
                  </a:lnTo>
                  <a:lnTo>
                    <a:pt x="2561" y="1558"/>
                  </a:lnTo>
                  <a:cubicBezTo>
                    <a:pt x="2652" y="1610"/>
                    <a:pt x="2811" y="1604"/>
                    <a:pt x="2916" y="1544"/>
                  </a:cubicBezTo>
                  <a:lnTo>
                    <a:pt x="4346" y="718"/>
                  </a:lnTo>
                  <a:lnTo>
                    <a:pt x="4346" y="718"/>
                  </a:lnTo>
                  <a:cubicBezTo>
                    <a:pt x="4427" y="671"/>
                    <a:pt x="4452" y="605"/>
                    <a:pt x="4416" y="553"/>
                  </a:cubicBezTo>
                  <a:lnTo>
                    <a:pt x="4416" y="553"/>
                  </a:lnTo>
                  <a:cubicBezTo>
                    <a:pt x="4402" y="576"/>
                    <a:pt x="4379" y="598"/>
                    <a:pt x="4346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0" name="Freeform 83">
              <a:extLst>
                <a:ext uri="{FF2B5EF4-FFF2-40B4-BE49-F238E27FC236}">
                  <a16:creationId xmlns:a16="http://schemas.microsoft.com/office/drawing/2014/main" id="{FE2C2FB3-EA62-904B-B02D-0DE57EF9D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90738" cy="979303"/>
            </a:xfrm>
            <a:custGeom>
              <a:avLst/>
              <a:gdLst>
                <a:gd name="T0" fmla="*/ 1697 w 2588"/>
                <a:gd name="T1" fmla="*/ 1473 h 1499"/>
                <a:gd name="T2" fmla="*/ 43 w 2588"/>
                <a:gd name="T3" fmla="*/ 514 h 1499"/>
                <a:gd name="T4" fmla="*/ 43 w 2588"/>
                <a:gd name="T5" fmla="*/ 514 h 1499"/>
                <a:gd name="T6" fmla="*/ 55 w 2588"/>
                <a:gd name="T7" fmla="*/ 418 h 1499"/>
                <a:gd name="T8" fmla="*/ 724 w 2588"/>
                <a:gd name="T9" fmla="*/ 31 h 1499"/>
                <a:gd name="T10" fmla="*/ 724 w 2588"/>
                <a:gd name="T11" fmla="*/ 31 h 1499"/>
                <a:gd name="T12" fmla="*/ 890 w 2588"/>
                <a:gd name="T13" fmla="*/ 24 h 1499"/>
                <a:gd name="T14" fmla="*/ 2544 w 2588"/>
                <a:gd name="T15" fmla="*/ 984 h 1499"/>
                <a:gd name="T16" fmla="*/ 2544 w 2588"/>
                <a:gd name="T17" fmla="*/ 984 h 1499"/>
                <a:gd name="T18" fmla="*/ 2533 w 2588"/>
                <a:gd name="T19" fmla="*/ 1079 h 1499"/>
                <a:gd name="T20" fmla="*/ 1863 w 2588"/>
                <a:gd name="T21" fmla="*/ 1466 h 1499"/>
                <a:gd name="T22" fmla="*/ 1863 w 2588"/>
                <a:gd name="T23" fmla="*/ 1466 h 1499"/>
                <a:gd name="T24" fmla="*/ 1697 w 2588"/>
                <a:gd name="T25" fmla="*/ 1473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9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5" y="446"/>
                    <a:pt x="55" y="418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4"/>
                  </a:lnTo>
                  <a:lnTo>
                    <a:pt x="2544" y="984"/>
                  </a:lnTo>
                  <a:cubicBezTo>
                    <a:pt x="2587" y="1008"/>
                    <a:pt x="2581" y="1051"/>
                    <a:pt x="2533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8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EE57326A-267C-E446-B102-AB78CE3FC7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25522" y="3756813"/>
              <a:ext cx="771903" cy="446810"/>
            </a:xfrm>
            <a:custGeom>
              <a:avLst/>
              <a:gdLst>
                <a:gd name="connsiteX0" fmla="*/ 706597 w 771903"/>
                <a:gd name="connsiteY0" fmla="*/ 363999 h 446810"/>
                <a:gd name="connsiteX1" fmla="*/ 769272 w 771903"/>
                <a:gd name="connsiteY1" fmla="*/ 400937 h 446810"/>
                <a:gd name="connsiteX2" fmla="*/ 768619 w 771903"/>
                <a:gd name="connsiteY2" fmla="*/ 409512 h 446810"/>
                <a:gd name="connsiteX3" fmla="*/ 707902 w 771903"/>
                <a:gd name="connsiteY3" fmla="*/ 444472 h 446810"/>
                <a:gd name="connsiteX4" fmla="*/ 692887 w 771903"/>
                <a:gd name="connsiteY4" fmla="*/ 445131 h 446810"/>
                <a:gd name="connsiteX5" fmla="*/ 630211 w 771903"/>
                <a:gd name="connsiteY5" fmla="*/ 408852 h 446810"/>
                <a:gd name="connsiteX6" fmla="*/ 631517 w 771903"/>
                <a:gd name="connsiteY6" fmla="*/ 400278 h 446810"/>
                <a:gd name="connsiteX7" fmla="*/ 691581 w 771903"/>
                <a:gd name="connsiteY7" fmla="*/ 364659 h 446810"/>
                <a:gd name="connsiteX8" fmla="*/ 706597 w 771903"/>
                <a:gd name="connsiteY8" fmla="*/ 363999 h 446810"/>
                <a:gd name="connsiteX9" fmla="*/ 496633 w 771903"/>
                <a:gd name="connsiteY9" fmla="*/ 242973 h 446810"/>
                <a:gd name="connsiteX10" fmla="*/ 559031 w 771903"/>
                <a:gd name="connsiteY10" fmla="*/ 278313 h 446810"/>
                <a:gd name="connsiteX11" fmla="*/ 557731 w 771903"/>
                <a:gd name="connsiteY11" fmla="*/ 287309 h 446810"/>
                <a:gd name="connsiteX12" fmla="*/ 497933 w 771903"/>
                <a:gd name="connsiteY12" fmla="*/ 321363 h 446810"/>
                <a:gd name="connsiteX13" fmla="*/ 482983 w 771903"/>
                <a:gd name="connsiteY13" fmla="*/ 322006 h 446810"/>
                <a:gd name="connsiteX14" fmla="*/ 420585 w 771903"/>
                <a:gd name="connsiteY14" fmla="*/ 286666 h 446810"/>
                <a:gd name="connsiteX15" fmla="*/ 421235 w 771903"/>
                <a:gd name="connsiteY15" fmla="*/ 278313 h 446810"/>
                <a:gd name="connsiteX16" fmla="*/ 481683 w 771903"/>
                <a:gd name="connsiteY16" fmla="*/ 243616 h 446810"/>
                <a:gd name="connsiteX17" fmla="*/ 496633 w 771903"/>
                <a:gd name="connsiteY17" fmla="*/ 242973 h 446810"/>
                <a:gd name="connsiteX18" fmla="*/ 289251 w 771903"/>
                <a:gd name="connsiteY18" fmla="*/ 122001 h 446810"/>
                <a:gd name="connsiteX19" fmla="*/ 351649 w 771903"/>
                <a:gd name="connsiteY19" fmla="*/ 157341 h 446810"/>
                <a:gd name="connsiteX20" fmla="*/ 350349 w 771903"/>
                <a:gd name="connsiteY20" fmla="*/ 165694 h 446810"/>
                <a:gd name="connsiteX21" fmla="*/ 289901 w 771903"/>
                <a:gd name="connsiteY21" fmla="*/ 200391 h 446810"/>
                <a:gd name="connsiteX22" fmla="*/ 274951 w 771903"/>
                <a:gd name="connsiteY22" fmla="*/ 201034 h 446810"/>
                <a:gd name="connsiteX23" fmla="*/ 213203 w 771903"/>
                <a:gd name="connsiteY23" fmla="*/ 165694 h 446810"/>
                <a:gd name="connsiteX24" fmla="*/ 213853 w 771903"/>
                <a:gd name="connsiteY24" fmla="*/ 156699 h 446810"/>
                <a:gd name="connsiteX25" fmla="*/ 273651 w 771903"/>
                <a:gd name="connsiteY25" fmla="*/ 122644 h 446810"/>
                <a:gd name="connsiteX26" fmla="*/ 289251 w 771903"/>
                <a:gd name="connsiteY26" fmla="*/ 122001 h 446810"/>
                <a:gd name="connsiteX27" fmla="*/ 63675 w 771903"/>
                <a:gd name="connsiteY27" fmla="*/ 1740 h 446810"/>
                <a:gd name="connsiteX28" fmla="*/ 78691 w 771903"/>
                <a:gd name="connsiteY28" fmla="*/ 1740 h 446810"/>
                <a:gd name="connsiteX29" fmla="*/ 141366 w 771903"/>
                <a:gd name="connsiteY29" fmla="*/ 38019 h 446810"/>
                <a:gd name="connsiteX30" fmla="*/ 140713 w 771903"/>
                <a:gd name="connsiteY30" fmla="*/ 47253 h 446810"/>
                <a:gd name="connsiteX31" fmla="*/ 79996 w 771903"/>
                <a:gd name="connsiteY31" fmla="*/ 82213 h 446810"/>
                <a:gd name="connsiteX32" fmla="*/ 64981 w 771903"/>
                <a:gd name="connsiteY32" fmla="*/ 82872 h 446810"/>
                <a:gd name="connsiteX33" fmla="*/ 2305 w 771903"/>
                <a:gd name="connsiteY33" fmla="*/ 45934 h 446810"/>
                <a:gd name="connsiteX34" fmla="*/ 3611 w 771903"/>
                <a:gd name="connsiteY34" fmla="*/ 37359 h 44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71903" h="446810">
                  <a:moveTo>
                    <a:pt x="706597" y="363999"/>
                  </a:moveTo>
                  <a:lnTo>
                    <a:pt x="769272" y="400937"/>
                  </a:lnTo>
                  <a:cubicBezTo>
                    <a:pt x="773189" y="402916"/>
                    <a:pt x="772536" y="406874"/>
                    <a:pt x="768619" y="409512"/>
                  </a:cubicBezTo>
                  <a:lnTo>
                    <a:pt x="707902" y="444472"/>
                  </a:lnTo>
                  <a:cubicBezTo>
                    <a:pt x="703332" y="447110"/>
                    <a:pt x="696804" y="447770"/>
                    <a:pt x="692887" y="445131"/>
                  </a:cubicBezTo>
                  <a:lnTo>
                    <a:pt x="630211" y="408852"/>
                  </a:lnTo>
                  <a:cubicBezTo>
                    <a:pt x="626947" y="406874"/>
                    <a:pt x="626947" y="402916"/>
                    <a:pt x="631517" y="400278"/>
                  </a:cubicBezTo>
                  <a:lnTo>
                    <a:pt x="691581" y="364659"/>
                  </a:lnTo>
                  <a:cubicBezTo>
                    <a:pt x="696151" y="362020"/>
                    <a:pt x="702680" y="362020"/>
                    <a:pt x="706597" y="363999"/>
                  </a:cubicBezTo>
                  <a:close/>
                  <a:moveTo>
                    <a:pt x="496633" y="242973"/>
                  </a:moveTo>
                  <a:lnTo>
                    <a:pt x="559031" y="278313"/>
                  </a:lnTo>
                  <a:cubicBezTo>
                    <a:pt x="562931" y="280883"/>
                    <a:pt x="562281" y="284738"/>
                    <a:pt x="557731" y="287309"/>
                  </a:cubicBezTo>
                  <a:lnTo>
                    <a:pt x="497933" y="321363"/>
                  </a:lnTo>
                  <a:cubicBezTo>
                    <a:pt x="493383" y="323933"/>
                    <a:pt x="486883" y="323933"/>
                    <a:pt x="482983" y="322006"/>
                  </a:cubicBezTo>
                  <a:lnTo>
                    <a:pt x="420585" y="286666"/>
                  </a:lnTo>
                  <a:cubicBezTo>
                    <a:pt x="416685" y="284096"/>
                    <a:pt x="417335" y="280241"/>
                    <a:pt x="421235" y="278313"/>
                  </a:cubicBezTo>
                  <a:lnTo>
                    <a:pt x="481683" y="243616"/>
                  </a:lnTo>
                  <a:cubicBezTo>
                    <a:pt x="486233" y="241046"/>
                    <a:pt x="492733" y="241046"/>
                    <a:pt x="496633" y="242973"/>
                  </a:cubicBezTo>
                  <a:close/>
                  <a:moveTo>
                    <a:pt x="289251" y="122001"/>
                  </a:moveTo>
                  <a:lnTo>
                    <a:pt x="351649" y="157341"/>
                  </a:lnTo>
                  <a:cubicBezTo>
                    <a:pt x="355549" y="159269"/>
                    <a:pt x="354899" y="163124"/>
                    <a:pt x="350349" y="165694"/>
                  </a:cubicBezTo>
                  <a:lnTo>
                    <a:pt x="289901" y="200391"/>
                  </a:lnTo>
                  <a:cubicBezTo>
                    <a:pt x="286001" y="202961"/>
                    <a:pt x="278851" y="202961"/>
                    <a:pt x="274951" y="201034"/>
                  </a:cubicBezTo>
                  <a:lnTo>
                    <a:pt x="213203" y="165694"/>
                  </a:lnTo>
                  <a:cubicBezTo>
                    <a:pt x="209303" y="163124"/>
                    <a:pt x="209303" y="159269"/>
                    <a:pt x="213853" y="156699"/>
                  </a:cubicBezTo>
                  <a:lnTo>
                    <a:pt x="273651" y="122644"/>
                  </a:lnTo>
                  <a:cubicBezTo>
                    <a:pt x="278851" y="120074"/>
                    <a:pt x="285351" y="120074"/>
                    <a:pt x="289251" y="122001"/>
                  </a:cubicBezTo>
                  <a:close/>
                  <a:moveTo>
                    <a:pt x="63675" y="1740"/>
                  </a:moveTo>
                  <a:cubicBezTo>
                    <a:pt x="68245" y="-239"/>
                    <a:pt x="74774" y="-898"/>
                    <a:pt x="78691" y="1740"/>
                  </a:cubicBezTo>
                  <a:lnTo>
                    <a:pt x="141366" y="38019"/>
                  </a:lnTo>
                  <a:cubicBezTo>
                    <a:pt x="145283" y="40657"/>
                    <a:pt x="144630" y="43955"/>
                    <a:pt x="140713" y="47253"/>
                  </a:cubicBezTo>
                  <a:lnTo>
                    <a:pt x="79996" y="82213"/>
                  </a:lnTo>
                  <a:cubicBezTo>
                    <a:pt x="75426" y="84192"/>
                    <a:pt x="68898" y="84851"/>
                    <a:pt x="64981" y="82872"/>
                  </a:cubicBezTo>
                  <a:lnTo>
                    <a:pt x="2305" y="45934"/>
                  </a:lnTo>
                  <a:cubicBezTo>
                    <a:pt x="-959" y="43955"/>
                    <a:pt x="-959" y="39998"/>
                    <a:pt x="3611" y="3735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2" name="Freeform 88">
              <a:extLst>
                <a:ext uri="{FF2B5EF4-FFF2-40B4-BE49-F238E27FC236}">
                  <a16:creationId xmlns:a16="http://schemas.microsoft.com/office/drawing/2014/main" id="{D448727A-4B75-F144-BAD6-152EC40C6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87857" cy="702794"/>
            </a:xfrm>
            <a:custGeom>
              <a:avLst/>
              <a:gdLst>
                <a:gd name="T0" fmla="*/ 43 w 2585"/>
                <a:gd name="T1" fmla="*/ 514 h 1074"/>
                <a:gd name="T2" fmla="*/ 45 w 2585"/>
                <a:gd name="T3" fmla="*/ 515 h 1074"/>
                <a:gd name="T4" fmla="*/ 45 w 2585"/>
                <a:gd name="T5" fmla="*/ 515 h 1074"/>
                <a:gd name="T6" fmla="*/ 55 w 2585"/>
                <a:gd name="T7" fmla="*/ 508 h 1074"/>
                <a:gd name="T8" fmla="*/ 724 w 2585"/>
                <a:gd name="T9" fmla="*/ 121 h 1074"/>
                <a:gd name="T10" fmla="*/ 724 w 2585"/>
                <a:gd name="T11" fmla="*/ 121 h 1074"/>
                <a:gd name="T12" fmla="*/ 890 w 2585"/>
                <a:gd name="T13" fmla="*/ 115 h 1074"/>
                <a:gd name="T14" fmla="*/ 2543 w 2585"/>
                <a:gd name="T15" fmla="*/ 1073 h 1074"/>
                <a:gd name="T16" fmla="*/ 2543 w 2585"/>
                <a:gd name="T17" fmla="*/ 1073 h 1074"/>
                <a:gd name="T18" fmla="*/ 2544 w 2585"/>
                <a:gd name="T19" fmla="*/ 984 h 1074"/>
                <a:gd name="T20" fmla="*/ 890 w 2585"/>
                <a:gd name="T21" fmla="*/ 24 h 1074"/>
                <a:gd name="T22" fmla="*/ 890 w 2585"/>
                <a:gd name="T23" fmla="*/ 24 h 1074"/>
                <a:gd name="T24" fmla="*/ 724 w 2585"/>
                <a:gd name="T25" fmla="*/ 31 h 1074"/>
                <a:gd name="T26" fmla="*/ 55 w 2585"/>
                <a:gd name="T27" fmla="*/ 418 h 1074"/>
                <a:gd name="T28" fmla="*/ 55 w 2585"/>
                <a:gd name="T29" fmla="*/ 418 h 1074"/>
                <a:gd name="T30" fmla="*/ 43 w 2585"/>
                <a:gd name="T31" fmla="*/ 514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4">
                  <a:moveTo>
                    <a:pt x="43" y="514"/>
                  </a:moveTo>
                  <a:lnTo>
                    <a:pt x="45" y="515"/>
                  </a:lnTo>
                  <a:lnTo>
                    <a:pt x="45" y="515"/>
                  </a:lnTo>
                  <a:cubicBezTo>
                    <a:pt x="48" y="512"/>
                    <a:pt x="51" y="510"/>
                    <a:pt x="55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5"/>
                  </a:cubicBezTo>
                  <a:lnTo>
                    <a:pt x="2543" y="1073"/>
                  </a:lnTo>
                  <a:lnTo>
                    <a:pt x="2543" y="1073"/>
                  </a:lnTo>
                  <a:cubicBezTo>
                    <a:pt x="2581" y="1045"/>
                    <a:pt x="2584" y="1006"/>
                    <a:pt x="2544" y="984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5" y="418"/>
                  </a:lnTo>
                  <a:lnTo>
                    <a:pt x="55" y="418"/>
                  </a:lnTo>
                  <a:cubicBezTo>
                    <a:pt x="5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3" name="Freeform 89">
              <a:extLst>
                <a:ext uri="{FF2B5EF4-FFF2-40B4-BE49-F238E27FC236}">
                  <a16:creationId xmlns:a16="http://schemas.microsoft.com/office/drawing/2014/main" id="{B19D8134-1B03-3B4A-8098-D9B145C685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4752501"/>
              <a:ext cx="740237" cy="780563"/>
            </a:xfrm>
            <a:custGeom>
              <a:avLst/>
              <a:gdLst>
                <a:gd name="T0" fmla="*/ 96 w 1133"/>
                <a:gd name="T1" fmla="*/ 1162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40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3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2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2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40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3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2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4" name="Freeform 90">
              <a:extLst>
                <a:ext uri="{FF2B5EF4-FFF2-40B4-BE49-F238E27FC236}">
                  <a16:creationId xmlns:a16="http://schemas.microsoft.com/office/drawing/2014/main" id="{9CC9C6C7-C1B0-5943-AB2D-59A4B8B09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4766902"/>
              <a:ext cx="722957" cy="757519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70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90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1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9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1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5" name="Freeform 93">
              <a:extLst>
                <a:ext uri="{FF2B5EF4-FFF2-40B4-BE49-F238E27FC236}">
                  <a16:creationId xmlns:a16="http://schemas.microsoft.com/office/drawing/2014/main" id="{BFD60974-E04D-BC43-AA91-80D276E81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6342428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2 h 1193"/>
                <a:gd name="T4" fmla="*/ 1037 w 1133"/>
                <a:gd name="T5" fmla="*/ 622 h 1193"/>
                <a:gd name="T6" fmla="*/ 1132 w 1133"/>
                <a:gd name="T7" fmla="*/ 439 h 1193"/>
                <a:gd name="T8" fmla="*/ 1132 w 1133"/>
                <a:gd name="T9" fmla="*/ 104 h 1193"/>
                <a:gd name="T10" fmla="*/ 1132 w 1133"/>
                <a:gd name="T11" fmla="*/ 104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8 h 1193"/>
                <a:gd name="T22" fmla="*/ 0 w 1133"/>
                <a:gd name="T23" fmla="*/ 1088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2"/>
                  </a:lnTo>
                  <a:lnTo>
                    <a:pt x="1037" y="622"/>
                  </a:lnTo>
                  <a:cubicBezTo>
                    <a:pt x="1089" y="591"/>
                    <a:pt x="1132" y="510"/>
                    <a:pt x="1132" y="439"/>
                  </a:cubicBezTo>
                  <a:lnTo>
                    <a:pt x="1132" y="104"/>
                  </a:lnTo>
                  <a:lnTo>
                    <a:pt x="1132" y="104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1"/>
                    <a:pt x="0" y="752"/>
                  </a:cubicBezTo>
                  <a:lnTo>
                    <a:pt x="0" y="1088"/>
                  </a:lnTo>
                  <a:lnTo>
                    <a:pt x="0" y="1088"/>
                  </a:lnTo>
                  <a:cubicBezTo>
                    <a:pt x="0" y="1159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6" name="Freeform 94">
              <a:extLst>
                <a:ext uri="{FF2B5EF4-FFF2-40B4-BE49-F238E27FC236}">
                  <a16:creationId xmlns:a16="http://schemas.microsoft.com/office/drawing/2014/main" id="{8153131A-8594-274D-9F3B-6C41B297AE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6353949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5 h 1157"/>
                <a:gd name="T8" fmla="*/ 1083 w 1109"/>
                <a:gd name="T9" fmla="*/ 405 h 1157"/>
                <a:gd name="T10" fmla="*/ 987 w 1109"/>
                <a:gd name="T11" fmla="*/ 588 h 1157"/>
                <a:gd name="T12" fmla="*/ 46 w 1109"/>
                <a:gd name="T13" fmla="*/ 1127 h 1157"/>
                <a:gd name="T14" fmla="*/ 46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40 h 1157"/>
                <a:gd name="T22" fmla="*/ 1013 w 1109"/>
                <a:gd name="T23" fmla="*/ 601 h 1157"/>
                <a:gd name="T24" fmla="*/ 1013 w 1109"/>
                <a:gd name="T25" fmla="*/ 601 h 1157"/>
                <a:gd name="T26" fmla="*/ 1108 w 1109"/>
                <a:gd name="T27" fmla="*/ 418 h 1157"/>
                <a:gd name="T28" fmla="*/ 1108 w 1109"/>
                <a:gd name="T29" fmla="*/ 83 h 1157"/>
                <a:gd name="T30" fmla="*/ 1108 w 1109"/>
                <a:gd name="T31" fmla="*/ 83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5"/>
                  </a:lnTo>
                  <a:lnTo>
                    <a:pt x="1083" y="405"/>
                  </a:lnTo>
                  <a:cubicBezTo>
                    <a:pt x="1083" y="476"/>
                    <a:pt x="1040" y="558"/>
                    <a:pt x="987" y="588"/>
                  </a:cubicBezTo>
                  <a:lnTo>
                    <a:pt x="46" y="1127"/>
                  </a:lnTo>
                  <a:lnTo>
                    <a:pt x="46" y="1127"/>
                  </a:lnTo>
                  <a:cubicBezTo>
                    <a:pt x="29" y="1137"/>
                    <a:pt x="14" y="1140"/>
                    <a:pt x="0" y="1137"/>
                  </a:cubicBezTo>
                  <a:lnTo>
                    <a:pt x="0" y="1137"/>
                  </a:lnTo>
                  <a:cubicBezTo>
                    <a:pt x="18" y="1154"/>
                    <a:pt x="43" y="1156"/>
                    <a:pt x="72" y="1140"/>
                  </a:cubicBezTo>
                  <a:lnTo>
                    <a:pt x="1013" y="601"/>
                  </a:lnTo>
                  <a:lnTo>
                    <a:pt x="1013" y="601"/>
                  </a:lnTo>
                  <a:cubicBezTo>
                    <a:pt x="1065" y="570"/>
                    <a:pt x="1108" y="489"/>
                    <a:pt x="1108" y="418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7" name="Freeform 95">
              <a:extLst>
                <a:ext uri="{FF2B5EF4-FFF2-40B4-BE49-F238E27FC236}">
                  <a16:creationId xmlns:a16="http://schemas.microsoft.com/office/drawing/2014/main" id="{E1AA610A-6A06-4C46-A36C-D26AF9672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6728387"/>
              <a:ext cx="83530" cy="138255"/>
            </a:xfrm>
            <a:custGeom>
              <a:avLst/>
              <a:gdLst>
                <a:gd name="T0" fmla="*/ 21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1 w 129"/>
                <a:gd name="T15" fmla="*/ 57 h 212"/>
                <a:gd name="T16" fmla="*/ 21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1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9" y="0"/>
                    <a:pt x="107" y="7"/>
                  </a:cubicBezTo>
                  <a:lnTo>
                    <a:pt x="21" y="57"/>
                  </a:lnTo>
                  <a:lnTo>
                    <a:pt x="21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8" name="Freeform 96">
              <a:extLst>
                <a:ext uri="{FF2B5EF4-FFF2-40B4-BE49-F238E27FC236}">
                  <a16:creationId xmlns:a16="http://schemas.microsoft.com/office/drawing/2014/main" id="{8CF8BD5F-AC12-7442-AEB6-AB5F0F394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6618936"/>
              <a:ext cx="83528" cy="138255"/>
            </a:xfrm>
            <a:custGeom>
              <a:avLst/>
              <a:gdLst>
                <a:gd name="T0" fmla="*/ 20 w 129"/>
                <a:gd name="T1" fmla="*/ 205 h 212"/>
                <a:gd name="T2" fmla="*/ 107 w 129"/>
                <a:gd name="T3" fmla="*/ 155 h 212"/>
                <a:gd name="T4" fmla="*/ 107 w 129"/>
                <a:gd name="T5" fmla="*/ 155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7 h 212"/>
                <a:gd name="T20" fmla="*/ 0 w 129"/>
                <a:gd name="T21" fmla="*/ 189 h 212"/>
                <a:gd name="T22" fmla="*/ 0 w 129"/>
                <a:gd name="T23" fmla="*/ 189 h 212"/>
                <a:gd name="T24" fmla="*/ 20 w 129"/>
                <a:gd name="T25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5"/>
                  </a:moveTo>
                  <a:lnTo>
                    <a:pt x="107" y="155"/>
                  </a:lnTo>
                  <a:lnTo>
                    <a:pt x="107" y="155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8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7"/>
                  </a:cubicBezTo>
                  <a:lnTo>
                    <a:pt x="0" y="189"/>
                  </a:lnTo>
                  <a:lnTo>
                    <a:pt x="0" y="189"/>
                  </a:lnTo>
                  <a:cubicBezTo>
                    <a:pt x="0" y="204"/>
                    <a:pt x="9" y="211"/>
                    <a:pt x="20" y="2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9" name="Freeform 97">
              <a:extLst>
                <a:ext uri="{FF2B5EF4-FFF2-40B4-BE49-F238E27FC236}">
                  <a16:creationId xmlns:a16="http://schemas.microsoft.com/office/drawing/2014/main" id="{F35B6DD9-624D-1148-80D3-401D9EBDC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7134511"/>
              <a:ext cx="740237" cy="780561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0" name="Freeform 98">
              <a:extLst>
                <a:ext uri="{FF2B5EF4-FFF2-40B4-BE49-F238E27FC236}">
                  <a16:creationId xmlns:a16="http://schemas.microsoft.com/office/drawing/2014/main" id="{58AD09F9-8A18-3A4B-AD66-7856B9E2C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7148913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89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6"/>
                    <a:pt x="1040" y="559"/>
                    <a:pt x="987" y="589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8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1" name="Freeform 99">
              <a:extLst>
                <a:ext uri="{FF2B5EF4-FFF2-40B4-BE49-F238E27FC236}">
                  <a16:creationId xmlns:a16="http://schemas.microsoft.com/office/drawing/2014/main" id="{4E0C9D5C-C243-5C45-B6E4-DAFFF3D87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7523351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2" name="Freeform 100">
              <a:extLst>
                <a:ext uri="{FF2B5EF4-FFF2-40B4-BE49-F238E27FC236}">
                  <a16:creationId xmlns:a16="http://schemas.microsoft.com/office/drawing/2014/main" id="{23D7D700-A1D9-1A44-A34B-1E56C503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7413899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3" name="Freeform 101">
              <a:extLst>
                <a:ext uri="{FF2B5EF4-FFF2-40B4-BE49-F238E27FC236}">
                  <a16:creationId xmlns:a16="http://schemas.microsoft.com/office/drawing/2014/main" id="{3FF12B97-3E73-0547-8694-3BAF906DF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5547464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4" name="Freeform 102">
              <a:extLst>
                <a:ext uri="{FF2B5EF4-FFF2-40B4-BE49-F238E27FC236}">
                  <a16:creationId xmlns:a16="http://schemas.microsoft.com/office/drawing/2014/main" id="{18FB2F1C-B4C8-8940-AE6C-4AA22B33A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5561866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7 w 1109"/>
                <a:gd name="T11" fmla="*/ 590 h 1159"/>
                <a:gd name="T12" fmla="*/ 46 w 1109"/>
                <a:gd name="T13" fmla="*/ 1128 h 1159"/>
                <a:gd name="T14" fmla="*/ 46 w 1109"/>
                <a:gd name="T15" fmla="*/ 1128 h 1159"/>
                <a:gd name="T16" fmla="*/ 0 w 1109"/>
                <a:gd name="T17" fmla="*/ 1139 h 1159"/>
                <a:gd name="T18" fmla="*/ 0 w 1109"/>
                <a:gd name="T19" fmla="*/ 1139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9"/>
                  </a:cubicBezTo>
                  <a:lnTo>
                    <a:pt x="0" y="1139"/>
                  </a:lnTo>
                  <a:cubicBezTo>
                    <a:pt x="18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5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5" name="Freeform 103">
              <a:extLst>
                <a:ext uri="{FF2B5EF4-FFF2-40B4-BE49-F238E27FC236}">
                  <a16:creationId xmlns:a16="http://schemas.microsoft.com/office/drawing/2014/main" id="{7F685398-0E9D-B045-973E-D49BC8576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5933424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2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6" name="Freeform 104">
              <a:extLst>
                <a:ext uri="{FF2B5EF4-FFF2-40B4-BE49-F238E27FC236}">
                  <a16:creationId xmlns:a16="http://schemas.microsoft.com/office/drawing/2014/main" id="{C68BA0ED-E02F-BD48-AEE8-6E2425094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5826853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4 h 212"/>
                <a:gd name="T8" fmla="*/ 128 w 129"/>
                <a:gd name="T9" fmla="*/ 22 h 212"/>
                <a:gd name="T10" fmla="*/ 128 w 129"/>
                <a:gd name="T11" fmla="*/ 22 h 212"/>
                <a:gd name="T12" fmla="*/ 107 w 129"/>
                <a:gd name="T13" fmla="*/ 6 h 212"/>
                <a:gd name="T14" fmla="*/ 20 w 129"/>
                <a:gd name="T15" fmla="*/ 56 h 212"/>
                <a:gd name="T16" fmla="*/ 20 w 129"/>
                <a:gd name="T17" fmla="*/ 56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7"/>
                    <a:pt x="118" y="0"/>
                    <a:pt x="107" y="6"/>
                  </a:cubicBezTo>
                  <a:lnTo>
                    <a:pt x="20" y="56"/>
                  </a:lnTo>
                  <a:lnTo>
                    <a:pt x="20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094755EF-2AE1-B842-B1A8-D7A2C9BC0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6618" y="4038091"/>
              <a:ext cx="1531668" cy="4115583"/>
            </a:xfrm>
            <a:custGeom>
              <a:avLst/>
              <a:gdLst>
                <a:gd name="connsiteX0" fmla="*/ 16656 w 1531668"/>
                <a:gd name="connsiteY0" fmla="*/ 2866023 h 4115583"/>
                <a:gd name="connsiteX1" fmla="*/ 56825 w 1531668"/>
                <a:gd name="connsiteY1" fmla="*/ 2867002 h 4115583"/>
                <a:gd name="connsiteX2" fmla="*/ 1474190 w 1531668"/>
                <a:gd name="connsiteY2" fmla="*/ 3685390 h 4115583"/>
                <a:gd name="connsiteX3" fmla="*/ 1531668 w 1531668"/>
                <a:gd name="connsiteY3" fmla="*/ 3795118 h 4115583"/>
                <a:gd name="connsiteX4" fmla="*/ 1531668 w 1531668"/>
                <a:gd name="connsiteY4" fmla="*/ 4065520 h 4115583"/>
                <a:gd name="connsiteX5" fmla="*/ 1474190 w 1531668"/>
                <a:gd name="connsiteY5" fmla="*/ 4108627 h 4115583"/>
                <a:gd name="connsiteX6" fmla="*/ 56825 w 1531668"/>
                <a:gd name="connsiteY6" fmla="*/ 3290239 h 4115583"/>
                <a:gd name="connsiteX7" fmla="*/ 0 w 1531668"/>
                <a:gd name="connsiteY7" fmla="*/ 3180511 h 4115583"/>
                <a:gd name="connsiteX8" fmla="*/ 0 w 1531668"/>
                <a:gd name="connsiteY8" fmla="*/ 2910110 h 4115583"/>
                <a:gd name="connsiteX9" fmla="*/ 16656 w 1531668"/>
                <a:gd name="connsiteY9" fmla="*/ 2866023 h 4115583"/>
                <a:gd name="connsiteX10" fmla="*/ 16656 w 1531668"/>
                <a:gd name="connsiteY10" fmla="*/ 2390608 h 4115583"/>
                <a:gd name="connsiteX11" fmla="*/ 56825 w 1531668"/>
                <a:gd name="connsiteY11" fmla="*/ 2391751 h 4115583"/>
                <a:gd name="connsiteX12" fmla="*/ 1474190 w 1531668"/>
                <a:gd name="connsiteY12" fmla="*/ 3209486 h 4115583"/>
                <a:gd name="connsiteX13" fmla="*/ 1531668 w 1531668"/>
                <a:gd name="connsiteY13" fmla="*/ 3319214 h 4115583"/>
                <a:gd name="connsiteX14" fmla="*/ 1531668 w 1531668"/>
                <a:gd name="connsiteY14" fmla="*/ 3589615 h 4115583"/>
                <a:gd name="connsiteX15" fmla="*/ 1474190 w 1531668"/>
                <a:gd name="connsiteY15" fmla="*/ 3632723 h 4115583"/>
                <a:gd name="connsiteX16" fmla="*/ 56825 w 1531668"/>
                <a:gd name="connsiteY16" fmla="*/ 2814335 h 4115583"/>
                <a:gd name="connsiteX17" fmla="*/ 0 w 1531668"/>
                <a:gd name="connsiteY17" fmla="*/ 2704607 h 4115583"/>
                <a:gd name="connsiteX18" fmla="*/ 0 w 1531668"/>
                <a:gd name="connsiteY18" fmla="*/ 2435512 h 4115583"/>
                <a:gd name="connsiteX19" fmla="*/ 16656 w 1531668"/>
                <a:gd name="connsiteY19" fmla="*/ 2390608 h 4115583"/>
                <a:gd name="connsiteX20" fmla="*/ 16656 w 1531668"/>
                <a:gd name="connsiteY20" fmla="*/ 1912723 h 4115583"/>
                <a:gd name="connsiteX21" fmla="*/ 56825 w 1531668"/>
                <a:gd name="connsiteY21" fmla="*/ 1913621 h 4115583"/>
                <a:gd name="connsiteX22" fmla="*/ 1474190 w 1531668"/>
                <a:gd name="connsiteY22" fmla="*/ 2731356 h 4115583"/>
                <a:gd name="connsiteX23" fmla="*/ 1531668 w 1531668"/>
                <a:gd name="connsiteY23" fmla="*/ 2841737 h 4115583"/>
                <a:gd name="connsiteX24" fmla="*/ 1531668 w 1531668"/>
                <a:gd name="connsiteY24" fmla="*/ 3111485 h 4115583"/>
                <a:gd name="connsiteX25" fmla="*/ 1474190 w 1531668"/>
                <a:gd name="connsiteY25" fmla="*/ 3154593 h 4115583"/>
                <a:gd name="connsiteX26" fmla="*/ 56825 w 1531668"/>
                <a:gd name="connsiteY26" fmla="*/ 2336858 h 4115583"/>
                <a:gd name="connsiteX27" fmla="*/ 0 w 1531668"/>
                <a:gd name="connsiteY27" fmla="*/ 2227783 h 4115583"/>
                <a:gd name="connsiteX28" fmla="*/ 0 w 1531668"/>
                <a:gd name="connsiteY28" fmla="*/ 1957382 h 4115583"/>
                <a:gd name="connsiteX29" fmla="*/ 16656 w 1531668"/>
                <a:gd name="connsiteY29" fmla="*/ 1912723 h 4115583"/>
                <a:gd name="connsiteX30" fmla="*/ 34719 w 1531668"/>
                <a:gd name="connsiteY30" fmla="*/ 1431525 h 4115583"/>
                <a:gd name="connsiteX31" fmla="*/ 56825 w 1531668"/>
                <a:gd name="connsiteY31" fmla="*/ 1438372 h 4115583"/>
                <a:gd name="connsiteX32" fmla="*/ 1474190 w 1531668"/>
                <a:gd name="connsiteY32" fmla="*/ 2256760 h 4115583"/>
                <a:gd name="connsiteX33" fmla="*/ 1531668 w 1531668"/>
                <a:gd name="connsiteY33" fmla="*/ 2366488 h 4115583"/>
                <a:gd name="connsiteX34" fmla="*/ 1531668 w 1531668"/>
                <a:gd name="connsiteY34" fmla="*/ 2636236 h 4115583"/>
                <a:gd name="connsiteX35" fmla="*/ 1474190 w 1531668"/>
                <a:gd name="connsiteY35" fmla="*/ 2679997 h 4115583"/>
                <a:gd name="connsiteX36" fmla="*/ 56825 w 1531668"/>
                <a:gd name="connsiteY36" fmla="*/ 1861609 h 4115583"/>
                <a:gd name="connsiteX37" fmla="*/ 0 w 1531668"/>
                <a:gd name="connsiteY37" fmla="*/ 1752534 h 4115583"/>
                <a:gd name="connsiteX38" fmla="*/ 0 w 1531668"/>
                <a:gd name="connsiteY38" fmla="*/ 1482133 h 4115583"/>
                <a:gd name="connsiteX39" fmla="*/ 34719 w 1531668"/>
                <a:gd name="connsiteY39" fmla="*/ 1431525 h 4115583"/>
                <a:gd name="connsiteX40" fmla="*/ 34719 w 1531668"/>
                <a:gd name="connsiteY40" fmla="*/ 953389 h 4115583"/>
                <a:gd name="connsiteX41" fmla="*/ 56825 w 1531668"/>
                <a:gd name="connsiteY41" fmla="*/ 960233 h 4115583"/>
                <a:gd name="connsiteX42" fmla="*/ 1474190 w 1531668"/>
                <a:gd name="connsiteY42" fmla="*/ 1778203 h 4115583"/>
                <a:gd name="connsiteX43" fmla="*/ 1531668 w 1531668"/>
                <a:gd name="connsiteY43" fmla="*/ 1887875 h 4115583"/>
                <a:gd name="connsiteX44" fmla="*/ 1531668 w 1531668"/>
                <a:gd name="connsiteY44" fmla="*/ 2158138 h 4115583"/>
                <a:gd name="connsiteX45" fmla="*/ 1474190 w 1531668"/>
                <a:gd name="connsiteY45" fmla="*/ 2201877 h 4115583"/>
                <a:gd name="connsiteX46" fmla="*/ 56825 w 1531668"/>
                <a:gd name="connsiteY46" fmla="*/ 1383906 h 4115583"/>
                <a:gd name="connsiteX47" fmla="*/ 0 w 1531668"/>
                <a:gd name="connsiteY47" fmla="*/ 1274234 h 4115583"/>
                <a:gd name="connsiteX48" fmla="*/ 0 w 1531668"/>
                <a:gd name="connsiteY48" fmla="*/ 1003971 h 4115583"/>
                <a:gd name="connsiteX49" fmla="*/ 34719 w 1531668"/>
                <a:gd name="connsiteY49" fmla="*/ 953389 h 4115583"/>
                <a:gd name="connsiteX50" fmla="*/ 34719 w 1531668"/>
                <a:gd name="connsiteY50" fmla="*/ 478138 h 4115583"/>
                <a:gd name="connsiteX51" fmla="*/ 56825 w 1531668"/>
                <a:gd name="connsiteY51" fmla="*/ 484982 h 4115583"/>
                <a:gd name="connsiteX52" fmla="*/ 1474190 w 1531668"/>
                <a:gd name="connsiteY52" fmla="*/ 1302952 h 4115583"/>
                <a:gd name="connsiteX53" fmla="*/ 1531668 w 1531668"/>
                <a:gd name="connsiteY53" fmla="*/ 1413277 h 4115583"/>
                <a:gd name="connsiteX54" fmla="*/ 1531668 w 1531668"/>
                <a:gd name="connsiteY54" fmla="*/ 1682887 h 4115583"/>
                <a:gd name="connsiteX55" fmla="*/ 1474190 w 1531668"/>
                <a:gd name="connsiteY55" fmla="*/ 1726626 h 4115583"/>
                <a:gd name="connsiteX56" fmla="*/ 56825 w 1531668"/>
                <a:gd name="connsiteY56" fmla="*/ 908655 h 4115583"/>
                <a:gd name="connsiteX57" fmla="*/ 0 w 1531668"/>
                <a:gd name="connsiteY57" fmla="*/ 798983 h 4115583"/>
                <a:gd name="connsiteX58" fmla="*/ 0 w 1531668"/>
                <a:gd name="connsiteY58" fmla="*/ 528720 h 4115583"/>
                <a:gd name="connsiteX59" fmla="*/ 34719 w 1531668"/>
                <a:gd name="connsiteY59" fmla="*/ 478138 h 4115583"/>
                <a:gd name="connsiteX60" fmla="*/ 34719 w 1531668"/>
                <a:gd name="connsiteY60" fmla="*/ 2 h 4115583"/>
                <a:gd name="connsiteX61" fmla="*/ 56825 w 1531668"/>
                <a:gd name="connsiteY61" fmla="*/ 6842 h 4115583"/>
                <a:gd name="connsiteX62" fmla="*/ 1474190 w 1531668"/>
                <a:gd name="connsiteY62" fmla="*/ 825048 h 4115583"/>
                <a:gd name="connsiteX63" fmla="*/ 1531668 w 1531668"/>
                <a:gd name="connsiteY63" fmla="*/ 934664 h 4115583"/>
                <a:gd name="connsiteX64" fmla="*/ 1531668 w 1531668"/>
                <a:gd name="connsiteY64" fmla="*/ 1204789 h 4115583"/>
                <a:gd name="connsiteX65" fmla="*/ 1474190 w 1531668"/>
                <a:gd name="connsiteY65" fmla="*/ 1247853 h 4115583"/>
                <a:gd name="connsiteX66" fmla="*/ 56825 w 1531668"/>
                <a:gd name="connsiteY66" fmla="*/ 430300 h 4115583"/>
                <a:gd name="connsiteX67" fmla="*/ 0 w 1531668"/>
                <a:gd name="connsiteY67" fmla="*/ 320684 h 4115583"/>
                <a:gd name="connsiteX68" fmla="*/ 0 w 1531668"/>
                <a:gd name="connsiteY68" fmla="*/ 50558 h 4115583"/>
                <a:gd name="connsiteX69" fmla="*/ 34719 w 1531668"/>
                <a:gd name="connsiteY69" fmla="*/ 2 h 411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583">
                  <a:moveTo>
                    <a:pt x="16656" y="2866023"/>
                  </a:moveTo>
                  <a:cubicBezTo>
                    <a:pt x="26943" y="2858185"/>
                    <a:pt x="41149" y="2857858"/>
                    <a:pt x="56825" y="2867002"/>
                  </a:cubicBezTo>
                  <a:lnTo>
                    <a:pt x="1474190" y="3685390"/>
                  </a:lnTo>
                  <a:cubicBezTo>
                    <a:pt x="1506194" y="3703678"/>
                    <a:pt x="1531668" y="3752664"/>
                    <a:pt x="1531668" y="3795118"/>
                  </a:cubicBezTo>
                  <a:lnTo>
                    <a:pt x="1531668" y="4065520"/>
                  </a:lnTo>
                  <a:cubicBezTo>
                    <a:pt x="1531668" y="4107974"/>
                    <a:pt x="1506194" y="4126915"/>
                    <a:pt x="1474190" y="4108627"/>
                  </a:cubicBezTo>
                  <a:lnTo>
                    <a:pt x="56825" y="3290239"/>
                  </a:lnTo>
                  <a:cubicBezTo>
                    <a:pt x="25473" y="3271951"/>
                    <a:pt x="0" y="3222965"/>
                    <a:pt x="0" y="3180511"/>
                  </a:cubicBezTo>
                  <a:lnTo>
                    <a:pt x="0" y="2910110"/>
                  </a:lnTo>
                  <a:cubicBezTo>
                    <a:pt x="0" y="2889209"/>
                    <a:pt x="6368" y="2873860"/>
                    <a:pt x="16656" y="2866023"/>
                  </a:cubicBezTo>
                  <a:close/>
                  <a:moveTo>
                    <a:pt x="16656" y="2390608"/>
                  </a:moveTo>
                  <a:cubicBezTo>
                    <a:pt x="26943" y="2382770"/>
                    <a:pt x="41149" y="2382607"/>
                    <a:pt x="56825" y="2391751"/>
                  </a:cubicBezTo>
                  <a:lnTo>
                    <a:pt x="1474190" y="3209486"/>
                  </a:lnTo>
                  <a:cubicBezTo>
                    <a:pt x="1506194" y="3227774"/>
                    <a:pt x="1531668" y="3276760"/>
                    <a:pt x="1531668" y="3319214"/>
                  </a:cubicBezTo>
                  <a:lnTo>
                    <a:pt x="1531668" y="3589615"/>
                  </a:lnTo>
                  <a:cubicBezTo>
                    <a:pt x="1531668" y="3632070"/>
                    <a:pt x="1506194" y="3651664"/>
                    <a:pt x="1474190" y="3632723"/>
                  </a:cubicBezTo>
                  <a:lnTo>
                    <a:pt x="56825" y="2814335"/>
                  </a:lnTo>
                  <a:cubicBezTo>
                    <a:pt x="25473" y="2796700"/>
                    <a:pt x="0" y="2747061"/>
                    <a:pt x="0" y="2704607"/>
                  </a:cubicBezTo>
                  <a:lnTo>
                    <a:pt x="0" y="2435512"/>
                  </a:lnTo>
                  <a:cubicBezTo>
                    <a:pt x="0" y="2413958"/>
                    <a:pt x="6368" y="2398446"/>
                    <a:pt x="16656" y="2390608"/>
                  </a:cubicBezTo>
                  <a:close/>
                  <a:moveTo>
                    <a:pt x="16656" y="1912723"/>
                  </a:moveTo>
                  <a:cubicBezTo>
                    <a:pt x="26943" y="1904804"/>
                    <a:pt x="41149" y="1904477"/>
                    <a:pt x="56825" y="1913621"/>
                  </a:cubicBezTo>
                  <a:lnTo>
                    <a:pt x="1474190" y="2731356"/>
                  </a:lnTo>
                  <a:cubicBezTo>
                    <a:pt x="1506194" y="2749644"/>
                    <a:pt x="1531668" y="2798630"/>
                    <a:pt x="1531668" y="2841737"/>
                  </a:cubicBezTo>
                  <a:lnTo>
                    <a:pt x="1531668" y="3111485"/>
                  </a:lnTo>
                  <a:cubicBezTo>
                    <a:pt x="1531668" y="3153940"/>
                    <a:pt x="1506194" y="3173534"/>
                    <a:pt x="1474190" y="3154593"/>
                  </a:cubicBezTo>
                  <a:lnTo>
                    <a:pt x="56825" y="2336858"/>
                  </a:lnTo>
                  <a:cubicBezTo>
                    <a:pt x="25473" y="2318570"/>
                    <a:pt x="0" y="2269584"/>
                    <a:pt x="0" y="2227783"/>
                  </a:cubicBezTo>
                  <a:lnTo>
                    <a:pt x="0" y="1957382"/>
                  </a:lnTo>
                  <a:cubicBezTo>
                    <a:pt x="0" y="1936155"/>
                    <a:pt x="6368" y="1920643"/>
                    <a:pt x="16656" y="1912723"/>
                  </a:cubicBezTo>
                  <a:close/>
                  <a:moveTo>
                    <a:pt x="34719" y="1431525"/>
                  </a:moveTo>
                  <a:cubicBezTo>
                    <a:pt x="41516" y="1431596"/>
                    <a:pt x="48987" y="1433800"/>
                    <a:pt x="56825" y="1438372"/>
                  </a:cubicBezTo>
                  <a:lnTo>
                    <a:pt x="1474190" y="2256760"/>
                  </a:lnTo>
                  <a:cubicBezTo>
                    <a:pt x="1506194" y="2275048"/>
                    <a:pt x="1531668" y="2324687"/>
                    <a:pt x="1531668" y="2366488"/>
                  </a:cubicBezTo>
                  <a:lnTo>
                    <a:pt x="1531668" y="2636236"/>
                  </a:lnTo>
                  <a:cubicBezTo>
                    <a:pt x="1531668" y="2678691"/>
                    <a:pt x="1506194" y="2698285"/>
                    <a:pt x="1474190" y="2679997"/>
                  </a:cubicBezTo>
                  <a:lnTo>
                    <a:pt x="56825" y="1861609"/>
                  </a:lnTo>
                  <a:cubicBezTo>
                    <a:pt x="25473" y="1843321"/>
                    <a:pt x="0" y="1794335"/>
                    <a:pt x="0" y="1752534"/>
                  </a:cubicBezTo>
                  <a:lnTo>
                    <a:pt x="0" y="1482133"/>
                  </a:lnTo>
                  <a:cubicBezTo>
                    <a:pt x="0" y="1450292"/>
                    <a:pt x="14329" y="1431310"/>
                    <a:pt x="34719" y="1431525"/>
                  </a:cubicBezTo>
                  <a:close/>
                  <a:moveTo>
                    <a:pt x="34719" y="953389"/>
                  </a:moveTo>
                  <a:cubicBezTo>
                    <a:pt x="41516" y="953460"/>
                    <a:pt x="48987" y="955663"/>
                    <a:pt x="56825" y="960233"/>
                  </a:cubicBezTo>
                  <a:lnTo>
                    <a:pt x="1474190" y="1778203"/>
                  </a:lnTo>
                  <a:cubicBezTo>
                    <a:pt x="1506194" y="1797135"/>
                    <a:pt x="1531668" y="1846096"/>
                    <a:pt x="1531668" y="1887875"/>
                  </a:cubicBezTo>
                  <a:lnTo>
                    <a:pt x="1531668" y="2158138"/>
                  </a:lnTo>
                  <a:cubicBezTo>
                    <a:pt x="1531668" y="2200571"/>
                    <a:pt x="1506194" y="2220155"/>
                    <a:pt x="1474190" y="2201877"/>
                  </a:cubicBezTo>
                  <a:lnTo>
                    <a:pt x="56825" y="1383906"/>
                  </a:lnTo>
                  <a:cubicBezTo>
                    <a:pt x="25473" y="1365628"/>
                    <a:pt x="0" y="1316667"/>
                    <a:pt x="0" y="1274234"/>
                  </a:cubicBezTo>
                  <a:lnTo>
                    <a:pt x="0" y="1003971"/>
                  </a:lnTo>
                  <a:cubicBezTo>
                    <a:pt x="0" y="972147"/>
                    <a:pt x="14329" y="953175"/>
                    <a:pt x="34719" y="953389"/>
                  </a:cubicBezTo>
                  <a:close/>
                  <a:moveTo>
                    <a:pt x="34719" y="478138"/>
                  </a:moveTo>
                  <a:cubicBezTo>
                    <a:pt x="41516" y="478209"/>
                    <a:pt x="48987" y="480412"/>
                    <a:pt x="56825" y="484982"/>
                  </a:cubicBezTo>
                  <a:lnTo>
                    <a:pt x="1474190" y="1302952"/>
                  </a:lnTo>
                  <a:cubicBezTo>
                    <a:pt x="1506194" y="1321884"/>
                    <a:pt x="1531668" y="1370845"/>
                    <a:pt x="1531668" y="1413277"/>
                  </a:cubicBezTo>
                  <a:lnTo>
                    <a:pt x="1531668" y="1682887"/>
                  </a:lnTo>
                  <a:cubicBezTo>
                    <a:pt x="1531668" y="1725973"/>
                    <a:pt x="1506194" y="1744904"/>
                    <a:pt x="1474190" y="1726626"/>
                  </a:cubicBezTo>
                  <a:lnTo>
                    <a:pt x="56825" y="908655"/>
                  </a:lnTo>
                  <a:cubicBezTo>
                    <a:pt x="25473" y="890377"/>
                    <a:pt x="0" y="841416"/>
                    <a:pt x="0" y="798983"/>
                  </a:cubicBezTo>
                  <a:lnTo>
                    <a:pt x="0" y="528720"/>
                  </a:lnTo>
                  <a:cubicBezTo>
                    <a:pt x="0" y="496896"/>
                    <a:pt x="14329" y="477924"/>
                    <a:pt x="34719" y="478138"/>
                  </a:cubicBezTo>
                  <a:close/>
                  <a:moveTo>
                    <a:pt x="34719" y="2"/>
                  </a:moveTo>
                  <a:cubicBezTo>
                    <a:pt x="41516" y="73"/>
                    <a:pt x="48987" y="2275"/>
                    <a:pt x="56825" y="6842"/>
                  </a:cubicBezTo>
                  <a:lnTo>
                    <a:pt x="1474190" y="825048"/>
                  </a:lnTo>
                  <a:cubicBezTo>
                    <a:pt x="1506194" y="843317"/>
                    <a:pt x="1531668" y="892253"/>
                    <a:pt x="1531668" y="934664"/>
                  </a:cubicBezTo>
                  <a:lnTo>
                    <a:pt x="1531668" y="1204789"/>
                  </a:lnTo>
                  <a:cubicBezTo>
                    <a:pt x="1531668" y="1247200"/>
                    <a:pt x="1506194" y="1266775"/>
                    <a:pt x="1474190" y="1247853"/>
                  </a:cubicBezTo>
                  <a:lnTo>
                    <a:pt x="56825" y="430300"/>
                  </a:lnTo>
                  <a:cubicBezTo>
                    <a:pt x="25473" y="412031"/>
                    <a:pt x="0" y="363095"/>
                    <a:pt x="0" y="320684"/>
                  </a:cubicBezTo>
                  <a:lnTo>
                    <a:pt x="0" y="50558"/>
                  </a:lnTo>
                  <a:cubicBezTo>
                    <a:pt x="0" y="18750"/>
                    <a:pt x="14329" y="-212"/>
                    <a:pt x="34719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995B8B55-A256-F244-8CE3-D086F1C48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2867" y="4136453"/>
              <a:ext cx="1393413" cy="3919135"/>
            </a:xfrm>
            <a:custGeom>
              <a:avLst/>
              <a:gdLst>
                <a:gd name="connsiteX0" fmla="*/ 8815 w 1393413"/>
                <a:gd name="connsiteY0" fmla="*/ 2862782 h 3919135"/>
                <a:gd name="connsiteX1" fmla="*/ 29383 w 1393413"/>
                <a:gd name="connsiteY1" fmla="*/ 2863190 h 3919135"/>
                <a:gd name="connsiteX2" fmla="*/ 1364683 w 1393413"/>
                <a:gd name="connsiteY2" fmla="*/ 3634780 h 3919135"/>
                <a:gd name="connsiteX3" fmla="*/ 1393413 w 1393413"/>
                <a:gd name="connsiteY3" fmla="*/ 3690314 h 3919135"/>
                <a:gd name="connsiteX4" fmla="*/ 1393413 w 1393413"/>
                <a:gd name="connsiteY4" fmla="*/ 3893502 h 3919135"/>
                <a:gd name="connsiteX5" fmla="*/ 1364683 w 1393413"/>
                <a:gd name="connsiteY5" fmla="*/ 3915715 h 3919135"/>
                <a:gd name="connsiteX6" fmla="*/ 29383 w 1393413"/>
                <a:gd name="connsiteY6" fmla="*/ 3144125 h 3919135"/>
                <a:gd name="connsiteX7" fmla="*/ 0 w 1393413"/>
                <a:gd name="connsiteY7" fmla="*/ 3088591 h 3919135"/>
                <a:gd name="connsiteX8" fmla="*/ 0 w 1393413"/>
                <a:gd name="connsiteY8" fmla="*/ 2885403 h 3919135"/>
                <a:gd name="connsiteX9" fmla="*/ 8815 w 1393413"/>
                <a:gd name="connsiteY9" fmla="*/ 2862782 h 3919135"/>
                <a:gd name="connsiteX10" fmla="*/ 8815 w 1393413"/>
                <a:gd name="connsiteY10" fmla="*/ 2385054 h 3919135"/>
                <a:gd name="connsiteX11" fmla="*/ 29383 w 1393413"/>
                <a:gd name="connsiteY11" fmla="*/ 2385707 h 3919135"/>
                <a:gd name="connsiteX12" fmla="*/ 1364683 w 1393413"/>
                <a:gd name="connsiteY12" fmla="*/ 3156828 h 3919135"/>
                <a:gd name="connsiteX13" fmla="*/ 1393413 w 1393413"/>
                <a:gd name="connsiteY13" fmla="*/ 3212980 h 3919135"/>
                <a:gd name="connsiteX14" fmla="*/ 1393413 w 1393413"/>
                <a:gd name="connsiteY14" fmla="*/ 3416044 h 3919135"/>
                <a:gd name="connsiteX15" fmla="*/ 1364683 w 1393413"/>
                <a:gd name="connsiteY15" fmla="*/ 3437591 h 3919135"/>
                <a:gd name="connsiteX16" fmla="*/ 29383 w 1393413"/>
                <a:gd name="connsiteY16" fmla="*/ 2666471 h 3919135"/>
                <a:gd name="connsiteX17" fmla="*/ 0 w 1393413"/>
                <a:gd name="connsiteY17" fmla="*/ 2610971 h 3919135"/>
                <a:gd name="connsiteX18" fmla="*/ 0 w 1393413"/>
                <a:gd name="connsiteY18" fmla="*/ 2407907 h 3919135"/>
                <a:gd name="connsiteX19" fmla="*/ 8815 w 1393413"/>
                <a:gd name="connsiteY19" fmla="*/ 2385054 h 3919135"/>
                <a:gd name="connsiteX20" fmla="*/ 8815 w 1393413"/>
                <a:gd name="connsiteY20" fmla="*/ 1909401 h 3919135"/>
                <a:gd name="connsiteX21" fmla="*/ 29383 w 1393413"/>
                <a:gd name="connsiteY21" fmla="*/ 1909809 h 3919135"/>
                <a:gd name="connsiteX22" fmla="*/ 1364683 w 1393413"/>
                <a:gd name="connsiteY22" fmla="*/ 2680746 h 3919135"/>
                <a:gd name="connsiteX23" fmla="*/ 1393413 w 1393413"/>
                <a:gd name="connsiteY23" fmla="*/ 2736933 h 3919135"/>
                <a:gd name="connsiteX24" fmla="*/ 1393413 w 1393413"/>
                <a:gd name="connsiteY24" fmla="*/ 2940121 h 3919135"/>
                <a:gd name="connsiteX25" fmla="*/ 1364683 w 1393413"/>
                <a:gd name="connsiteY25" fmla="*/ 2961681 h 3919135"/>
                <a:gd name="connsiteX26" fmla="*/ 29383 w 1393413"/>
                <a:gd name="connsiteY26" fmla="*/ 2190744 h 3919135"/>
                <a:gd name="connsiteX27" fmla="*/ 0 w 1393413"/>
                <a:gd name="connsiteY27" fmla="*/ 2135210 h 3919135"/>
                <a:gd name="connsiteX28" fmla="*/ 0 w 1393413"/>
                <a:gd name="connsiteY28" fmla="*/ 1932022 h 3919135"/>
                <a:gd name="connsiteX29" fmla="*/ 8815 w 1393413"/>
                <a:gd name="connsiteY29" fmla="*/ 1909401 h 3919135"/>
                <a:gd name="connsiteX30" fmla="*/ 8815 w 1393413"/>
                <a:gd name="connsiteY30" fmla="*/ 1434152 h 3919135"/>
                <a:gd name="connsiteX31" fmla="*/ 29383 w 1393413"/>
                <a:gd name="connsiteY31" fmla="*/ 1434560 h 3919135"/>
                <a:gd name="connsiteX32" fmla="*/ 1364683 w 1393413"/>
                <a:gd name="connsiteY32" fmla="*/ 2206150 h 3919135"/>
                <a:gd name="connsiteX33" fmla="*/ 1393413 w 1393413"/>
                <a:gd name="connsiteY33" fmla="*/ 2262337 h 3919135"/>
                <a:gd name="connsiteX34" fmla="*/ 1393413 w 1393413"/>
                <a:gd name="connsiteY34" fmla="*/ 2464872 h 3919135"/>
                <a:gd name="connsiteX35" fmla="*/ 1364683 w 1393413"/>
                <a:gd name="connsiteY35" fmla="*/ 2487085 h 3919135"/>
                <a:gd name="connsiteX36" fmla="*/ 29383 w 1393413"/>
                <a:gd name="connsiteY36" fmla="*/ 1716148 h 3919135"/>
                <a:gd name="connsiteX37" fmla="*/ 0 w 1393413"/>
                <a:gd name="connsiteY37" fmla="*/ 1659961 h 3919135"/>
                <a:gd name="connsiteX38" fmla="*/ 0 w 1393413"/>
                <a:gd name="connsiteY38" fmla="*/ 1456773 h 3919135"/>
                <a:gd name="connsiteX39" fmla="*/ 8815 w 1393413"/>
                <a:gd name="connsiteY39" fmla="*/ 1434152 h 3919135"/>
                <a:gd name="connsiteX40" fmla="*/ 8815 w 1393413"/>
                <a:gd name="connsiteY40" fmla="*/ 956098 h 3919135"/>
                <a:gd name="connsiteX41" fmla="*/ 29383 w 1393413"/>
                <a:gd name="connsiteY41" fmla="*/ 957077 h 3919135"/>
                <a:gd name="connsiteX42" fmla="*/ 1364683 w 1393413"/>
                <a:gd name="connsiteY42" fmla="*/ 1728198 h 3919135"/>
                <a:gd name="connsiteX43" fmla="*/ 1393413 w 1393413"/>
                <a:gd name="connsiteY43" fmla="*/ 1783697 h 3919135"/>
                <a:gd name="connsiteX44" fmla="*/ 1393413 w 1393413"/>
                <a:gd name="connsiteY44" fmla="*/ 1986761 h 3919135"/>
                <a:gd name="connsiteX45" fmla="*/ 1364683 w 1393413"/>
                <a:gd name="connsiteY45" fmla="*/ 2008961 h 3919135"/>
                <a:gd name="connsiteX46" fmla="*/ 29383 w 1393413"/>
                <a:gd name="connsiteY46" fmla="*/ 1237841 h 3919135"/>
                <a:gd name="connsiteX47" fmla="*/ 0 w 1393413"/>
                <a:gd name="connsiteY47" fmla="*/ 1182341 h 3919135"/>
                <a:gd name="connsiteX48" fmla="*/ 0 w 1393413"/>
                <a:gd name="connsiteY48" fmla="*/ 978624 h 3919135"/>
                <a:gd name="connsiteX49" fmla="*/ 8815 w 1393413"/>
                <a:gd name="connsiteY49" fmla="*/ 956098 h 3919135"/>
                <a:gd name="connsiteX50" fmla="*/ 8815 w 1393413"/>
                <a:gd name="connsiteY50" fmla="*/ 480444 h 3919135"/>
                <a:gd name="connsiteX51" fmla="*/ 29383 w 1393413"/>
                <a:gd name="connsiteY51" fmla="*/ 481179 h 3919135"/>
                <a:gd name="connsiteX52" fmla="*/ 1364683 w 1393413"/>
                <a:gd name="connsiteY52" fmla="*/ 1252769 h 3919135"/>
                <a:gd name="connsiteX53" fmla="*/ 1393413 w 1393413"/>
                <a:gd name="connsiteY53" fmla="*/ 1308303 h 3919135"/>
                <a:gd name="connsiteX54" fmla="*/ 1393413 w 1393413"/>
                <a:gd name="connsiteY54" fmla="*/ 1511491 h 3919135"/>
                <a:gd name="connsiteX55" fmla="*/ 1364683 w 1393413"/>
                <a:gd name="connsiteY55" fmla="*/ 1533704 h 3919135"/>
                <a:gd name="connsiteX56" fmla="*/ 29383 w 1393413"/>
                <a:gd name="connsiteY56" fmla="*/ 762114 h 3919135"/>
                <a:gd name="connsiteX57" fmla="*/ 0 w 1393413"/>
                <a:gd name="connsiteY57" fmla="*/ 705927 h 3919135"/>
                <a:gd name="connsiteX58" fmla="*/ 0 w 1393413"/>
                <a:gd name="connsiteY58" fmla="*/ 502739 h 3919135"/>
                <a:gd name="connsiteX59" fmla="*/ 8815 w 1393413"/>
                <a:gd name="connsiteY59" fmla="*/ 480444 h 3919135"/>
                <a:gd name="connsiteX60" fmla="*/ 8815 w 1393413"/>
                <a:gd name="connsiteY60" fmla="*/ 3043 h 3919135"/>
                <a:gd name="connsiteX61" fmla="*/ 29383 w 1393413"/>
                <a:gd name="connsiteY61" fmla="*/ 3696 h 3919135"/>
                <a:gd name="connsiteX62" fmla="*/ 1364683 w 1393413"/>
                <a:gd name="connsiteY62" fmla="*/ 774817 h 3919135"/>
                <a:gd name="connsiteX63" fmla="*/ 1393413 w 1393413"/>
                <a:gd name="connsiteY63" fmla="*/ 830316 h 3919135"/>
                <a:gd name="connsiteX64" fmla="*/ 1393413 w 1393413"/>
                <a:gd name="connsiteY64" fmla="*/ 1033380 h 3919135"/>
                <a:gd name="connsiteX65" fmla="*/ 1364683 w 1393413"/>
                <a:gd name="connsiteY65" fmla="*/ 1055580 h 3919135"/>
                <a:gd name="connsiteX66" fmla="*/ 29383 w 1393413"/>
                <a:gd name="connsiteY66" fmla="*/ 284460 h 3919135"/>
                <a:gd name="connsiteX67" fmla="*/ 0 w 1393413"/>
                <a:gd name="connsiteY67" fmla="*/ 228960 h 3919135"/>
                <a:gd name="connsiteX68" fmla="*/ 0 w 1393413"/>
                <a:gd name="connsiteY68" fmla="*/ 25896 h 3919135"/>
                <a:gd name="connsiteX69" fmla="*/ 8815 w 1393413"/>
                <a:gd name="connsiteY69" fmla="*/ 3043 h 391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35">
                  <a:moveTo>
                    <a:pt x="8815" y="2862782"/>
                  </a:moveTo>
                  <a:cubicBezTo>
                    <a:pt x="14202" y="2858780"/>
                    <a:pt x="21548" y="2858617"/>
                    <a:pt x="29383" y="2863190"/>
                  </a:cubicBezTo>
                  <a:lnTo>
                    <a:pt x="1364683" y="3634780"/>
                  </a:lnTo>
                  <a:cubicBezTo>
                    <a:pt x="1381007" y="3643927"/>
                    <a:pt x="1393413" y="3668754"/>
                    <a:pt x="1393413" y="3690314"/>
                  </a:cubicBezTo>
                  <a:lnTo>
                    <a:pt x="1393413" y="3893502"/>
                  </a:lnTo>
                  <a:cubicBezTo>
                    <a:pt x="1393413" y="3915062"/>
                    <a:pt x="1381007" y="3924862"/>
                    <a:pt x="1364683" y="3915715"/>
                  </a:cubicBezTo>
                  <a:lnTo>
                    <a:pt x="29383" y="3144125"/>
                  </a:lnTo>
                  <a:cubicBezTo>
                    <a:pt x="13712" y="3134978"/>
                    <a:pt x="0" y="3109498"/>
                    <a:pt x="0" y="3088591"/>
                  </a:cubicBezTo>
                  <a:lnTo>
                    <a:pt x="0" y="2885403"/>
                  </a:lnTo>
                  <a:cubicBezTo>
                    <a:pt x="0" y="2874623"/>
                    <a:pt x="3428" y="2866783"/>
                    <a:pt x="8815" y="2862782"/>
                  </a:cubicBezTo>
                  <a:close/>
                  <a:moveTo>
                    <a:pt x="8815" y="2385054"/>
                  </a:moveTo>
                  <a:cubicBezTo>
                    <a:pt x="14202" y="2380973"/>
                    <a:pt x="21548" y="2380810"/>
                    <a:pt x="29383" y="2385707"/>
                  </a:cubicBezTo>
                  <a:lnTo>
                    <a:pt x="1364683" y="3156828"/>
                  </a:lnTo>
                  <a:cubicBezTo>
                    <a:pt x="1381007" y="3166622"/>
                    <a:pt x="1393413" y="3191433"/>
                    <a:pt x="1393413" y="3212980"/>
                  </a:cubicBezTo>
                  <a:lnTo>
                    <a:pt x="1393413" y="3416044"/>
                  </a:lnTo>
                  <a:cubicBezTo>
                    <a:pt x="1393413" y="3436938"/>
                    <a:pt x="1381007" y="3446732"/>
                    <a:pt x="1364683" y="3437591"/>
                  </a:cubicBezTo>
                  <a:lnTo>
                    <a:pt x="29383" y="2666471"/>
                  </a:lnTo>
                  <a:cubicBezTo>
                    <a:pt x="13712" y="2657330"/>
                    <a:pt x="0" y="2632518"/>
                    <a:pt x="0" y="2610971"/>
                  </a:cubicBezTo>
                  <a:lnTo>
                    <a:pt x="0" y="2407907"/>
                  </a:lnTo>
                  <a:cubicBezTo>
                    <a:pt x="0" y="2397134"/>
                    <a:pt x="3428" y="2389135"/>
                    <a:pt x="8815" y="2385054"/>
                  </a:cubicBezTo>
                  <a:close/>
                  <a:moveTo>
                    <a:pt x="8815" y="1909401"/>
                  </a:moveTo>
                  <a:cubicBezTo>
                    <a:pt x="14202" y="1905399"/>
                    <a:pt x="21548" y="1905235"/>
                    <a:pt x="29383" y="1909809"/>
                  </a:cubicBezTo>
                  <a:lnTo>
                    <a:pt x="1364683" y="2680746"/>
                  </a:lnTo>
                  <a:cubicBezTo>
                    <a:pt x="1381007" y="2690546"/>
                    <a:pt x="1393413" y="2715373"/>
                    <a:pt x="1393413" y="2736933"/>
                  </a:cubicBezTo>
                  <a:lnTo>
                    <a:pt x="1393413" y="2940121"/>
                  </a:lnTo>
                  <a:cubicBezTo>
                    <a:pt x="1393413" y="2961681"/>
                    <a:pt x="1381007" y="2971481"/>
                    <a:pt x="1364683" y="2961681"/>
                  </a:cubicBezTo>
                  <a:lnTo>
                    <a:pt x="29383" y="2190744"/>
                  </a:lnTo>
                  <a:cubicBezTo>
                    <a:pt x="13712" y="2181597"/>
                    <a:pt x="0" y="2156770"/>
                    <a:pt x="0" y="2135210"/>
                  </a:cubicBezTo>
                  <a:lnTo>
                    <a:pt x="0" y="1932022"/>
                  </a:lnTo>
                  <a:cubicBezTo>
                    <a:pt x="0" y="1921242"/>
                    <a:pt x="3428" y="1913402"/>
                    <a:pt x="8815" y="1909401"/>
                  </a:cubicBezTo>
                  <a:close/>
                  <a:moveTo>
                    <a:pt x="8815" y="1434152"/>
                  </a:moveTo>
                  <a:cubicBezTo>
                    <a:pt x="14202" y="1430150"/>
                    <a:pt x="21548" y="1429986"/>
                    <a:pt x="29383" y="1434560"/>
                  </a:cubicBezTo>
                  <a:lnTo>
                    <a:pt x="1364683" y="2206150"/>
                  </a:lnTo>
                  <a:cubicBezTo>
                    <a:pt x="1381007" y="2215950"/>
                    <a:pt x="1393413" y="2240777"/>
                    <a:pt x="1393413" y="2262337"/>
                  </a:cubicBezTo>
                  <a:lnTo>
                    <a:pt x="1393413" y="2464872"/>
                  </a:lnTo>
                  <a:cubicBezTo>
                    <a:pt x="1393413" y="2486432"/>
                    <a:pt x="1381007" y="2496232"/>
                    <a:pt x="1364683" y="2487085"/>
                  </a:cubicBezTo>
                  <a:lnTo>
                    <a:pt x="29383" y="1716148"/>
                  </a:lnTo>
                  <a:cubicBezTo>
                    <a:pt x="13712" y="1706348"/>
                    <a:pt x="0" y="1681521"/>
                    <a:pt x="0" y="1659961"/>
                  </a:cubicBezTo>
                  <a:lnTo>
                    <a:pt x="0" y="1456773"/>
                  </a:lnTo>
                  <a:cubicBezTo>
                    <a:pt x="0" y="1445993"/>
                    <a:pt x="3428" y="1438153"/>
                    <a:pt x="8815" y="1434152"/>
                  </a:cubicBezTo>
                  <a:close/>
                  <a:moveTo>
                    <a:pt x="8815" y="956098"/>
                  </a:moveTo>
                  <a:cubicBezTo>
                    <a:pt x="14202" y="952180"/>
                    <a:pt x="21548" y="952180"/>
                    <a:pt x="29383" y="957077"/>
                  </a:cubicBezTo>
                  <a:lnTo>
                    <a:pt x="1364683" y="1728198"/>
                  </a:lnTo>
                  <a:cubicBezTo>
                    <a:pt x="1381007" y="1737339"/>
                    <a:pt x="1393413" y="1762150"/>
                    <a:pt x="1393413" y="1783697"/>
                  </a:cubicBezTo>
                  <a:lnTo>
                    <a:pt x="1393413" y="1986761"/>
                  </a:lnTo>
                  <a:cubicBezTo>
                    <a:pt x="1393413" y="2008308"/>
                    <a:pt x="1381007" y="2018102"/>
                    <a:pt x="1364683" y="2008961"/>
                  </a:cubicBezTo>
                  <a:lnTo>
                    <a:pt x="29383" y="1237841"/>
                  </a:lnTo>
                  <a:cubicBezTo>
                    <a:pt x="13712" y="1228700"/>
                    <a:pt x="0" y="1203235"/>
                    <a:pt x="0" y="1182341"/>
                  </a:cubicBezTo>
                  <a:lnTo>
                    <a:pt x="0" y="978624"/>
                  </a:lnTo>
                  <a:cubicBezTo>
                    <a:pt x="0" y="967851"/>
                    <a:pt x="3428" y="960016"/>
                    <a:pt x="8815" y="956098"/>
                  </a:cubicBezTo>
                  <a:close/>
                  <a:moveTo>
                    <a:pt x="8815" y="480444"/>
                  </a:moveTo>
                  <a:cubicBezTo>
                    <a:pt x="14202" y="476606"/>
                    <a:pt x="21548" y="476606"/>
                    <a:pt x="29383" y="481179"/>
                  </a:cubicBezTo>
                  <a:lnTo>
                    <a:pt x="1364683" y="1252769"/>
                  </a:lnTo>
                  <a:cubicBezTo>
                    <a:pt x="1381007" y="1261916"/>
                    <a:pt x="1393413" y="1286743"/>
                    <a:pt x="1393413" y="1308303"/>
                  </a:cubicBezTo>
                  <a:lnTo>
                    <a:pt x="1393413" y="1511491"/>
                  </a:lnTo>
                  <a:cubicBezTo>
                    <a:pt x="1393413" y="1533051"/>
                    <a:pt x="1381007" y="1542851"/>
                    <a:pt x="1364683" y="1533704"/>
                  </a:cubicBezTo>
                  <a:lnTo>
                    <a:pt x="29383" y="762114"/>
                  </a:lnTo>
                  <a:cubicBezTo>
                    <a:pt x="13712" y="752314"/>
                    <a:pt x="0" y="727487"/>
                    <a:pt x="0" y="705927"/>
                  </a:cubicBezTo>
                  <a:lnTo>
                    <a:pt x="0" y="502739"/>
                  </a:lnTo>
                  <a:cubicBezTo>
                    <a:pt x="0" y="491959"/>
                    <a:pt x="3428" y="484282"/>
                    <a:pt x="8815" y="480444"/>
                  </a:cubicBezTo>
                  <a:close/>
                  <a:moveTo>
                    <a:pt x="8815" y="3043"/>
                  </a:moveTo>
                  <a:cubicBezTo>
                    <a:pt x="14202" y="-1038"/>
                    <a:pt x="21548" y="-1201"/>
                    <a:pt x="29383" y="3696"/>
                  </a:cubicBezTo>
                  <a:lnTo>
                    <a:pt x="1364683" y="774817"/>
                  </a:lnTo>
                  <a:cubicBezTo>
                    <a:pt x="1381007" y="783958"/>
                    <a:pt x="1393413" y="808769"/>
                    <a:pt x="1393413" y="830316"/>
                  </a:cubicBezTo>
                  <a:lnTo>
                    <a:pt x="1393413" y="1033380"/>
                  </a:lnTo>
                  <a:cubicBezTo>
                    <a:pt x="1393413" y="1054927"/>
                    <a:pt x="1381007" y="1064721"/>
                    <a:pt x="1364683" y="1055580"/>
                  </a:cubicBezTo>
                  <a:lnTo>
                    <a:pt x="29383" y="284460"/>
                  </a:lnTo>
                  <a:cubicBezTo>
                    <a:pt x="13712" y="274666"/>
                    <a:pt x="0" y="249854"/>
                    <a:pt x="0" y="228960"/>
                  </a:cubicBezTo>
                  <a:lnTo>
                    <a:pt x="0" y="25896"/>
                  </a:lnTo>
                  <a:cubicBezTo>
                    <a:pt x="0" y="15123"/>
                    <a:pt x="3428" y="7124"/>
                    <a:pt x="8815" y="3043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9" name="Freeform 156">
              <a:extLst>
                <a:ext uri="{FF2B5EF4-FFF2-40B4-BE49-F238E27FC236}">
                  <a16:creationId xmlns:a16="http://schemas.microsoft.com/office/drawing/2014/main" id="{1D0BF942-158B-A04D-A02E-9E94405DCC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2" y="7713452"/>
              <a:ext cx="123852" cy="181460"/>
            </a:xfrm>
            <a:custGeom>
              <a:avLst/>
              <a:gdLst>
                <a:gd name="T0" fmla="*/ 189 w 190"/>
                <a:gd name="T1" fmla="*/ 194 h 279"/>
                <a:gd name="T2" fmla="*/ 189 w 190"/>
                <a:gd name="T3" fmla="*/ 194 h 279"/>
                <a:gd name="T4" fmla="*/ 94 w 190"/>
                <a:gd name="T5" fmla="*/ 248 h 279"/>
                <a:gd name="T6" fmla="*/ 94 w 190"/>
                <a:gd name="T7" fmla="*/ 248 h 279"/>
                <a:gd name="T8" fmla="*/ 0 w 190"/>
                <a:gd name="T9" fmla="*/ 85 h 279"/>
                <a:gd name="T10" fmla="*/ 0 w 190"/>
                <a:gd name="T11" fmla="*/ 85 h 279"/>
                <a:gd name="T12" fmla="*/ 94 w 190"/>
                <a:gd name="T13" fmla="*/ 30 h 279"/>
                <a:gd name="T14" fmla="*/ 94 w 190"/>
                <a:gd name="T15" fmla="*/ 30 h 279"/>
                <a:gd name="T16" fmla="*/ 189 w 190"/>
                <a:gd name="T17" fmla="*/ 19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4"/>
                  </a:moveTo>
                  <a:lnTo>
                    <a:pt x="189" y="194"/>
                  </a:lnTo>
                  <a:cubicBezTo>
                    <a:pt x="189" y="254"/>
                    <a:pt x="147" y="278"/>
                    <a:pt x="94" y="248"/>
                  </a:cubicBezTo>
                  <a:lnTo>
                    <a:pt x="94" y="248"/>
                  </a:lnTo>
                  <a:cubicBezTo>
                    <a:pt x="42" y="218"/>
                    <a:pt x="0" y="145"/>
                    <a:pt x="0" y="85"/>
                  </a:cubicBezTo>
                  <a:lnTo>
                    <a:pt x="0" y="85"/>
                  </a:lnTo>
                  <a:cubicBezTo>
                    <a:pt x="0" y="24"/>
                    <a:pt x="42" y="0"/>
                    <a:pt x="94" y="30"/>
                  </a:cubicBezTo>
                  <a:lnTo>
                    <a:pt x="94" y="30"/>
                  </a:lnTo>
                  <a:cubicBezTo>
                    <a:pt x="147" y="60"/>
                    <a:pt x="189" y="133"/>
                    <a:pt x="189" y="194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9858718A-44FA-6E43-9A9C-B458BA856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3516" y="4285861"/>
              <a:ext cx="1246521" cy="3276857"/>
            </a:xfrm>
            <a:custGeom>
              <a:avLst/>
              <a:gdLst>
                <a:gd name="connsiteX0" fmla="*/ 571319 w 1246521"/>
                <a:gd name="connsiteY0" fmla="*/ 3193503 h 3276857"/>
                <a:gd name="connsiteX1" fmla="*/ 594133 w 1246521"/>
                <a:gd name="connsiteY1" fmla="*/ 3195571 h 3276857"/>
                <a:gd name="connsiteX2" fmla="*/ 627257 w 1246521"/>
                <a:gd name="connsiteY2" fmla="*/ 3253138 h 3276857"/>
                <a:gd name="connsiteX3" fmla="*/ 594133 w 1246521"/>
                <a:gd name="connsiteY3" fmla="*/ 3272327 h 3276857"/>
                <a:gd name="connsiteX4" fmla="*/ 561658 w 1246521"/>
                <a:gd name="connsiteY4" fmla="*/ 3214760 h 3276857"/>
                <a:gd name="connsiteX5" fmla="*/ 571319 w 1246521"/>
                <a:gd name="connsiteY5" fmla="*/ 3193503 h 3276857"/>
                <a:gd name="connsiteX6" fmla="*/ 455957 w 1246521"/>
                <a:gd name="connsiteY6" fmla="*/ 3127779 h 3276857"/>
                <a:gd name="connsiteX7" fmla="*/ 479242 w 1246521"/>
                <a:gd name="connsiteY7" fmla="*/ 3130572 h 3276857"/>
                <a:gd name="connsiteX8" fmla="*/ 512038 w 1246521"/>
                <a:gd name="connsiteY8" fmla="*/ 3187096 h 3276857"/>
                <a:gd name="connsiteX9" fmla="*/ 479242 w 1246521"/>
                <a:gd name="connsiteY9" fmla="*/ 3206156 h 3276857"/>
                <a:gd name="connsiteX10" fmla="*/ 446446 w 1246521"/>
                <a:gd name="connsiteY10" fmla="*/ 3149632 h 3276857"/>
                <a:gd name="connsiteX11" fmla="*/ 455957 w 1246521"/>
                <a:gd name="connsiteY11" fmla="*/ 3127779 h 3276857"/>
                <a:gd name="connsiteX12" fmla="*/ 343886 w 1246521"/>
                <a:gd name="connsiteY12" fmla="*/ 3061339 h 3276857"/>
                <a:gd name="connsiteX13" fmla="*/ 366575 w 1246521"/>
                <a:gd name="connsiteY13" fmla="*/ 3063738 h 3276857"/>
                <a:gd name="connsiteX14" fmla="*/ 399698 w 1246521"/>
                <a:gd name="connsiteY14" fmla="*/ 3121305 h 3276857"/>
                <a:gd name="connsiteX15" fmla="*/ 366575 w 1246521"/>
                <a:gd name="connsiteY15" fmla="*/ 3139832 h 3276857"/>
                <a:gd name="connsiteX16" fmla="*/ 334114 w 1246521"/>
                <a:gd name="connsiteY16" fmla="*/ 3082265 h 3276857"/>
                <a:gd name="connsiteX17" fmla="*/ 343886 w 1246521"/>
                <a:gd name="connsiteY17" fmla="*/ 3061339 h 3276857"/>
                <a:gd name="connsiteX18" fmla="*/ 1148663 w 1246521"/>
                <a:gd name="connsiteY18" fmla="*/ 3018199 h 3276857"/>
                <a:gd name="connsiteX19" fmla="*/ 1161624 w 1246521"/>
                <a:gd name="connsiteY19" fmla="*/ 3018687 h 3276857"/>
                <a:gd name="connsiteX20" fmla="*/ 1228375 w 1246521"/>
                <a:gd name="connsiteY20" fmla="*/ 3057103 h 3276857"/>
                <a:gd name="connsiteX21" fmla="*/ 1246521 w 1246521"/>
                <a:gd name="connsiteY21" fmla="*/ 3091611 h 3276857"/>
                <a:gd name="connsiteX22" fmla="*/ 1246521 w 1246521"/>
                <a:gd name="connsiteY22" fmla="*/ 3162582 h 3276857"/>
                <a:gd name="connsiteX23" fmla="*/ 1228375 w 1246521"/>
                <a:gd name="connsiteY23" fmla="*/ 3176255 h 3276857"/>
                <a:gd name="connsiteX24" fmla="*/ 1161624 w 1246521"/>
                <a:gd name="connsiteY24" fmla="*/ 3137840 h 3276857"/>
                <a:gd name="connsiteX25" fmla="*/ 1143478 w 1246521"/>
                <a:gd name="connsiteY25" fmla="*/ 3102680 h 3276857"/>
                <a:gd name="connsiteX26" fmla="*/ 1143478 w 1246521"/>
                <a:gd name="connsiteY26" fmla="*/ 3032360 h 3276857"/>
                <a:gd name="connsiteX27" fmla="*/ 1148663 w 1246521"/>
                <a:gd name="connsiteY27" fmla="*/ 3018199 h 3276857"/>
                <a:gd name="connsiteX28" fmla="*/ 8174 w 1246521"/>
                <a:gd name="connsiteY28" fmla="*/ 2863117 h 3276857"/>
                <a:gd name="connsiteX29" fmla="*/ 28120 w 1246521"/>
                <a:gd name="connsiteY29" fmla="*/ 2863610 h 3276857"/>
                <a:gd name="connsiteX30" fmla="*/ 227572 w 1246521"/>
                <a:gd name="connsiteY30" fmla="*/ 2979253 h 3276857"/>
                <a:gd name="connsiteX31" fmla="*/ 255692 w 1246521"/>
                <a:gd name="connsiteY31" fmla="*/ 3033790 h 3276857"/>
                <a:gd name="connsiteX32" fmla="*/ 227572 w 1246521"/>
                <a:gd name="connsiteY32" fmla="*/ 3055473 h 3276857"/>
                <a:gd name="connsiteX33" fmla="*/ 28120 w 1246521"/>
                <a:gd name="connsiteY33" fmla="*/ 2939829 h 3276857"/>
                <a:gd name="connsiteX34" fmla="*/ 0 w 1246521"/>
                <a:gd name="connsiteY34" fmla="*/ 2885293 h 3276857"/>
                <a:gd name="connsiteX35" fmla="*/ 8174 w 1246521"/>
                <a:gd name="connsiteY35" fmla="*/ 2863117 h 3276857"/>
                <a:gd name="connsiteX36" fmla="*/ 689261 w 1246521"/>
                <a:gd name="connsiteY36" fmla="*/ 2776382 h 3276857"/>
                <a:gd name="connsiteX37" fmla="*/ 712545 w 1246521"/>
                <a:gd name="connsiteY37" fmla="*/ 2779175 h 3276857"/>
                <a:gd name="connsiteX38" fmla="*/ 745340 w 1246521"/>
                <a:gd name="connsiteY38" fmla="*/ 2835698 h 3276857"/>
                <a:gd name="connsiteX39" fmla="*/ 712545 w 1246521"/>
                <a:gd name="connsiteY39" fmla="*/ 2854759 h 3276857"/>
                <a:gd name="connsiteX40" fmla="*/ 679750 w 1246521"/>
                <a:gd name="connsiteY40" fmla="*/ 2798235 h 3276857"/>
                <a:gd name="connsiteX41" fmla="*/ 689261 w 1246521"/>
                <a:gd name="connsiteY41" fmla="*/ 2776382 h 3276857"/>
                <a:gd name="connsiteX42" fmla="*/ 571319 w 1246521"/>
                <a:gd name="connsiteY42" fmla="*/ 2709943 h 3276857"/>
                <a:gd name="connsiteX43" fmla="*/ 594133 w 1246521"/>
                <a:gd name="connsiteY43" fmla="*/ 2712342 h 3276857"/>
                <a:gd name="connsiteX44" fmla="*/ 627257 w 1246521"/>
                <a:gd name="connsiteY44" fmla="*/ 2769247 h 3276857"/>
                <a:gd name="connsiteX45" fmla="*/ 594133 w 1246521"/>
                <a:gd name="connsiteY45" fmla="*/ 2788436 h 3276857"/>
                <a:gd name="connsiteX46" fmla="*/ 561658 w 1246521"/>
                <a:gd name="connsiteY46" fmla="*/ 2730869 h 3276857"/>
                <a:gd name="connsiteX47" fmla="*/ 571319 w 1246521"/>
                <a:gd name="connsiteY47" fmla="*/ 2709943 h 3276857"/>
                <a:gd name="connsiteX48" fmla="*/ 455957 w 1246521"/>
                <a:gd name="connsiteY48" fmla="*/ 2643449 h 3276857"/>
                <a:gd name="connsiteX49" fmla="*/ 479242 w 1246521"/>
                <a:gd name="connsiteY49" fmla="*/ 2645434 h 3276857"/>
                <a:gd name="connsiteX50" fmla="*/ 512038 w 1246521"/>
                <a:gd name="connsiteY50" fmla="*/ 2703001 h 3276857"/>
                <a:gd name="connsiteX51" fmla="*/ 479242 w 1246521"/>
                <a:gd name="connsiteY51" fmla="*/ 2722190 h 3276857"/>
                <a:gd name="connsiteX52" fmla="*/ 446446 w 1246521"/>
                <a:gd name="connsiteY52" fmla="*/ 2665285 h 3276857"/>
                <a:gd name="connsiteX53" fmla="*/ 455957 w 1246521"/>
                <a:gd name="connsiteY53" fmla="*/ 2643449 h 3276857"/>
                <a:gd name="connsiteX54" fmla="*/ 343886 w 1246521"/>
                <a:gd name="connsiteY54" fmla="*/ 2577449 h 3276857"/>
                <a:gd name="connsiteX55" fmla="*/ 366575 w 1246521"/>
                <a:gd name="connsiteY55" fmla="*/ 2579848 h 3276857"/>
                <a:gd name="connsiteX56" fmla="*/ 399698 w 1246521"/>
                <a:gd name="connsiteY56" fmla="*/ 2637415 h 3276857"/>
                <a:gd name="connsiteX57" fmla="*/ 366575 w 1246521"/>
                <a:gd name="connsiteY57" fmla="*/ 2656604 h 3276857"/>
                <a:gd name="connsiteX58" fmla="*/ 334114 w 1246521"/>
                <a:gd name="connsiteY58" fmla="*/ 2598375 h 3276857"/>
                <a:gd name="connsiteX59" fmla="*/ 343886 w 1246521"/>
                <a:gd name="connsiteY59" fmla="*/ 2577449 h 3276857"/>
                <a:gd name="connsiteX60" fmla="*/ 1148663 w 1246521"/>
                <a:gd name="connsiteY60" fmla="*/ 2540313 h 3276857"/>
                <a:gd name="connsiteX61" fmla="*/ 1161624 w 1246521"/>
                <a:gd name="connsiteY61" fmla="*/ 2540557 h 3276857"/>
                <a:gd name="connsiteX62" fmla="*/ 1228375 w 1246521"/>
                <a:gd name="connsiteY62" fmla="*/ 2578973 h 3276857"/>
                <a:gd name="connsiteX63" fmla="*/ 1246521 w 1246521"/>
                <a:gd name="connsiteY63" fmla="*/ 2613481 h 3276857"/>
                <a:gd name="connsiteX64" fmla="*/ 1246521 w 1246521"/>
                <a:gd name="connsiteY64" fmla="*/ 2685103 h 3276857"/>
                <a:gd name="connsiteX65" fmla="*/ 1228375 w 1246521"/>
                <a:gd name="connsiteY65" fmla="*/ 2698125 h 3276857"/>
                <a:gd name="connsiteX66" fmla="*/ 1161624 w 1246521"/>
                <a:gd name="connsiteY66" fmla="*/ 2659710 h 3276857"/>
                <a:gd name="connsiteX67" fmla="*/ 1143478 w 1246521"/>
                <a:gd name="connsiteY67" fmla="*/ 2625201 h 3276857"/>
                <a:gd name="connsiteX68" fmla="*/ 1143478 w 1246521"/>
                <a:gd name="connsiteY68" fmla="*/ 2554230 h 3276857"/>
                <a:gd name="connsiteX69" fmla="*/ 1148663 w 1246521"/>
                <a:gd name="connsiteY69" fmla="*/ 2540313 h 3276857"/>
                <a:gd name="connsiteX70" fmla="*/ 8174 w 1246521"/>
                <a:gd name="connsiteY70" fmla="*/ 2384576 h 3276857"/>
                <a:gd name="connsiteX71" fmla="*/ 28120 w 1246521"/>
                <a:gd name="connsiteY71" fmla="*/ 2384823 h 3276857"/>
                <a:gd name="connsiteX72" fmla="*/ 227572 w 1246521"/>
                <a:gd name="connsiteY72" fmla="*/ 2500466 h 3276857"/>
                <a:gd name="connsiteX73" fmla="*/ 255692 w 1246521"/>
                <a:gd name="connsiteY73" fmla="*/ 2555003 h 3276857"/>
                <a:gd name="connsiteX74" fmla="*/ 227572 w 1246521"/>
                <a:gd name="connsiteY74" fmla="*/ 2576686 h 3276857"/>
                <a:gd name="connsiteX75" fmla="*/ 28120 w 1246521"/>
                <a:gd name="connsiteY75" fmla="*/ 2461042 h 3276857"/>
                <a:gd name="connsiteX76" fmla="*/ 0 w 1246521"/>
                <a:gd name="connsiteY76" fmla="*/ 2406506 h 3276857"/>
                <a:gd name="connsiteX77" fmla="*/ 8174 w 1246521"/>
                <a:gd name="connsiteY77" fmla="*/ 2384576 h 3276857"/>
                <a:gd name="connsiteX78" fmla="*/ 689261 w 1246521"/>
                <a:gd name="connsiteY78" fmla="*/ 2300940 h 3276857"/>
                <a:gd name="connsiteX79" fmla="*/ 712545 w 1246521"/>
                <a:gd name="connsiteY79" fmla="*/ 2303339 h 3276857"/>
                <a:gd name="connsiteX80" fmla="*/ 745340 w 1246521"/>
                <a:gd name="connsiteY80" fmla="*/ 2360906 h 3276857"/>
                <a:gd name="connsiteX81" fmla="*/ 712545 w 1246521"/>
                <a:gd name="connsiteY81" fmla="*/ 2379433 h 3276857"/>
                <a:gd name="connsiteX82" fmla="*/ 679750 w 1246521"/>
                <a:gd name="connsiteY82" fmla="*/ 2321866 h 3276857"/>
                <a:gd name="connsiteX83" fmla="*/ 689261 w 1246521"/>
                <a:gd name="connsiteY83" fmla="*/ 2300940 h 3276857"/>
                <a:gd name="connsiteX84" fmla="*/ 571319 w 1246521"/>
                <a:gd name="connsiteY84" fmla="*/ 2234529 h 3276857"/>
                <a:gd name="connsiteX85" fmla="*/ 594133 w 1246521"/>
                <a:gd name="connsiteY85" fmla="*/ 2237093 h 3276857"/>
                <a:gd name="connsiteX86" fmla="*/ 627257 w 1246521"/>
                <a:gd name="connsiteY86" fmla="*/ 2293998 h 3276857"/>
                <a:gd name="connsiteX87" fmla="*/ 594133 w 1246521"/>
                <a:gd name="connsiteY87" fmla="*/ 2313187 h 3276857"/>
                <a:gd name="connsiteX88" fmla="*/ 561658 w 1246521"/>
                <a:gd name="connsiteY88" fmla="*/ 2256282 h 3276857"/>
                <a:gd name="connsiteX89" fmla="*/ 571319 w 1246521"/>
                <a:gd name="connsiteY89" fmla="*/ 2234529 h 3276857"/>
                <a:gd name="connsiteX90" fmla="*/ 455957 w 1246521"/>
                <a:gd name="connsiteY90" fmla="*/ 2168339 h 3276857"/>
                <a:gd name="connsiteX91" fmla="*/ 479242 w 1246521"/>
                <a:gd name="connsiteY91" fmla="*/ 2170602 h 3276857"/>
                <a:gd name="connsiteX92" fmla="*/ 512038 w 1246521"/>
                <a:gd name="connsiteY92" fmla="*/ 2225564 h 3276857"/>
                <a:gd name="connsiteX93" fmla="*/ 479242 w 1246521"/>
                <a:gd name="connsiteY93" fmla="*/ 2244962 h 3276857"/>
                <a:gd name="connsiteX94" fmla="*/ 446446 w 1246521"/>
                <a:gd name="connsiteY94" fmla="*/ 2189354 h 3276857"/>
                <a:gd name="connsiteX95" fmla="*/ 455957 w 1246521"/>
                <a:gd name="connsiteY95" fmla="*/ 2168339 h 3276857"/>
                <a:gd name="connsiteX96" fmla="*/ 343886 w 1246521"/>
                <a:gd name="connsiteY96" fmla="*/ 2102283 h 3276857"/>
                <a:gd name="connsiteX97" fmla="*/ 366575 w 1246521"/>
                <a:gd name="connsiteY97" fmla="*/ 2104599 h 3276857"/>
                <a:gd name="connsiteX98" fmla="*/ 399698 w 1246521"/>
                <a:gd name="connsiteY98" fmla="*/ 2162166 h 3276857"/>
                <a:gd name="connsiteX99" fmla="*/ 366575 w 1246521"/>
                <a:gd name="connsiteY99" fmla="*/ 2180693 h 3276857"/>
                <a:gd name="connsiteX100" fmla="*/ 334114 w 1246521"/>
                <a:gd name="connsiteY100" fmla="*/ 2123788 h 3276857"/>
                <a:gd name="connsiteX101" fmla="*/ 343886 w 1246521"/>
                <a:gd name="connsiteY101" fmla="*/ 2102283 h 3276857"/>
                <a:gd name="connsiteX102" fmla="*/ 1148663 w 1246521"/>
                <a:gd name="connsiteY102" fmla="*/ 2065085 h 3276857"/>
                <a:gd name="connsiteX103" fmla="*/ 1161624 w 1246521"/>
                <a:gd name="connsiteY103" fmla="*/ 2065330 h 3276857"/>
                <a:gd name="connsiteX104" fmla="*/ 1228375 w 1246521"/>
                <a:gd name="connsiteY104" fmla="*/ 2103892 h 3276857"/>
                <a:gd name="connsiteX105" fmla="*/ 1246521 w 1246521"/>
                <a:gd name="connsiteY105" fmla="*/ 2139187 h 3276857"/>
                <a:gd name="connsiteX106" fmla="*/ 1246521 w 1246521"/>
                <a:gd name="connsiteY106" fmla="*/ 2209776 h 3276857"/>
                <a:gd name="connsiteX107" fmla="*/ 1228375 w 1246521"/>
                <a:gd name="connsiteY107" fmla="*/ 2223502 h 3276857"/>
                <a:gd name="connsiteX108" fmla="*/ 1161624 w 1246521"/>
                <a:gd name="connsiteY108" fmla="*/ 2184939 h 3276857"/>
                <a:gd name="connsiteX109" fmla="*/ 1143478 w 1246521"/>
                <a:gd name="connsiteY109" fmla="*/ 2150298 h 3276857"/>
                <a:gd name="connsiteX110" fmla="*/ 1143478 w 1246521"/>
                <a:gd name="connsiteY110" fmla="*/ 2079055 h 3276857"/>
                <a:gd name="connsiteX111" fmla="*/ 1148663 w 1246521"/>
                <a:gd name="connsiteY111" fmla="*/ 2065085 h 3276857"/>
                <a:gd name="connsiteX112" fmla="*/ 8174 w 1246521"/>
                <a:gd name="connsiteY112" fmla="*/ 1909324 h 3276857"/>
                <a:gd name="connsiteX113" fmla="*/ 28120 w 1246521"/>
                <a:gd name="connsiteY113" fmla="*/ 1909571 h 3276857"/>
                <a:gd name="connsiteX114" fmla="*/ 227572 w 1246521"/>
                <a:gd name="connsiteY114" fmla="*/ 2025872 h 3276857"/>
                <a:gd name="connsiteX115" fmla="*/ 255692 w 1246521"/>
                <a:gd name="connsiteY115" fmla="*/ 2080409 h 3276857"/>
                <a:gd name="connsiteX116" fmla="*/ 227572 w 1246521"/>
                <a:gd name="connsiteY116" fmla="*/ 2101436 h 3276857"/>
                <a:gd name="connsiteX117" fmla="*/ 28120 w 1246521"/>
                <a:gd name="connsiteY117" fmla="*/ 1985791 h 3276857"/>
                <a:gd name="connsiteX118" fmla="*/ 0 w 1246521"/>
                <a:gd name="connsiteY118" fmla="*/ 1931254 h 3276857"/>
                <a:gd name="connsiteX119" fmla="*/ 8174 w 1246521"/>
                <a:gd name="connsiteY119" fmla="*/ 1909324 h 3276857"/>
                <a:gd name="connsiteX120" fmla="*/ 689261 w 1246521"/>
                <a:gd name="connsiteY120" fmla="*/ 1825691 h 3276857"/>
                <a:gd name="connsiteX121" fmla="*/ 712545 w 1246521"/>
                <a:gd name="connsiteY121" fmla="*/ 1828090 h 3276857"/>
                <a:gd name="connsiteX122" fmla="*/ 745340 w 1246521"/>
                <a:gd name="connsiteY122" fmla="*/ 1885657 h 3276857"/>
                <a:gd name="connsiteX123" fmla="*/ 712545 w 1246521"/>
                <a:gd name="connsiteY123" fmla="*/ 1904184 h 3276857"/>
                <a:gd name="connsiteX124" fmla="*/ 679750 w 1246521"/>
                <a:gd name="connsiteY124" fmla="*/ 1846617 h 3276857"/>
                <a:gd name="connsiteX125" fmla="*/ 689261 w 1246521"/>
                <a:gd name="connsiteY125" fmla="*/ 1825691 h 3276857"/>
                <a:gd name="connsiteX126" fmla="*/ 571319 w 1246521"/>
                <a:gd name="connsiteY126" fmla="*/ 1759470 h 3276857"/>
                <a:gd name="connsiteX127" fmla="*/ 594133 w 1246521"/>
                <a:gd name="connsiteY127" fmla="*/ 1761771 h 3276857"/>
                <a:gd name="connsiteX128" fmla="*/ 627257 w 1246521"/>
                <a:gd name="connsiteY128" fmla="*/ 1818294 h 3276857"/>
                <a:gd name="connsiteX129" fmla="*/ 594133 w 1246521"/>
                <a:gd name="connsiteY129" fmla="*/ 1838012 h 3276857"/>
                <a:gd name="connsiteX130" fmla="*/ 561658 w 1246521"/>
                <a:gd name="connsiteY130" fmla="*/ 1780831 h 3276857"/>
                <a:gd name="connsiteX131" fmla="*/ 571319 w 1246521"/>
                <a:gd name="connsiteY131" fmla="*/ 1759470 h 3276857"/>
                <a:gd name="connsiteX132" fmla="*/ 455957 w 1246521"/>
                <a:gd name="connsiteY132" fmla="*/ 1690316 h 3276857"/>
                <a:gd name="connsiteX133" fmla="*/ 479242 w 1246521"/>
                <a:gd name="connsiteY133" fmla="*/ 1692715 h 3276857"/>
                <a:gd name="connsiteX134" fmla="*/ 512038 w 1246521"/>
                <a:gd name="connsiteY134" fmla="*/ 1750282 h 3276857"/>
                <a:gd name="connsiteX135" fmla="*/ 479242 w 1246521"/>
                <a:gd name="connsiteY135" fmla="*/ 1769471 h 3276857"/>
                <a:gd name="connsiteX136" fmla="*/ 446446 w 1246521"/>
                <a:gd name="connsiteY136" fmla="*/ 1711242 h 3276857"/>
                <a:gd name="connsiteX137" fmla="*/ 455957 w 1246521"/>
                <a:gd name="connsiteY137" fmla="*/ 1690316 h 3276857"/>
                <a:gd name="connsiteX138" fmla="*/ 343886 w 1246521"/>
                <a:gd name="connsiteY138" fmla="*/ 1624096 h 3276857"/>
                <a:gd name="connsiteX139" fmla="*/ 366575 w 1246521"/>
                <a:gd name="connsiteY139" fmla="*/ 1626397 h 3276857"/>
                <a:gd name="connsiteX140" fmla="*/ 399698 w 1246521"/>
                <a:gd name="connsiteY140" fmla="*/ 1683577 h 3276857"/>
                <a:gd name="connsiteX141" fmla="*/ 366575 w 1246521"/>
                <a:gd name="connsiteY141" fmla="*/ 1701980 h 3276857"/>
                <a:gd name="connsiteX142" fmla="*/ 334114 w 1246521"/>
                <a:gd name="connsiteY142" fmla="*/ 1645457 h 3276857"/>
                <a:gd name="connsiteX143" fmla="*/ 343886 w 1246521"/>
                <a:gd name="connsiteY143" fmla="*/ 1624096 h 3276857"/>
                <a:gd name="connsiteX144" fmla="*/ 1148663 w 1246521"/>
                <a:gd name="connsiteY144" fmla="*/ 1589813 h 3276857"/>
                <a:gd name="connsiteX145" fmla="*/ 1161624 w 1246521"/>
                <a:gd name="connsiteY145" fmla="*/ 1590057 h 3276857"/>
                <a:gd name="connsiteX146" fmla="*/ 1228375 w 1246521"/>
                <a:gd name="connsiteY146" fmla="*/ 1629124 h 3276857"/>
                <a:gd name="connsiteX147" fmla="*/ 1246521 w 1246521"/>
                <a:gd name="connsiteY147" fmla="*/ 1663632 h 3276857"/>
                <a:gd name="connsiteX148" fmla="*/ 1246521 w 1246521"/>
                <a:gd name="connsiteY148" fmla="*/ 1733952 h 3276857"/>
                <a:gd name="connsiteX149" fmla="*/ 1228375 w 1246521"/>
                <a:gd name="connsiteY149" fmla="*/ 1747625 h 3276857"/>
                <a:gd name="connsiteX150" fmla="*/ 1161624 w 1246521"/>
                <a:gd name="connsiteY150" fmla="*/ 1709210 h 3276857"/>
                <a:gd name="connsiteX151" fmla="*/ 1143478 w 1246521"/>
                <a:gd name="connsiteY151" fmla="*/ 1674701 h 3276857"/>
                <a:gd name="connsiteX152" fmla="*/ 1143478 w 1246521"/>
                <a:gd name="connsiteY152" fmla="*/ 1603730 h 3276857"/>
                <a:gd name="connsiteX153" fmla="*/ 1148663 w 1246521"/>
                <a:gd name="connsiteY153" fmla="*/ 1589813 h 3276857"/>
                <a:gd name="connsiteX154" fmla="*/ 8174 w 1246521"/>
                <a:gd name="connsiteY154" fmla="*/ 1431578 h 3276857"/>
                <a:gd name="connsiteX155" fmla="*/ 28120 w 1246521"/>
                <a:gd name="connsiteY155" fmla="*/ 1432069 h 3276857"/>
                <a:gd name="connsiteX156" fmla="*/ 227572 w 1246521"/>
                <a:gd name="connsiteY156" fmla="*/ 1548009 h 3276857"/>
                <a:gd name="connsiteX157" fmla="*/ 255692 w 1246521"/>
                <a:gd name="connsiteY157" fmla="*/ 1602376 h 3276857"/>
                <a:gd name="connsiteX158" fmla="*/ 227572 w 1246521"/>
                <a:gd name="connsiteY158" fmla="*/ 1623336 h 3276857"/>
                <a:gd name="connsiteX159" fmla="*/ 28120 w 1246521"/>
                <a:gd name="connsiteY159" fmla="*/ 1508052 h 3276857"/>
                <a:gd name="connsiteX160" fmla="*/ 0 w 1246521"/>
                <a:gd name="connsiteY160" fmla="*/ 1453685 h 3276857"/>
                <a:gd name="connsiteX161" fmla="*/ 8174 w 1246521"/>
                <a:gd name="connsiteY161" fmla="*/ 1431578 h 3276857"/>
                <a:gd name="connsiteX162" fmla="*/ 689261 w 1246521"/>
                <a:gd name="connsiteY162" fmla="*/ 1347587 h 3276857"/>
                <a:gd name="connsiteX163" fmla="*/ 712545 w 1246521"/>
                <a:gd name="connsiteY163" fmla="*/ 1349888 h 3276857"/>
                <a:gd name="connsiteX164" fmla="*/ 745340 w 1246521"/>
                <a:gd name="connsiteY164" fmla="*/ 1406411 h 3276857"/>
                <a:gd name="connsiteX165" fmla="*/ 712545 w 1246521"/>
                <a:gd name="connsiteY165" fmla="*/ 1425471 h 3276857"/>
                <a:gd name="connsiteX166" fmla="*/ 679750 w 1246521"/>
                <a:gd name="connsiteY166" fmla="*/ 1368948 h 3276857"/>
                <a:gd name="connsiteX167" fmla="*/ 689261 w 1246521"/>
                <a:gd name="connsiteY167" fmla="*/ 1347587 h 3276857"/>
                <a:gd name="connsiteX168" fmla="*/ 571319 w 1246521"/>
                <a:gd name="connsiteY168" fmla="*/ 1281340 h 3276857"/>
                <a:gd name="connsiteX169" fmla="*/ 594133 w 1246521"/>
                <a:gd name="connsiteY169" fmla="*/ 1283641 h 3276857"/>
                <a:gd name="connsiteX170" fmla="*/ 627257 w 1246521"/>
                <a:gd name="connsiteY170" fmla="*/ 1340821 h 3276857"/>
                <a:gd name="connsiteX171" fmla="*/ 594133 w 1246521"/>
                <a:gd name="connsiteY171" fmla="*/ 1359882 h 3276857"/>
                <a:gd name="connsiteX172" fmla="*/ 561658 w 1246521"/>
                <a:gd name="connsiteY172" fmla="*/ 1302701 h 3276857"/>
                <a:gd name="connsiteX173" fmla="*/ 571319 w 1246521"/>
                <a:gd name="connsiteY173" fmla="*/ 1281340 h 3276857"/>
                <a:gd name="connsiteX174" fmla="*/ 455957 w 1246521"/>
                <a:gd name="connsiteY174" fmla="*/ 1215094 h 3276857"/>
                <a:gd name="connsiteX175" fmla="*/ 479242 w 1246521"/>
                <a:gd name="connsiteY175" fmla="*/ 1217395 h 3276857"/>
                <a:gd name="connsiteX176" fmla="*/ 512038 w 1246521"/>
                <a:gd name="connsiteY176" fmla="*/ 1274575 h 3276857"/>
                <a:gd name="connsiteX177" fmla="*/ 479242 w 1246521"/>
                <a:gd name="connsiteY177" fmla="*/ 1293636 h 3276857"/>
                <a:gd name="connsiteX178" fmla="*/ 446446 w 1246521"/>
                <a:gd name="connsiteY178" fmla="*/ 1236455 h 3276857"/>
                <a:gd name="connsiteX179" fmla="*/ 455957 w 1246521"/>
                <a:gd name="connsiteY179" fmla="*/ 1215094 h 3276857"/>
                <a:gd name="connsiteX180" fmla="*/ 343886 w 1246521"/>
                <a:gd name="connsiteY180" fmla="*/ 1148846 h 3276857"/>
                <a:gd name="connsiteX181" fmla="*/ 366575 w 1246521"/>
                <a:gd name="connsiteY181" fmla="*/ 1151147 h 3276857"/>
                <a:gd name="connsiteX182" fmla="*/ 399698 w 1246521"/>
                <a:gd name="connsiteY182" fmla="*/ 1208327 h 3276857"/>
                <a:gd name="connsiteX183" fmla="*/ 366575 w 1246521"/>
                <a:gd name="connsiteY183" fmla="*/ 1227388 h 3276857"/>
                <a:gd name="connsiteX184" fmla="*/ 334114 w 1246521"/>
                <a:gd name="connsiteY184" fmla="*/ 1170207 h 3276857"/>
                <a:gd name="connsiteX185" fmla="*/ 343886 w 1246521"/>
                <a:gd name="connsiteY185" fmla="*/ 1148846 h 3276857"/>
                <a:gd name="connsiteX186" fmla="*/ 1161624 w 1246521"/>
                <a:gd name="connsiteY186" fmla="*/ 1111276 h 3276857"/>
                <a:gd name="connsiteX187" fmla="*/ 1228375 w 1246521"/>
                <a:gd name="connsiteY187" fmla="*/ 1150343 h 3276857"/>
                <a:gd name="connsiteX188" fmla="*/ 1246521 w 1246521"/>
                <a:gd name="connsiteY188" fmla="*/ 1184851 h 3276857"/>
                <a:gd name="connsiteX189" fmla="*/ 1246521 w 1246521"/>
                <a:gd name="connsiteY189" fmla="*/ 1255822 h 3276857"/>
                <a:gd name="connsiteX190" fmla="*/ 1228375 w 1246521"/>
                <a:gd name="connsiteY190" fmla="*/ 1268844 h 3276857"/>
                <a:gd name="connsiteX191" fmla="*/ 1161624 w 1246521"/>
                <a:gd name="connsiteY191" fmla="*/ 1230429 h 3276857"/>
                <a:gd name="connsiteX192" fmla="*/ 1143478 w 1246521"/>
                <a:gd name="connsiteY192" fmla="*/ 1195920 h 3276857"/>
                <a:gd name="connsiteX193" fmla="*/ 1143478 w 1246521"/>
                <a:gd name="connsiteY193" fmla="*/ 1125600 h 3276857"/>
                <a:gd name="connsiteX194" fmla="*/ 1161624 w 1246521"/>
                <a:gd name="connsiteY194" fmla="*/ 1111276 h 3276857"/>
                <a:gd name="connsiteX195" fmla="*/ 8174 w 1246521"/>
                <a:gd name="connsiteY195" fmla="*/ 956193 h 3276857"/>
                <a:gd name="connsiteX196" fmla="*/ 28120 w 1246521"/>
                <a:gd name="connsiteY196" fmla="*/ 956193 h 3276857"/>
                <a:gd name="connsiteX197" fmla="*/ 227572 w 1246521"/>
                <a:gd name="connsiteY197" fmla="*/ 1072493 h 3276857"/>
                <a:gd name="connsiteX198" fmla="*/ 255692 w 1246521"/>
                <a:gd name="connsiteY198" fmla="*/ 1126373 h 3276857"/>
                <a:gd name="connsiteX199" fmla="*/ 227572 w 1246521"/>
                <a:gd name="connsiteY199" fmla="*/ 1148056 h 3276857"/>
                <a:gd name="connsiteX200" fmla="*/ 28120 w 1246521"/>
                <a:gd name="connsiteY200" fmla="*/ 1032412 h 3276857"/>
                <a:gd name="connsiteX201" fmla="*/ 0 w 1246521"/>
                <a:gd name="connsiteY201" fmla="*/ 977876 h 3276857"/>
                <a:gd name="connsiteX202" fmla="*/ 8174 w 1246521"/>
                <a:gd name="connsiteY202" fmla="*/ 956193 h 3276857"/>
                <a:gd name="connsiteX203" fmla="*/ 689261 w 1246521"/>
                <a:gd name="connsiteY203" fmla="*/ 872337 h 3276857"/>
                <a:gd name="connsiteX204" fmla="*/ 712545 w 1246521"/>
                <a:gd name="connsiteY204" fmla="*/ 874638 h 3276857"/>
                <a:gd name="connsiteX205" fmla="*/ 745340 w 1246521"/>
                <a:gd name="connsiteY205" fmla="*/ 931818 h 3276857"/>
                <a:gd name="connsiteX206" fmla="*/ 712545 w 1246521"/>
                <a:gd name="connsiteY206" fmla="*/ 950879 h 3276857"/>
                <a:gd name="connsiteX207" fmla="*/ 679750 w 1246521"/>
                <a:gd name="connsiteY207" fmla="*/ 893698 h 3276857"/>
                <a:gd name="connsiteX208" fmla="*/ 689261 w 1246521"/>
                <a:gd name="connsiteY208" fmla="*/ 872337 h 3276857"/>
                <a:gd name="connsiteX209" fmla="*/ 571319 w 1246521"/>
                <a:gd name="connsiteY209" fmla="*/ 806147 h 3276857"/>
                <a:gd name="connsiteX210" fmla="*/ 594133 w 1246521"/>
                <a:gd name="connsiteY210" fmla="*/ 808463 h 3276857"/>
                <a:gd name="connsiteX211" fmla="*/ 627257 w 1246521"/>
                <a:gd name="connsiteY211" fmla="*/ 866030 h 3276857"/>
                <a:gd name="connsiteX212" fmla="*/ 594133 w 1246521"/>
                <a:gd name="connsiteY212" fmla="*/ 885219 h 3276857"/>
                <a:gd name="connsiteX213" fmla="*/ 561658 w 1246521"/>
                <a:gd name="connsiteY213" fmla="*/ 827652 h 3276857"/>
                <a:gd name="connsiteX214" fmla="*/ 571319 w 1246521"/>
                <a:gd name="connsiteY214" fmla="*/ 806147 h 3276857"/>
                <a:gd name="connsiteX215" fmla="*/ 455957 w 1246521"/>
                <a:gd name="connsiteY215" fmla="*/ 739485 h 3276857"/>
                <a:gd name="connsiteX216" fmla="*/ 479242 w 1246521"/>
                <a:gd name="connsiteY216" fmla="*/ 741553 h 3276857"/>
                <a:gd name="connsiteX217" fmla="*/ 512038 w 1246521"/>
                <a:gd name="connsiteY217" fmla="*/ 799120 h 3276857"/>
                <a:gd name="connsiteX218" fmla="*/ 479242 w 1246521"/>
                <a:gd name="connsiteY218" fmla="*/ 818309 h 3276857"/>
                <a:gd name="connsiteX219" fmla="*/ 446446 w 1246521"/>
                <a:gd name="connsiteY219" fmla="*/ 760742 h 3276857"/>
                <a:gd name="connsiteX220" fmla="*/ 455957 w 1246521"/>
                <a:gd name="connsiteY220" fmla="*/ 739485 h 3276857"/>
                <a:gd name="connsiteX221" fmla="*/ 343886 w 1246521"/>
                <a:gd name="connsiteY221" fmla="*/ 670715 h 3276857"/>
                <a:gd name="connsiteX222" fmla="*/ 366575 w 1246521"/>
                <a:gd name="connsiteY222" fmla="*/ 673016 h 3276857"/>
                <a:gd name="connsiteX223" fmla="*/ 399698 w 1246521"/>
                <a:gd name="connsiteY223" fmla="*/ 730196 h 3276857"/>
                <a:gd name="connsiteX224" fmla="*/ 366575 w 1246521"/>
                <a:gd name="connsiteY224" fmla="*/ 749257 h 3276857"/>
                <a:gd name="connsiteX225" fmla="*/ 334114 w 1246521"/>
                <a:gd name="connsiteY225" fmla="*/ 692076 h 3276857"/>
                <a:gd name="connsiteX226" fmla="*/ 343886 w 1246521"/>
                <a:gd name="connsiteY226" fmla="*/ 670715 h 3276857"/>
                <a:gd name="connsiteX227" fmla="*/ 1161624 w 1246521"/>
                <a:gd name="connsiteY227" fmla="*/ 636026 h 3276857"/>
                <a:gd name="connsiteX228" fmla="*/ 1228375 w 1246521"/>
                <a:gd name="connsiteY228" fmla="*/ 675092 h 3276857"/>
                <a:gd name="connsiteX229" fmla="*/ 1246521 w 1246521"/>
                <a:gd name="connsiteY229" fmla="*/ 709600 h 3276857"/>
                <a:gd name="connsiteX230" fmla="*/ 1246521 w 1246521"/>
                <a:gd name="connsiteY230" fmla="*/ 780570 h 3276857"/>
                <a:gd name="connsiteX231" fmla="*/ 1228375 w 1246521"/>
                <a:gd name="connsiteY231" fmla="*/ 794243 h 3276857"/>
                <a:gd name="connsiteX232" fmla="*/ 1161624 w 1246521"/>
                <a:gd name="connsiteY232" fmla="*/ 755828 h 3276857"/>
                <a:gd name="connsiteX233" fmla="*/ 1143478 w 1246521"/>
                <a:gd name="connsiteY233" fmla="*/ 720669 h 3276857"/>
                <a:gd name="connsiteX234" fmla="*/ 1143478 w 1246521"/>
                <a:gd name="connsiteY234" fmla="*/ 650350 h 3276857"/>
                <a:gd name="connsiteX235" fmla="*/ 1161624 w 1246521"/>
                <a:gd name="connsiteY235" fmla="*/ 636026 h 3276857"/>
                <a:gd name="connsiteX236" fmla="*/ 8174 w 1246521"/>
                <a:gd name="connsiteY236" fmla="*/ 478145 h 3276857"/>
                <a:gd name="connsiteX237" fmla="*/ 28120 w 1246521"/>
                <a:gd name="connsiteY237" fmla="*/ 478720 h 3276857"/>
                <a:gd name="connsiteX238" fmla="*/ 227572 w 1246521"/>
                <a:gd name="connsiteY238" fmla="*/ 594363 h 3276857"/>
                <a:gd name="connsiteX239" fmla="*/ 255692 w 1246521"/>
                <a:gd name="connsiteY239" fmla="*/ 648900 h 3276857"/>
                <a:gd name="connsiteX240" fmla="*/ 227572 w 1246521"/>
                <a:gd name="connsiteY240" fmla="*/ 670583 h 3276857"/>
                <a:gd name="connsiteX241" fmla="*/ 28120 w 1246521"/>
                <a:gd name="connsiteY241" fmla="*/ 554282 h 3276857"/>
                <a:gd name="connsiteX242" fmla="*/ 0 w 1246521"/>
                <a:gd name="connsiteY242" fmla="*/ 499746 h 3276857"/>
                <a:gd name="connsiteX243" fmla="*/ 8174 w 1246521"/>
                <a:gd name="connsiteY243" fmla="*/ 478145 h 3276857"/>
                <a:gd name="connsiteX244" fmla="*/ 689261 w 1246521"/>
                <a:gd name="connsiteY244" fmla="*/ 394206 h 3276857"/>
                <a:gd name="connsiteX245" fmla="*/ 712545 w 1246521"/>
                <a:gd name="connsiteY245" fmla="*/ 396507 h 3276857"/>
                <a:gd name="connsiteX246" fmla="*/ 745340 w 1246521"/>
                <a:gd name="connsiteY246" fmla="*/ 453687 h 3276857"/>
                <a:gd name="connsiteX247" fmla="*/ 712545 w 1246521"/>
                <a:gd name="connsiteY247" fmla="*/ 472748 h 3276857"/>
                <a:gd name="connsiteX248" fmla="*/ 679750 w 1246521"/>
                <a:gd name="connsiteY248" fmla="*/ 415567 h 3276857"/>
                <a:gd name="connsiteX249" fmla="*/ 689261 w 1246521"/>
                <a:gd name="connsiteY249" fmla="*/ 394206 h 3276857"/>
                <a:gd name="connsiteX250" fmla="*/ 571319 w 1246521"/>
                <a:gd name="connsiteY250" fmla="*/ 327602 h 3276857"/>
                <a:gd name="connsiteX251" fmla="*/ 594133 w 1246521"/>
                <a:gd name="connsiteY251" fmla="*/ 329670 h 3276857"/>
                <a:gd name="connsiteX252" fmla="*/ 627257 w 1246521"/>
                <a:gd name="connsiteY252" fmla="*/ 387237 h 3276857"/>
                <a:gd name="connsiteX253" fmla="*/ 594133 w 1246521"/>
                <a:gd name="connsiteY253" fmla="*/ 406426 h 3276857"/>
                <a:gd name="connsiteX254" fmla="*/ 561658 w 1246521"/>
                <a:gd name="connsiteY254" fmla="*/ 348859 h 3276857"/>
                <a:gd name="connsiteX255" fmla="*/ 571319 w 1246521"/>
                <a:gd name="connsiteY255" fmla="*/ 327602 h 3276857"/>
                <a:gd name="connsiteX256" fmla="*/ 455957 w 1246521"/>
                <a:gd name="connsiteY256" fmla="*/ 261438 h 3276857"/>
                <a:gd name="connsiteX257" fmla="*/ 479242 w 1246521"/>
                <a:gd name="connsiteY257" fmla="*/ 263423 h 3276857"/>
                <a:gd name="connsiteX258" fmla="*/ 512038 w 1246521"/>
                <a:gd name="connsiteY258" fmla="*/ 320990 h 3276857"/>
                <a:gd name="connsiteX259" fmla="*/ 479242 w 1246521"/>
                <a:gd name="connsiteY259" fmla="*/ 340179 h 3276857"/>
                <a:gd name="connsiteX260" fmla="*/ 446446 w 1246521"/>
                <a:gd name="connsiteY260" fmla="*/ 283274 h 3276857"/>
                <a:gd name="connsiteX261" fmla="*/ 455957 w 1246521"/>
                <a:gd name="connsiteY261" fmla="*/ 261438 h 3276857"/>
                <a:gd name="connsiteX262" fmla="*/ 343886 w 1246521"/>
                <a:gd name="connsiteY262" fmla="*/ 195439 h 3276857"/>
                <a:gd name="connsiteX263" fmla="*/ 366575 w 1246521"/>
                <a:gd name="connsiteY263" fmla="*/ 197838 h 3276857"/>
                <a:gd name="connsiteX264" fmla="*/ 399698 w 1246521"/>
                <a:gd name="connsiteY264" fmla="*/ 254743 h 3276857"/>
                <a:gd name="connsiteX265" fmla="*/ 366575 w 1246521"/>
                <a:gd name="connsiteY265" fmla="*/ 273932 h 3276857"/>
                <a:gd name="connsiteX266" fmla="*/ 334114 w 1246521"/>
                <a:gd name="connsiteY266" fmla="*/ 216365 h 3276857"/>
                <a:gd name="connsiteX267" fmla="*/ 343886 w 1246521"/>
                <a:gd name="connsiteY267" fmla="*/ 195439 h 3276857"/>
                <a:gd name="connsiteX268" fmla="*/ 8174 w 1246521"/>
                <a:gd name="connsiteY268" fmla="*/ 2948 h 3276857"/>
                <a:gd name="connsiteX269" fmla="*/ 28120 w 1246521"/>
                <a:gd name="connsiteY269" fmla="*/ 3439 h 3276857"/>
                <a:gd name="connsiteX270" fmla="*/ 227572 w 1246521"/>
                <a:gd name="connsiteY270" fmla="*/ 118723 h 3276857"/>
                <a:gd name="connsiteX271" fmla="*/ 255692 w 1246521"/>
                <a:gd name="connsiteY271" fmla="*/ 173091 h 3276857"/>
                <a:gd name="connsiteX272" fmla="*/ 227572 w 1246521"/>
                <a:gd name="connsiteY272" fmla="*/ 194706 h 3276857"/>
                <a:gd name="connsiteX273" fmla="*/ 28120 w 1246521"/>
                <a:gd name="connsiteY273" fmla="*/ 78767 h 3276857"/>
                <a:gd name="connsiteX274" fmla="*/ 0 w 1246521"/>
                <a:gd name="connsiteY274" fmla="*/ 25055 h 3276857"/>
                <a:gd name="connsiteX275" fmla="*/ 8174 w 1246521"/>
                <a:gd name="connsiteY275" fmla="*/ 2948 h 327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1246521" h="3276857">
                  <a:moveTo>
                    <a:pt x="571319" y="3193503"/>
                  </a:moveTo>
                  <a:cubicBezTo>
                    <a:pt x="577246" y="3190112"/>
                    <a:pt x="585364" y="3190608"/>
                    <a:pt x="594133" y="3195571"/>
                  </a:cubicBezTo>
                  <a:cubicBezTo>
                    <a:pt x="612318" y="3206158"/>
                    <a:pt x="627257" y="3231963"/>
                    <a:pt x="627257" y="3253138"/>
                  </a:cubicBezTo>
                  <a:cubicBezTo>
                    <a:pt x="627257" y="3274312"/>
                    <a:pt x="612318" y="3282914"/>
                    <a:pt x="594133" y="3272327"/>
                  </a:cubicBezTo>
                  <a:cubicBezTo>
                    <a:pt x="576596" y="3261740"/>
                    <a:pt x="561658" y="3236595"/>
                    <a:pt x="561658" y="3214760"/>
                  </a:cubicBezTo>
                  <a:cubicBezTo>
                    <a:pt x="561658" y="3204173"/>
                    <a:pt x="565392" y="3196894"/>
                    <a:pt x="571319" y="3193503"/>
                  </a:cubicBezTo>
                  <a:close/>
                  <a:moveTo>
                    <a:pt x="455957" y="3127779"/>
                  </a:moveTo>
                  <a:cubicBezTo>
                    <a:pt x="461860" y="3124328"/>
                    <a:pt x="470059" y="3124985"/>
                    <a:pt x="479242" y="3130572"/>
                  </a:cubicBezTo>
                  <a:cubicBezTo>
                    <a:pt x="497608" y="3141088"/>
                    <a:pt x="512038" y="3166063"/>
                    <a:pt x="512038" y="3187096"/>
                  </a:cubicBezTo>
                  <a:cubicBezTo>
                    <a:pt x="512038" y="3208128"/>
                    <a:pt x="497608" y="3216672"/>
                    <a:pt x="479242" y="3206156"/>
                  </a:cubicBezTo>
                  <a:cubicBezTo>
                    <a:pt x="460876" y="3195640"/>
                    <a:pt x="446446" y="3170007"/>
                    <a:pt x="446446" y="3149632"/>
                  </a:cubicBezTo>
                  <a:cubicBezTo>
                    <a:pt x="446446" y="3138787"/>
                    <a:pt x="450054" y="3131229"/>
                    <a:pt x="455957" y="3127779"/>
                  </a:cubicBezTo>
                  <a:close/>
                  <a:moveTo>
                    <a:pt x="343886" y="3061339"/>
                  </a:moveTo>
                  <a:cubicBezTo>
                    <a:pt x="349848" y="3057948"/>
                    <a:pt x="357963" y="3058444"/>
                    <a:pt x="366575" y="3063738"/>
                  </a:cubicBezTo>
                  <a:cubicBezTo>
                    <a:pt x="385123" y="3073663"/>
                    <a:pt x="399698" y="3099469"/>
                    <a:pt x="399698" y="3121305"/>
                  </a:cubicBezTo>
                  <a:cubicBezTo>
                    <a:pt x="399698" y="3141817"/>
                    <a:pt x="385123" y="3150419"/>
                    <a:pt x="366575" y="3139832"/>
                  </a:cubicBezTo>
                  <a:cubicBezTo>
                    <a:pt x="349351" y="3129245"/>
                    <a:pt x="334114" y="3104101"/>
                    <a:pt x="334114" y="3082265"/>
                  </a:cubicBezTo>
                  <a:cubicBezTo>
                    <a:pt x="334114" y="3072009"/>
                    <a:pt x="337923" y="3064730"/>
                    <a:pt x="343886" y="3061339"/>
                  </a:cubicBezTo>
                  <a:close/>
                  <a:moveTo>
                    <a:pt x="1148663" y="3018199"/>
                  </a:moveTo>
                  <a:cubicBezTo>
                    <a:pt x="1151903" y="3015757"/>
                    <a:pt x="1156440" y="3015757"/>
                    <a:pt x="1161624" y="3018687"/>
                  </a:cubicBezTo>
                  <a:lnTo>
                    <a:pt x="1228375" y="3057103"/>
                  </a:lnTo>
                  <a:cubicBezTo>
                    <a:pt x="1238096" y="3062963"/>
                    <a:pt x="1246521" y="3078589"/>
                    <a:pt x="1246521" y="3091611"/>
                  </a:cubicBezTo>
                  <a:lnTo>
                    <a:pt x="1246521" y="3162582"/>
                  </a:lnTo>
                  <a:cubicBezTo>
                    <a:pt x="1246521" y="3176255"/>
                    <a:pt x="1238096" y="3182115"/>
                    <a:pt x="1228375" y="3176255"/>
                  </a:cubicBezTo>
                  <a:lnTo>
                    <a:pt x="1161624" y="3137840"/>
                  </a:lnTo>
                  <a:cubicBezTo>
                    <a:pt x="1151255" y="3131980"/>
                    <a:pt x="1143478" y="3116353"/>
                    <a:pt x="1143478" y="3102680"/>
                  </a:cubicBezTo>
                  <a:lnTo>
                    <a:pt x="1143478" y="3032360"/>
                  </a:lnTo>
                  <a:cubicBezTo>
                    <a:pt x="1143478" y="3025524"/>
                    <a:pt x="1145422" y="3020640"/>
                    <a:pt x="1148663" y="3018199"/>
                  </a:cubicBezTo>
                  <a:close/>
                  <a:moveTo>
                    <a:pt x="8174" y="2863117"/>
                  </a:moveTo>
                  <a:cubicBezTo>
                    <a:pt x="13243" y="2859174"/>
                    <a:pt x="20273" y="2859010"/>
                    <a:pt x="28120" y="2863610"/>
                  </a:cubicBezTo>
                  <a:lnTo>
                    <a:pt x="227572" y="2979253"/>
                  </a:lnTo>
                  <a:cubicBezTo>
                    <a:pt x="243267" y="2988452"/>
                    <a:pt x="255692" y="3012764"/>
                    <a:pt x="255692" y="3033790"/>
                  </a:cubicBezTo>
                  <a:cubicBezTo>
                    <a:pt x="255692" y="3054816"/>
                    <a:pt x="243267" y="3064015"/>
                    <a:pt x="227572" y="3055473"/>
                  </a:cubicBezTo>
                  <a:lnTo>
                    <a:pt x="28120" y="2939829"/>
                  </a:lnTo>
                  <a:cubicBezTo>
                    <a:pt x="12425" y="2930630"/>
                    <a:pt x="0" y="2906319"/>
                    <a:pt x="0" y="2885293"/>
                  </a:cubicBezTo>
                  <a:cubicBezTo>
                    <a:pt x="0" y="2874780"/>
                    <a:pt x="3106" y="2867059"/>
                    <a:pt x="8174" y="2863117"/>
                  </a:cubicBezTo>
                  <a:close/>
                  <a:moveTo>
                    <a:pt x="689261" y="2776382"/>
                  </a:moveTo>
                  <a:cubicBezTo>
                    <a:pt x="695164" y="2772931"/>
                    <a:pt x="703363" y="2773588"/>
                    <a:pt x="712545" y="2779175"/>
                  </a:cubicBezTo>
                  <a:cubicBezTo>
                    <a:pt x="730910" y="2789034"/>
                    <a:pt x="745340" y="2814666"/>
                    <a:pt x="745340" y="2835698"/>
                  </a:cubicBezTo>
                  <a:cubicBezTo>
                    <a:pt x="745340" y="2856730"/>
                    <a:pt x="730910" y="2865275"/>
                    <a:pt x="712545" y="2854759"/>
                  </a:cubicBezTo>
                  <a:cubicBezTo>
                    <a:pt x="694180" y="2844243"/>
                    <a:pt x="679750" y="2818610"/>
                    <a:pt x="679750" y="2798235"/>
                  </a:cubicBezTo>
                  <a:cubicBezTo>
                    <a:pt x="679750" y="2787391"/>
                    <a:pt x="683357" y="2779832"/>
                    <a:pt x="689261" y="2776382"/>
                  </a:cubicBezTo>
                  <a:close/>
                  <a:moveTo>
                    <a:pt x="571319" y="2709943"/>
                  </a:moveTo>
                  <a:cubicBezTo>
                    <a:pt x="577246" y="2706552"/>
                    <a:pt x="585364" y="2707048"/>
                    <a:pt x="594133" y="2712342"/>
                  </a:cubicBezTo>
                  <a:cubicBezTo>
                    <a:pt x="612318" y="2722267"/>
                    <a:pt x="627257" y="2748073"/>
                    <a:pt x="627257" y="2769247"/>
                  </a:cubicBezTo>
                  <a:cubicBezTo>
                    <a:pt x="627257" y="2790421"/>
                    <a:pt x="612318" y="2799023"/>
                    <a:pt x="594133" y="2788436"/>
                  </a:cubicBezTo>
                  <a:cubicBezTo>
                    <a:pt x="576596" y="2777849"/>
                    <a:pt x="561658" y="2752705"/>
                    <a:pt x="561658" y="2730869"/>
                  </a:cubicBezTo>
                  <a:cubicBezTo>
                    <a:pt x="561658" y="2720613"/>
                    <a:pt x="565393" y="2713334"/>
                    <a:pt x="571319" y="2709943"/>
                  </a:cubicBezTo>
                  <a:close/>
                  <a:moveTo>
                    <a:pt x="455957" y="2643449"/>
                  </a:moveTo>
                  <a:cubicBezTo>
                    <a:pt x="461860" y="2639975"/>
                    <a:pt x="470059" y="2640472"/>
                    <a:pt x="479242" y="2645434"/>
                  </a:cubicBezTo>
                  <a:cubicBezTo>
                    <a:pt x="497608" y="2656683"/>
                    <a:pt x="512038" y="2682489"/>
                    <a:pt x="512038" y="2703001"/>
                  </a:cubicBezTo>
                  <a:cubicBezTo>
                    <a:pt x="512038" y="2724175"/>
                    <a:pt x="497608" y="2732777"/>
                    <a:pt x="479242" y="2722190"/>
                  </a:cubicBezTo>
                  <a:cubicBezTo>
                    <a:pt x="460876" y="2711603"/>
                    <a:pt x="446446" y="2686459"/>
                    <a:pt x="446446" y="2665285"/>
                  </a:cubicBezTo>
                  <a:cubicBezTo>
                    <a:pt x="446446" y="2654367"/>
                    <a:pt x="450054" y="2646923"/>
                    <a:pt x="455957" y="2643449"/>
                  </a:cubicBezTo>
                  <a:close/>
                  <a:moveTo>
                    <a:pt x="343886" y="2577449"/>
                  </a:moveTo>
                  <a:cubicBezTo>
                    <a:pt x="349848" y="2574058"/>
                    <a:pt x="357963" y="2574554"/>
                    <a:pt x="366575" y="2579848"/>
                  </a:cubicBezTo>
                  <a:cubicBezTo>
                    <a:pt x="385123" y="2590435"/>
                    <a:pt x="399698" y="2615579"/>
                    <a:pt x="399698" y="2637415"/>
                  </a:cubicBezTo>
                  <a:cubicBezTo>
                    <a:pt x="399698" y="2657927"/>
                    <a:pt x="385123" y="2666529"/>
                    <a:pt x="366575" y="2656604"/>
                  </a:cubicBezTo>
                  <a:cubicBezTo>
                    <a:pt x="349351" y="2646017"/>
                    <a:pt x="334114" y="2619549"/>
                    <a:pt x="334114" y="2598375"/>
                  </a:cubicBezTo>
                  <a:cubicBezTo>
                    <a:pt x="334114" y="2588119"/>
                    <a:pt x="337923" y="2580840"/>
                    <a:pt x="343886" y="2577449"/>
                  </a:cubicBezTo>
                  <a:close/>
                  <a:moveTo>
                    <a:pt x="1148663" y="2540313"/>
                  </a:moveTo>
                  <a:cubicBezTo>
                    <a:pt x="1151903" y="2537790"/>
                    <a:pt x="1156440" y="2537627"/>
                    <a:pt x="1161624" y="2540557"/>
                  </a:cubicBezTo>
                  <a:lnTo>
                    <a:pt x="1228375" y="2578973"/>
                  </a:lnTo>
                  <a:cubicBezTo>
                    <a:pt x="1238096" y="2584833"/>
                    <a:pt x="1246521" y="2600459"/>
                    <a:pt x="1246521" y="2613481"/>
                  </a:cubicBezTo>
                  <a:lnTo>
                    <a:pt x="1246521" y="2685103"/>
                  </a:lnTo>
                  <a:cubicBezTo>
                    <a:pt x="1246521" y="2697474"/>
                    <a:pt x="1238096" y="2703985"/>
                    <a:pt x="1228375" y="2698125"/>
                  </a:cubicBezTo>
                  <a:lnTo>
                    <a:pt x="1161624" y="2659710"/>
                  </a:lnTo>
                  <a:cubicBezTo>
                    <a:pt x="1151255" y="2653850"/>
                    <a:pt x="1143478" y="2638223"/>
                    <a:pt x="1143478" y="2625201"/>
                  </a:cubicBezTo>
                  <a:lnTo>
                    <a:pt x="1143478" y="2554230"/>
                  </a:lnTo>
                  <a:cubicBezTo>
                    <a:pt x="1143478" y="2547719"/>
                    <a:pt x="1145422" y="2542836"/>
                    <a:pt x="1148663" y="2540313"/>
                  </a:cubicBezTo>
                  <a:close/>
                  <a:moveTo>
                    <a:pt x="8174" y="2384576"/>
                  </a:moveTo>
                  <a:cubicBezTo>
                    <a:pt x="13243" y="2380716"/>
                    <a:pt x="20273" y="2380552"/>
                    <a:pt x="28120" y="2384823"/>
                  </a:cubicBezTo>
                  <a:lnTo>
                    <a:pt x="227572" y="2500466"/>
                  </a:lnTo>
                  <a:cubicBezTo>
                    <a:pt x="243267" y="2509665"/>
                    <a:pt x="255692" y="2533977"/>
                    <a:pt x="255692" y="2555003"/>
                  </a:cubicBezTo>
                  <a:cubicBezTo>
                    <a:pt x="255692" y="2576029"/>
                    <a:pt x="243267" y="2585885"/>
                    <a:pt x="227572" y="2576686"/>
                  </a:cubicBezTo>
                  <a:lnTo>
                    <a:pt x="28120" y="2461042"/>
                  </a:lnTo>
                  <a:cubicBezTo>
                    <a:pt x="12425" y="2451843"/>
                    <a:pt x="0" y="2427532"/>
                    <a:pt x="0" y="2406506"/>
                  </a:cubicBezTo>
                  <a:cubicBezTo>
                    <a:pt x="0" y="2395993"/>
                    <a:pt x="3106" y="2388436"/>
                    <a:pt x="8174" y="2384576"/>
                  </a:cubicBezTo>
                  <a:close/>
                  <a:moveTo>
                    <a:pt x="689261" y="2300940"/>
                  </a:moveTo>
                  <a:cubicBezTo>
                    <a:pt x="695164" y="2297549"/>
                    <a:pt x="703363" y="2298045"/>
                    <a:pt x="712545" y="2303339"/>
                  </a:cubicBezTo>
                  <a:cubicBezTo>
                    <a:pt x="730910" y="2313264"/>
                    <a:pt x="745340" y="2339070"/>
                    <a:pt x="745340" y="2360906"/>
                  </a:cubicBezTo>
                  <a:cubicBezTo>
                    <a:pt x="745340" y="2381418"/>
                    <a:pt x="730910" y="2390020"/>
                    <a:pt x="712545" y="2379433"/>
                  </a:cubicBezTo>
                  <a:cubicBezTo>
                    <a:pt x="694180" y="2369508"/>
                    <a:pt x="679750" y="2343040"/>
                    <a:pt x="679750" y="2321866"/>
                  </a:cubicBezTo>
                  <a:cubicBezTo>
                    <a:pt x="679750" y="2311610"/>
                    <a:pt x="683357" y="2304331"/>
                    <a:pt x="689261" y="2300940"/>
                  </a:cubicBezTo>
                  <a:close/>
                  <a:moveTo>
                    <a:pt x="571319" y="2234529"/>
                  </a:moveTo>
                  <a:cubicBezTo>
                    <a:pt x="577246" y="2231138"/>
                    <a:pt x="585364" y="2231799"/>
                    <a:pt x="594133" y="2237093"/>
                  </a:cubicBezTo>
                  <a:cubicBezTo>
                    <a:pt x="612318" y="2247680"/>
                    <a:pt x="627257" y="2273486"/>
                    <a:pt x="627257" y="2293998"/>
                  </a:cubicBezTo>
                  <a:cubicBezTo>
                    <a:pt x="627257" y="2315172"/>
                    <a:pt x="612318" y="2323774"/>
                    <a:pt x="594133" y="2313187"/>
                  </a:cubicBezTo>
                  <a:cubicBezTo>
                    <a:pt x="576596" y="2302600"/>
                    <a:pt x="561658" y="2277456"/>
                    <a:pt x="561658" y="2256282"/>
                  </a:cubicBezTo>
                  <a:cubicBezTo>
                    <a:pt x="561658" y="2245364"/>
                    <a:pt x="565393" y="2237920"/>
                    <a:pt x="571319" y="2234529"/>
                  </a:cubicBezTo>
                  <a:close/>
                  <a:moveTo>
                    <a:pt x="455957" y="2168339"/>
                  </a:moveTo>
                  <a:cubicBezTo>
                    <a:pt x="461860" y="2164945"/>
                    <a:pt x="470059" y="2165429"/>
                    <a:pt x="479242" y="2170602"/>
                  </a:cubicBezTo>
                  <a:cubicBezTo>
                    <a:pt x="497608" y="2180948"/>
                    <a:pt x="512038" y="2206166"/>
                    <a:pt x="512038" y="2225564"/>
                  </a:cubicBezTo>
                  <a:cubicBezTo>
                    <a:pt x="512038" y="2246255"/>
                    <a:pt x="497608" y="2254661"/>
                    <a:pt x="479242" y="2244962"/>
                  </a:cubicBezTo>
                  <a:cubicBezTo>
                    <a:pt x="460876" y="2233970"/>
                    <a:pt x="446446" y="2209399"/>
                    <a:pt x="446446" y="2189354"/>
                  </a:cubicBezTo>
                  <a:cubicBezTo>
                    <a:pt x="446446" y="2179008"/>
                    <a:pt x="450054" y="2171734"/>
                    <a:pt x="455957" y="2168339"/>
                  </a:cubicBezTo>
                  <a:close/>
                  <a:moveTo>
                    <a:pt x="343886" y="2102283"/>
                  </a:moveTo>
                  <a:cubicBezTo>
                    <a:pt x="349848" y="2098809"/>
                    <a:pt x="357963" y="2099305"/>
                    <a:pt x="366575" y="2104599"/>
                  </a:cubicBezTo>
                  <a:cubicBezTo>
                    <a:pt x="385123" y="2115186"/>
                    <a:pt x="399698" y="2140992"/>
                    <a:pt x="399698" y="2162166"/>
                  </a:cubicBezTo>
                  <a:cubicBezTo>
                    <a:pt x="399698" y="2182678"/>
                    <a:pt x="385123" y="2191280"/>
                    <a:pt x="366575" y="2180693"/>
                  </a:cubicBezTo>
                  <a:cubicBezTo>
                    <a:pt x="349351" y="2170106"/>
                    <a:pt x="334114" y="2144962"/>
                    <a:pt x="334114" y="2123788"/>
                  </a:cubicBezTo>
                  <a:cubicBezTo>
                    <a:pt x="334114" y="2113201"/>
                    <a:pt x="337923" y="2105757"/>
                    <a:pt x="343886" y="2102283"/>
                  </a:cubicBezTo>
                  <a:close/>
                  <a:moveTo>
                    <a:pt x="1148663" y="2065085"/>
                  </a:moveTo>
                  <a:cubicBezTo>
                    <a:pt x="1151903" y="2062552"/>
                    <a:pt x="1156440" y="2062388"/>
                    <a:pt x="1161624" y="2065330"/>
                  </a:cubicBezTo>
                  <a:lnTo>
                    <a:pt x="1228375" y="2103892"/>
                  </a:lnTo>
                  <a:cubicBezTo>
                    <a:pt x="1238096" y="2109775"/>
                    <a:pt x="1246521" y="2125461"/>
                    <a:pt x="1246521" y="2139187"/>
                  </a:cubicBezTo>
                  <a:lnTo>
                    <a:pt x="1246521" y="2209776"/>
                  </a:lnTo>
                  <a:cubicBezTo>
                    <a:pt x="1246521" y="2222848"/>
                    <a:pt x="1238096" y="2228731"/>
                    <a:pt x="1228375" y="2223502"/>
                  </a:cubicBezTo>
                  <a:lnTo>
                    <a:pt x="1161624" y="2184939"/>
                  </a:lnTo>
                  <a:cubicBezTo>
                    <a:pt x="1151255" y="2179057"/>
                    <a:pt x="1143478" y="2163370"/>
                    <a:pt x="1143478" y="2150298"/>
                  </a:cubicBezTo>
                  <a:lnTo>
                    <a:pt x="1143478" y="2079055"/>
                  </a:lnTo>
                  <a:cubicBezTo>
                    <a:pt x="1143478" y="2072519"/>
                    <a:pt x="1145422" y="2067617"/>
                    <a:pt x="1148663" y="2065085"/>
                  </a:cubicBezTo>
                  <a:close/>
                  <a:moveTo>
                    <a:pt x="8174" y="1909324"/>
                  </a:moveTo>
                  <a:cubicBezTo>
                    <a:pt x="13243" y="1905464"/>
                    <a:pt x="20273" y="1905300"/>
                    <a:pt x="28120" y="1909571"/>
                  </a:cubicBezTo>
                  <a:lnTo>
                    <a:pt x="227572" y="2025872"/>
                  </a:lnTo>
                  <a:cubicBezTo>
                    <a:pt x="243267" y="2034414"/>
                    <a:pt x="255692" y="2058726"/>
                    <a:pt x="255692" y="2080409"/>
                  </a:cubicBezTo>
                  <a:cubicBezTo>
                    <a:pt x="255692" y="2100779"/>
                    <a:pt x="243267" y="2110635"/>
                    <a:pt x="227572" y="2101436"/>
                  </a:cubicBezTo>
                  <a:lnTo>
                    <a:pt x="28120" y="1985791"/>
                  </a:lnTo>
                  <a:cubicBezTo>
                    <a:pt x="12425" y="1976592"/>
                    <a:pt x="0" y="1952280"/>
                    <a:pt x="0" y="1931254"/>
                  </a:cubicBezTo>
                  <a:cubicBezTo>
                    <a:pt x="0" y="1920741"/>
                    <a:pt x="3106" y="1913185"/>
                    <a:pt x="8174" y="1909324"/>
                  </a:cubicBezTo>
                  <a:close/>
                  <a:moveTo>
                    <a:pt x="689261" y="1825691"/>
                  </a:moveTo>
                  <a:cubicBezTo>
                    <a:pt x="695164" y="1822300"/>
                    <a:pt x="703363" y="1822796"/>
                    <a:pt x="712545" y="1828090"/>
                  </a:cubicBezTo>
                  <a:cubicBezTo>
                    <a:pt x="730910" y="1838015"/>
                    <a:pt x="745340" y="1864483"/>
                    <a:pt x="745340" y="1885657"/>
                  </a:cubicBezTo>
                  <a:cubicBezTo>
                    <a:pt x="745340" y="1906169"/>
                    <a:pt x="730910" y="1914771"/>
                    <a:pt x="712545" y="1904184"/>
                  </a:cubicBezTo>
                  <a:cubicBezTo>
                    <a:pt x="694180" y="1893597"/>
                    <a:pt x="679750" y="1868453"/>
                    <a:pt x="679750" y="1846617"/>
                  </a:cubicBezTo>
                  <a:cubicBezTo>
                    <a:pt x="679750" y="1836361"/>
                    <a:pt x="683357" y="1829082"/>
                    <a:pt x="689261" y="1825691"/>
                  </a:cubicBezTo>
                  <a:close/>
                  <a:moveTo>
                    <a:pt x="571319" y="1759470"/>
                  </a:moveTo>
                  <a:cubicBezTo>
                    <a:pt x="577246" y="1756020"/>
                    <a:pt x="585364" y="1756513"/>
                    <a:pt x="594133" y="1761771"/>
                  </a:cubicBezTo>
                  <a:cubicBezTo>
                    <a:pt x="612318" y="1772287"/>
                    <a:pt x="627257" y="1797919"/>
                    <a:pt x="627257" y="1818294"/>
                  </a:cubicBezTo>
                  <a:cubicBezTo>
                    <a:pt x="627257" y="1839983"/>
                    <a:pt x="612318" y="1848528"/>
                    <a:pt x="594133" y="1838012"/>
                  </a:cubicBezTo>
                  <a:cubicBezTo>
                    <a:pt x="576596" y="1826838"/>
                    <a:pt x="561658" y="1801863"/>
                    <a:pt x="561658" y="1780831"/>
                  </a:cubicBezTo>
                  <a:cubicBezTo>
                    <a:pt x="561658" y="1770315"/>
                    <a:pt x="565393" y="1762921"/>
                    <a:pt x="571319" y="1759470"/>
                  </a:cubicBezTo>
                  <a:close/>
                  <a:moveTo>
                    <a:pt x="455957" y="1690316"/>
                  </a:moveTo>
                  <a:cubicBezTo>
                    <a:pt x="461860" y="1686925"/>
                    <a:pt x="470059" y="1687421"/>
                    <a:pt x="479242" y="1692715"/>
                  </a:cubicBezTo>
                  <a:cubicBezTo>
                    <a:pt x="497608" y="1703302"/>
                    <a:pt x="512038" y="1729108"/>
                    <a:pt x="512038" y="1750282"/>
                  </a:cubicBezTo>
                  <a:cubicBezTo>
                    <a:pt x="512038" y="1770794"/>
                    <a:pt x="497608" y="1779396"/>
                    <a:pt x="479242" y="1769471"/>
                  </a:cubicBezTo>
                  <a:cubicBezTo>
                    <a:pt x="460876" y="1758884"/>
                    <a:pt x="446446" y="1733078"/>
                    <a:pt x="446446" y="1711242"/>
                  </a:cubicBezTo>
                  <a:cubicBezTo>
                    <a:pt x="446446" y="1700986"/>
                    <a:pt x="450054" y="1693707"/>
                    <a:pt x="455957" y="1690316"/>
                  </a:cubicBezTo>
                  <a:close/>
                  <a:moveTo>
                    <a:pt x="343886" y="1624096"/>
                  </a:moveTo>
                  <a:cubicBezTo>
                    <a:pt x="349848" y="1620646"/>
                    <a:pt x="357963" y="1621139"/>
                    <a:pt x="366575" y="1626397"/>
                  </a:cubicBezTo>
                  <a:cubicBezTo>
                    <a:pt x="385123" y="1636913"/>
                    <a:pt x="399698" y="1662545"/>
                    <a:pt x="399698" y="1683577"/>
                  </a:cubicBezTo>
                  <a:cubicBezTo>
                    <a:pt x="399698" y="1704609"/>
                    <a:pt x="385123" y="1713154"/>
                    <a:pt x="366575" y="1701980"/>
                  </a:cubicBezTo>
                  <a:cubicBezTo>
                    <a:pt x="349351" y="1691464"/>
                    <a:pt x="334114" y="1666489"/>
                    <a:pt x="334114" y="1645457"/>
                  </a:cubicBezTo>
                  <a:cubicBezTo>
                    <a:pt x="334114" y="1634941"/>
                    <a:pt x="337923" y="1627547"/>
                    <a:pt x="343886" y="1624096"/>
                  </a:cubicBezTo>
                  <a:close/>
                  <a:moveTo>
                    <a:pt x="1148663" y="1589813"/>
                  </a:moveTo>
                  <a:cubicBezTo>
                    <a:pt x="1151903" y="1587290"/>
                    <a:pt x="1156440" y="1587127"/>
                    <a:pt x="1161624" y="1590057"/>
                  </a:cubicBezTo>
                  <a:lnTo>
                    <a:pt x="1228375" y="1629124"/>
                  </a:lnTo>
                  <a:cubicBezTo>
                    <a:pt x="1238096" y="1634984"/>
                    <a:pt x="1246521" y="1649959"/>
                    <a:pt x="1246521" y="1663632"/>
                  </a:cubicBezTo>
                  <a:lnTo>
                    <a:pt x="1246521" y="1733952"/>
                  </a:lnTo>
                  <a:cubicBezTo>
                    <a:pt x="1246521" y="1747625"/>
                    <a:pt x="1238096" y="1753485"/>
                    <a:pt x="1228375" y="1747625"/>
                  </a:cubicBezTo>
                  <a:lnTo>
                    <a:pt x="1161624" y="1709210"/>
                  </a:lnTo>
                  <a:cubicBezTo>
                    <a:pt x="1151255" y="1703350"/>
                    <a:pt x="1143478" y="1687723"/>
                    <a:pt x="1143478" y="1674701"/>
                  </a:cubicBezTo>
                  <a:lnTo>
                    <a:pt x="1143478" y="1603730"/>
                  </a:lnTo>
                  <a:cubicBezTo>
                    <a:pt x="1143478" y="1597219"/>
                    <a:pt x="1145422" y="1592336"/>
                    <a:pt x="1148663" y="1589813"/>
                  </a:cubicBezTo>
                  <a:close/>
                  <a:moveTo>
                    <a:pt x="8174" y="1431578"/>
                  </a:moveTo>
                  <a:cubicBezTo>
                    <a:pt x="13243" y="1427648"/>
                    <a:pt x="20273" y="1427484"/>
                    <a:pt x="28120" y="1432069"/>
                  </a:cubicBezTo>
                  <a:lnTo>
                    <a:pt x="227572" y="1548009"/>
                  </a:lnTo>
                  <a:cubicBezTo>
                    <a:pt x="243267" y="1557179"/>
                    <a:pt x="255692" y="1581415"/>
                    <a:pt x="255692" y="1602376"/>
                  </a:cubicBezTo>
                  <a:cubicBezTo>
                    <a:pt x="255692" y="1622681"/>
                    <a:pt x="243267" y="1632507"/>
                    <a:pt x="227572" y="1623336"/>
                  </a:cubicBezTo>
                  <a:lnTo>
                    <a:pt x="28120" y="1508052"/>
                  </a:lnTo>
                  <a:cubicBezTo>
                    <a:pt x="12425" y="1498882"/>
                    <a:pt x="0" y="1474646"/>
                    <a:pt x="0" y="1453685"/>
                  </a:cubicBezTo>
                  <a:cubicBezTo>
                    <a:pt x="0" y="1443205"/>
                    <a:pt x="3106" y="1435508"/>
                    <a:pt x="8174" y="1431578"/>
                  </a:cubicBezTo>
                  <a:close/>
                  <a:moveTo>
                    <a:pt x="689261" y="1347587"/>
                  </a:moveTo>
                  <a:cubicBezTo>
                    <a:pt x="695164" y="1344137"/>
                    <a:pt x="703363" y="1344630"/>
                    <a:pt x="712545" y="1349888"/>
                  </a:cubicBezTo>
                  <a:cubicBezTo>
                    <a:pt x="730910" y="1360404"/>
                    <a:pt x="745340" y="1386036"/>
                    <a:pt x="745340" y="1406411"/>
                  </a:cubicBezTo>
                  <a:cubicBezTo>
                    <a:pt x="745340" y="1428100"/>
                    <a:pt x="730910" y="1436645"/>
                    <a:pt x="712545" y="1425471"/>
                  </a:cubicBezTo>
                  <a:cubicBezTo>
                    <a:pt x="694180" y="1414955"/>
                    <a:pt x="679750" y="1389980"/>
                    <a:pt x="679750" y="1368948"/>
                  </a:cubicBezTo>
                  <a:cubicBezTo>
                    <a:pt x="679750" y="1358432"/>
                    <a:pt x="683357" y="1351038"/>
                    <a:pt x="689261" y="1347587"/>
                  </a:cubicBezTo>
                  <a:close/>
                  <a:moveTo>
                    <a:pt x="571319" y="1281340"/>
                  </a:moveTo>
                  <a:cubicBezTo>
                    <a:pt x="577246" y="1277890"/>
                    <a:pt x="585364" y="1278383"/>
                    <a:pt x="594133" y="1283641"/>
                  </a:cubicBezTo>
                  <a:cubicBezTo>
                    <a:pt x="612318" y="1294157"/>
                    <a:pt x="627257" y="1319789"/>
                    <a:pt x="627257" y="1340821"/>
                  </a:cubicBezTo>
                  <a:cubicBezTo>
                    <a:pt x="627257" y="1361853"/>
                    <a:pt x="612318" y="1370398"/>
                    <a:pt x="594133" y="1359882"/>
                  </a:cubicBezTo>
                  <a:cubicBezTo>
                    <a:pt x="576596" y="1349366"/>
                    <a:pt x="561658" y="1323733"/>
                    <a:pt x="561658" y="1302701"/>
                  </a:cubicBezTo>
                  <a:cubicBezTo>
                    <a:pt x="561658" y="1292185"/>
                    <a:pt x="565393" y="1284791"/>
                    <a:pt x="571319" y="1281340"/>
                  </a:cubicBezTo>
                  <a:close/>
                  <a:moveTo>
                    <a:pt x="455957" y="1215094"/>
                  </a:moveTo>
                  <a:cubicBezTo>
                    <a:pt x="461860" y="1211644"/>
                    <a:pt x="470059" y="1212137"/>
                    <a:pt x="479242" y="1217395"/>
                  </a:cubicBezTo>
                  <a:cubicBezTo>
                    <a:pt x="497608" y="1227911"/>
                    <a:pt x="512038" y="1253543"/>
                    <a:pt x="512038" y="1274575"/>
                  </a:cubicBezTo>
                  <a:cubicBezTo>
                    <a:pt x="512038" y="1294950"/>
                    <a:pt x="497608" y="1304152"/>
                    <a:pt x="479242" y="1293636"/>
                  </a:cubicBezTo>
                  <a:cubicBezTo>
                    <a:pt x="460876" y="1283120"/>
                    <a:pt x="446446" y="1257487"/>
                    <a:pt x="446446" y="1236455"/>
                  </a:cubicBezTo>
                  <a:cubicBezTo>
                    <a:pt x="446446" y="1225939"/>
                    <a:pt x="450054" y="1218545"/>
                    <a:pt x="455957" y="1215094"/>
                  </a:cubicBezTo>
                  <a:close/>
                  <a:moveTo>
                    <a:pt x="343886" y="1148846"/>
                  </a:moveTo>
                  <a:cubicBezTo>
                    <a:pt x="349848" y="1145396"/>
                    <a:pt x="357963" y="1145889"/>
                    <a:pt x="366575" y="1151147"/>
                  </a:cubicBezTo>
                  <a:cubicBezTo>
                    <a:pt x="385123" y="1161663"/>
                    <a:pt x="399698" y="1187295"/>
                    <a:pt x="399698" y="1208327"/>
                  </a:cubicBezTo>
                  <a:cubicBezTo>
                    <a:pt x="399698" y="1229359"/>
                    <a:pt x="385123" y="1237904"/>
                    <a:pt x="366575" y="1227388"/>
                  </a:cubicBezTo>
                  <a:cubicBezTo>
                    <a:pt x="349351" y="1216872"/>
                    <a:pt x="334114" y="1191239"/>
                    <a:pt x="334114" y="1170207"/>
                  </a:cubicBezTo>
                  <a:cubicBezTo>
                    <a:pt x="334114" y="1159691"/>
                    <a:pt x="337923" y="1152297"/>
                    <a:pt x="343886" y="1148846"/>
                  </a:cubicBezTo>
                  <a:close/>
                  <a:moveTo>
                    <a:pt x="1161624" y="1111276"/>
                  </a:moveTo>
                  <a:lnTo>
                    <a:pt x="1228375" y="1150343"/>
                  </a:lnTo>
                  <a:cubicBezTo>
                    <a:pt x="1238096" y="1155551"/>
                    <a:pt x="1246521" y="1171178"/>
                    <a:pt x="1246521" y="1184851"/>
                  </a:cubicBezTo>
                  <a:lnTo>
                    <a:pt x="1246521" y="1255822"/>
                  </a:lnTo>
                  <a:cubicBezTo>
                    <a:pt x="1246521" y="1268844"/>
                    <a:pt x="1238096" y="1275355"/>
                    <a:pt x="1228375" y="1268844"/>
                  </a:cubicBezTo>
                  <a:lnTo>
                    <a:pt x="1161624" y="1230429"/>
                  </a:lnTo>
                  <a:cubicBezTo>
                    <a:pt x="1151255" y="1224569"/>
                    <a:pt x="1143478" y="1209593"/>
                    <a:pt x="1143478" y="1195920"/>
                  </a:cubicBezTo>
                  <a:lnTo>
                    <a:pt x="1143478" y="1125600"/>
                  </a:lnTo>
                  <a:cubicBezTo>
                    <a:pt x="1143478" y="1111927"/>
                    <a:pt x="1151255" y="1106067"/>
                    <a:pt x="1161624" y="1111276"/>
                  </a:cubicBezTo>
                  <a:close/>
                  <a:moveTo>
                    <a:pt x="8174" y="956193"/>
                  </a:moveTo>
                  <a:cubicBezTo>
                    <a:pt x="13243" y="952250"/>
                    <a:pt x="20273" y="951922"/>
                    <a:pt x="28120" y="956193"/>
                  </a:cubicBezTo>
                  <a:lnTo>
                    <a:pt x="227572" y="1072493"/>
                  </a:lnTo>
                  <a:cubicBezTo>
                    <a:pt x="243267" y="1081692"/>
                    <a:pt x="255692" y="1106004"/>
                    <a:pt x="255692" y="1126373"/>
                  </a:cubicBezTo>
                  <a:cubicBezTo>
                    <a:pt x="255692" y="1148056"/>
                    <a:pt x="243267" y="1157255"/>
                    <a:pt x="227572" y="1148056"/>
                  </a:cubicBezTo>
                  <a:lnTo>
                    <a:pt x="28120" y="1032412"/>
                  </a:lnTo>
                  <a:cubicBezTo>
                    <a:pt x="12425" y="1023870"/>
                    <a:pt x="0" y="998902"/>
                    <a:pt x="0" y="977876"/>
                  </a:cubicBezTo>
                  <a:cubicBezTo>
                    <a:pt x="0" y="967691"/>
                    <a:pt x="3106" y="960135"/>
                    <a:pt x="8174" y="956193"/>
                  </a:cubicBezTo>
                  <a:close/>
                  <a:moveTo>
                    <a:pt x="689261" y="872337"/>
                  </a:moveTo>
                  <a:cubicBezTo>
                    <a:pt x="695164" y="868887"/>
                    <a:pt x="703363" y="869380"/>
                    <a:pt x="712545" y="874638"/>
                  </a:cubicBezTo>
                  <a:cubicBezTo>
                    <a:pt x="730910" y="885154"/>
                    <a:pt x="745340" y="910786"/>
                    <a:pt x="745340" y="931818"/>
                  </a:cubicBezTo>
                  <a:cubicBezTo>
                    <a:pt x="745340" y="952850"/>
                    <a:pt x="730910" y="961395"/>
                    <a:pt x="712545" y="950879"/>
                  </a:cubicBezTo>
                  <a:cubicBezTo>
                    <a:pt x="694180" y="940363"/>
                    <a:pt x="679750" y="914730"/>
                    <a:pt x="679750" y="893698"/>
                  </a:cubicBezTo>
                  <a:cubicBezTo>
                    <a:pt x="679750" y="883182"/>
                    <a:pt x="683357" y="875788"/>
                    <a:pt x="689261" y="872337"/>
                  </a:cubicBezTo>
                  <a:close/>
                  <a:moveTo>
                    <a:pt x="571319" y="806147"/>
                  </a:moveTo>
                  <a:cubicBezTo>
                    <a:pt x="577246" y="802673"/>
                    <a:pt x="585364" y="803169"/>
                    <a:pt x="594133" y="808463"/>
                  </a:cubicBezTo>
                  <a:cubicBezTo>
                    <a:pt x="612318" y="819050"/>
                    <a:pt x="627257" y="844856"/>
                    <a:pt x="627257" y="866030"/>
                  </a:cubicBezTo>
                  <a:cubicBezTo>
                    <a:pt x="627257" y="887204"/>
                    <a:pt x="612318" y="895144"/>
                    <a:pt x="594133" y="885219"/>
                  </a:cubicBezTo>
                  <a:cubicBezTo>
                    <a:pt x="576596" y="874632"/>
                    <a:pt x="561658" y="848826"/>
                    <a:pt x="561658" y="827652"/>
                  </a:cubicBezTo>
                  <a:cubicBezTo>
                    <a:pt x="561658" y="817065"/>
                    <a:pt x="565393" y="809621"/>
                    <a:pt x="571319" y="806147"/>
                  </a:cubicBezTo>
                  <a:close/>
                  <a:moveTo>
                    <a:pt x="455957" y="739485"/>
                  </a:moveTo>
                  <a:cubicBezTo>
                    <a:pt x="461860" y="736094"/>
                    <a:pt x="470059" y="736591"/>
                    <a:pt x="479242" y="741553"/>
                  </a:cubicBezTo>
                  <a:cubicBezTo>
                    <a:pt x="497608" y="752140"/>
                    <a:pt x="512038" y="777946"/>
                    <a:pt x="512038" y="799120"/>
                  </a:cubicBezTo>
                  <a:cubicBezTo>
                    <a:pt x="512038" y="820294"/>
                    <a:pt x="497608" y="828896"/>
                    <a:pt x="479242" y="818309"/>
                  </a:cubicBezTo>
                  <a:cubicBezTo>
                    <a:pt x="460876" y="807722"/>
                    <a:pt x="446446" y="781916"/>
                    <a:pt x="446446" y="760742"/>
                  </a:cubicBezTo>
                  <a:cubicBezTo>
                    <a:pt x="446446" y="750155"/>
                    <a:pt x="450054" y="742877"/>
                    <a:pt x="455957" y="739485"/>
                  </a:cubicBezTo>
                  <a:close/>
                  <a:moveTo>
                    <a:pt x="343886" y="670715"/>
                  </a:moveTo>
                  <a:cubicBezTo>
                    <a:pt x="349848" y="667265"/>
                    <a:pt x="357963" y="667758"/>
                    <a:pt x="366575" y="673016"/>
                  </a:cubicBezTo>
                  <a:cubicBezTo>
                    <a:pt x="385123" y="684189"/>
                    <a:pt x="399698" y="709164"/>
                    <a:pt x="399698" y="730196"/>
                  </a:cubicBezTo>
                  <a:cubicBezTo>
                    <a:pt x="399698" y="751228"/>
                    <a:pt x="385123" y="759773"/>
                    <a:pt x="366575" y="749257"/>
                  </a:cubicBezTo>
                  <a:cubicBezTo>
                    <a:pt x="349351" y="738741"/>
                    <a:pt x="334114" y="713108"/>
                    <a:pt x="334114" y="692076"/>
                  </a:cubicBezTo>
                  <a:cubicBezTo>
                    <a:pt x="334114" y="681560"/>
                    <a:pt x="337923" y="674166"/>
                    <a:pt x="343886" y="670715"/>
                  </a:cubicBezTo>
                  <a:close/>
                  <a:moveTo>
                    <a:pt x="1161624" y="636026"/>
                  </a:moveTo>
                  <a:lnTo>
                    <a:pt x="1228375" y="675092"/>
                  </a:lnTo>
                  <a:cubicBezTo>
                    <a:pt x="1238096" y="680301"/>
                    <a:pt x="1246521" y="696578"/>
                    <a:pt x="1246521" y="709600"/>
                  </a:cubicBezTo>
                  <a:lnTo>
                    <a:pt x="1246521" y="780570"/>
                  </a:lnTo>
                  <a:cubicBezTo>
                    <a:pt x="1246521" y="793592"/>
                    <a:pt x="1238096" y="800103"/>
                    <a:pt x="1228375" y="794243"/>
                  </a:cubicBezTo>
                  <a:lnTo>
                    <a:pt x="1161624" y="755828"/>
                  </a:lnTo>
                  <a:cubicBezTo>
                    <a:pt x="1151255" y="749968"/>
                    <a:pt x="1143478" y="734342"/>
                    <a:pt x="1143478" y="720669"/>
                  </a:cubicBezTo>
                  <a:lnTo>
                    <a:pt x="1143478" y="650350"/>
                  </a:lnTo>
                  <a:cubicBezTo>
                    <a:pt x="1143478" y="636677"/>
                    <a:pt x="1151255" y="630817"/>
                    <a:pt x="1161624" y="636026"/>
                  </a:cubicBezTo>
                  <a:close/>
                  <a:moveTo>
                    <a:pt x="8174" y="478145"/>
                  </a:moveTo>
                  <a:cubicBezTo>
                    <a:pt x="13243" y="474285"/>
                    <a:pt x="20273" y="474120"/>
                    <a:pt x="28120" y="478720"/>
                  </a:cubicBezTo>
                  <a:lnTo>
                    <a:pt x="227572" y="594363"/>
                  </a:lnTo>
                  <a:cubicBezTo>
                    <a:pt x="243267" y="603562"/>
                    <a:pt x="255692" y="627874"/>
                    <a:pt x="255692" y="648900"/>
                  </a:cubicBezTo>
                  <a:cubicBezTo>
                    <a:pt x="255692" y="669926"/>
                    <a:pt x="243267" y="679125"/>
                    <a:pt x="227572" y="670583"/>
                  </a:cubicBezTo>
                  <a:lnTo>
                    <a:pt x="28120" y="554282"/>
                  </a:lnTo>
                  <a:cubicBezTo>
                    <a:pt x="12425" y="545740"/>
                    <a:pt x="0" y="520772"/>
                    <a:pt x="0" y="499746"/>
                  </a:cubicBezTo>
                  <a:cubicBezTo>
                    <a:pt x="0" y="489561"/>
                    <a:pt x="3106" y="482005"/>
                    <a:pt x="8174" y="478145"/>
                  </a:cubicBezTo>
                  <a:close/>
                  <a:moveTo>
                    <a:pt x="689261" y="394206"/>
                  </a:moveTo>
                  <a:cubicBezTo>
                    <a:pt x="695164" y="390756"/>
                    <a:pt x="703362" y="391249"/>
                    <a:pt x="712545" y="396507"/>
                  </a:cubicBezTo>
                  <a:cubicBezTo>
                    <a:pt x="730910" y="407680"/>
                    <a:pt x="745340" y="432655"/>
                    <a:pt x="745340" y="453687"/>
                  </a:cubicBezTo>
                  <a:cubicBezTo>
                    <a:pt x="745340" y="474719"/>
                    <a:pt x="730910" y="483264"/>
                    <a:pt x="712545" y="472748"/>
                  </a:cubicBezTo>
                  <a:cubicBezTo>
                    <a:pt x="694180" y="462232"/>
                    <a:pt x="679750" y="436599"/>
                    <a:pt x="679750" y="415567"/>
                  </a:cubicBezTo>
                  <a:cubicBezTo>
                    <a:pt x="679750" y="405051"/>
                    <a:pt x="683357" y="397657"/>
                    <a:pt x="689261" y="394206"/>
                  </a:cubicBezTo>
                  <a:close/>
                  <a:moveTo>
                    <a:pt x="571319" y="327602"/>
                  </a:moveTo>
                  <a:cubicBezTo>
                    <a:pt x="577246" y="324211"/>
                    <a:pt x="585364" y="324708"/>
                    <a:pt x="594133" y="329670"/>
                  </a:cubicBezTo>
                  <a:cubicBezTo>
                    <a:pt x="612318" y="340257"/>
                    <a:pt x="627257" y="366063"/>
                    <a:pt x="627257" y="387237"/>
                  </a:cubicBezTo>
                  <a:cubicBezTo>
                    <a:pt x="627257" y="408411"/>
                    <a:pt x="612318" y="417013"/>
                    <a:pt x="594133" y="406426"/>
                  </a:cubicBezTo>
                  <a:cubicBezTo>
                    <a:pt x="576596" y="395839"/>
                    <a:pt x="561658" y="370033"/>
                    <a:pt x="561658" y="348859"/>
                  </a:cubicBezTo>
                  <a:cubicBezTo>
                    <a:pt x="561658" y="338272"/>
                    <a:pt x="565392" y="330994"/>
                    <a:pt x="571319" y="327602"/>
                  </a:cubicBezTo>
                  <a:close/>
                  <a:moveTo>
                    <a:pt x="455957" y="261438"/>
                  </a:moveTo>
                  <a:cubicBezTo>
                    <a:pt x="461860" y="257964"/>
                    <a:pt x="470059" y="258461"/>
                    <a:pt x="479242" y="263423"/>
                  </a:cubicBezTo>
                  <a:cubicBezTo>
                    <a:pt x="497608" y="274010"/>
                    <a:pt x="512038" y="300478"/>
                    <a:pt x="512038" y="320990"/>
                  </a:cubicBezTo>
                  <a:cubicBezTo>
                    <a:pt x="512038" y="342164"/>
                    <a:pt x="497608" y="350766"/>
                    <a:pt x="479242" y="340179"/>
                  </a:cubicBezTo>
                  <a:cubicBezTo>
                    <a:pt x="460876" y="329592"/>
                    <a:pt x="446446" y="303786"/>
                    <a:pt x="446446" y="283274"/>
                  </a:cubicBezTo>
                  <a:cubicBezTo>
                    <a:pt x="446446" y="272356"/>
                    <a:pt x="450054" y="264912"/>
                    <a:pt x="455957" y="261438"/>
                  </a:cubicBezTo>
                  <a:close/>
                  <a:moveTo>
                    <a:pt x="343886" y="195439"/>
                  </a:moveTo>
                  <a:cubicBezTo>
                    <a:pt x="349848" y="192048"/>
                    <a:pt x="357963" y="192544"/>
                    <a:pt x="366575" y="197838"/>
                  </a:cubicBezTo>
                  <a:cubicBezTo>
                    <a:pt x="385123" y="208425"/>
                    <a:pt x="399698" y="233569"/>
                    <a:pt x="399698" y="254743"/>
                  </a:cubicBezTo>
                  <a:cubicBezTo>
                    <a:pt x="399698" y="275917"/>
                    <a:pt x="385123" y="284519"/>
                    <a:pt x="366575" y="273932"/>
                  </a:cubicBezTo>
                  <a:cubicBezTo>
                    <a:pt x="349351" y="263345"/>
                    <a:pt x="334114" y="237539"/>
                    <a:pt x="334114" y="216365"/>
                  </a:cubicBezTo>
                  <a:cubicBezTo>
                    <a:pt x="334114" y="206109"/>
                    <a:pt x="337923" y="198830"/>
                    <a:pt x="343886" y="195439"/>
                  </a:cubicBezTo>
                  <a:close/>
                  <a:moveTo>
                    <a:pt x="8174" y="2948"/>
                  </a:moveTo>
                  <a:cubicBezTo>
                    <a:pt x="13243" y="-982"/>
                    <a:pt x="20273" y="-1146"/>
                    <a:pt x="28120" y="3439"/>
                  </a:cubicBezTo>
                  <a:lnTo>
                    <a:pt x="227572" y="118723"/>
                  </a:lnTo>
                  <a:cubicBezTo>
                    <a:pt x="243267" y="127894"/>
                    <a:pt x="255692" y="152130"/>
                    <a:pt x="255692" y="173091"/>
                  </a:cubicBezTo>
                  <a:cubicBezTo>
                    <a:pt x="255692" y="194051"/>
                    <a:pt x="243267" y="203877"/>
                    <a:pt x="227572" y="194706"/>
                  </a:cubicBezTo>
                  <a:lnTo>
                    <a:pt x="28120" y="78767"/>
                  </a:lnTo>
                  <a:cubicBezTo>
                    <a:pt x="12425" y="70252"/>
                    <a:pt x="0" y="45361"/>
                    <a:pt x="0" y="25055"/>
                  </a:cubicBezTo>
                  <a:cubicBezTo>
                    <a:pt x="0" y="14575"/>
                    <a:pt x="3106" y="6878"/>
                    <a:pt x="8174" y="294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1" name="Freeform 160">
              <a:extLst>
                <a:ext uri="{FF2B5EF4-FFF2-40B4-BE49-F238E27FC236}">
                  <a16:creationId xmlns:a16="http://schemas.microsoft.com/office/drawing/2014/main" id="{E62D4C4E-91D5-2947-B913-D46D13486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55712" y="8272230"/>
              <a:ext cx="2727645" cy="1564005"/>
            </a:xfrm>
            <a:custGeom>
              <a:avLst/>
              <a:gdLst>
                <a:gd name="T0" fmla="*/ 2401 w 4174"/>
                <a:gd name="T1" fmla="*/ 2344 h 2394"/>
                <a:gd name="T2" fmla="*/ 84 w 4174"/>
                <a:gd name="T3" fmla="*/ 1023 h 2394"/>
                <a:gd name="T4" fmla="*/ 84 w 4174"/>
                <a:gd name="T5" fmla="*/ 1023 h 2394"/>
                <a:gd name="T6" fmla="*/ 108 w 4174"/>
                <a:gd name="T7" fmla="*/ 832 h 2394"/>
                <a:gd name="T8" fmla="*/ 1441 w 4174"/>
                <a:gd name="T9" fmla="*/ 63 h 2394"/>
                <a:gd name="T10" fmla="*/ 1441 w 4174"/>
                <a:gd name="T11" fmla="*/ 63 h 2394"/>
                <a:gd name="T12" fmla="*/ 1772 w 4174"/>
                <a:gd name="T13" fmla="*/ 49 h 2394"/>
                <a:gd name="T14" fmla="*/ 4088 w 4174"/>
                <a:gd name="T15" fmla="*/ 1370 h 2394"/>
                <a:gd name="T16" fmla="*/ 4088 w 4174"/>
                <a:gd name="T17" fmla="*/ 1370 h 2394"/>
                <a:gd name="T18" fmla="*/ 4065 w 4174"/>
                <a:gd name="T19" fmla="*/ 1561 h 2394"/>
                <a:gd name="T20" fmla="*/ 2732 w 4174"/>
                <a:gd name="T21" fmla="*/ 2330 h 2394"/>
                <a:gd name="T22" fmla="*/ 2732 w 4174"/>
                <a:gd name="T23" fmla="*/ 2330 h 2394"/>
                <a:gd name="T24" fmla="*/ 2401 w 4174"/>
                <a:gd name="T25" fmla="*/ 2344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4" h="2394">
                  <a:moveTo>
                    <a:pt x="2401" y="2344"/>
                  </a:moveTo>
                  <a:lnTo>
                    <a:pt x="84" y="1023"/>
                  </a:lnTo>
                  <a:lnTo>
                    <a:pt x="84" y="1023"/>
                  </a:lnTo>
                  <a:cubicBezTo>
                    <a:pt x="0" y="974"/>
                    <a:pt x="10" y="889"/>
                    <a:pt x="108" y="832"/>
                  </a:cubicBezTo>
                  <a:lnTo>
                    <a:pt x="1441" y="63"/>
                  </a:lnTo>
                  <a:lnTo>
                    <a:pt x="1441" y="63"/>
                  </a:lnTo>
                  <a:cubicBezTo>
                    <a:pt x="1539" y="7"/>
                    <a:pt x="1687" y="0"/>
                    <a:pt x="1772" y="49"/>
                  </a:cubicBezTo>
                  <a:lnTo>
                    <a:pt x="4088" y="1370"/>
                  </a:lnTo>
                  <a:lnTo>
                    <a:pt x="4088" y="1370"/>
                  </a:lnTo>
                  <a:cubicBezTo>
                    <a:pt x="4173" y="1419"/>
                    <a:pt x="4163" y="1505"/>
                    <a:pt x="4065" y="1561"/>
                  </a:cubicBezTo>
                  <a:lnTo>
                    <a:pt x="2732" y="2330"/>
                  </a:lnTo>
                  <a:lnTo>
                    <a:pt x="2732" y="2330"/>
                  </a:lnTo>
                  <a:cubicBezTo>
                    <a:pt x="2634" y="2387"/>
                    <a:pt x="2486" y="2393"/>
                    <a:pt x="2401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2" name="Freeform 161">
              <a:extLst>
                <a:ext uri="{FF2B5EF4-FFF2-40B4-BE49-F238E27FC236}">
                  <a16:creationId xmlns:a16="http://schemas.microsoft.com/office/drawing/2014/main" id="{FC5C02F3-097E-644E-ABA6-4818C6AA34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792824"/>
              <a:ext cx="2888942" cy="4746738"/>
            </a:xfrm>
            <a:custGeom>
              <a:avLst/>
              <a:gdLst>
                <a:gd name="T0" fmla="*/ 4417 w 4421"/>
                <a:gd name="T1" fmla="*/ 6252 h 7268"/>
                <a:gd name="T2" fmla="*/ 4417 w 4421"/>
                <a:gd name="T3" fmla="*/ 6252 h 7268"/>
                <a:gd name="T4" fmla="*/ 4417 w 4421"/>
                <a:gd name="T5" fmla="*/ 844 h 7268"/>
                <a:gd name="T6" fmla="*/ 2267 w 4421"/>
                <a:gd name="T7" fmla="*/ 281 h 7268"/>
                <a:gd name="T8" fmla="*/ 1871 w 4421"/>
                <a:gd name="T9" fmla="*/ 52 h 7268"/>
                <a:gd name="T10" fmla="*/ 1871 w 4421"/>
                <a:gd name="T11" fmla="*/ 52 h 7268"/>
                <a:gd name="T12" fmla="*/ 1516 w 4421"/>
                <a:gd name="T13" fmla="*/ 67 h 7268"/>
                <a:gd name="T14" fmla="*/ 1147 w 4421"/>
                <a:gd name="T15" fmla="*/ 281 h 7268"/>
                <a:gd name="T16" fmla="*/ 0 w 4421"/>
                <a:gd name="T17" fmla="*/ 280 h 7268"/>
                <a:gd name="T18" fmla="*/ 340 w 4421"/>
                <a:gd name="T19" fmla="*/ 5500 h 7268"/>
                <a:gd name="T20" fmla="*/ 340 w 4421"/>
                <a:gd name="T21" fmla="*/ 5500 h 7268"/>
                <a:gd name="T22" fmla="*/ 400 w 4421"/>
                <a:gd name="T23" fmla="*/ 5595 h 7268"/>
                <a:gd name="T24" fmla="*/ 2546 w 4421"/>
                <a:gd name="T25" fmla="*/ 7214 h 7268"/>
                <a:gd name="T26" fmla="*/ 2546 w 4421"/>
                <a:gd name="T27" fmla="*/ 7214 h 7268"/>
                <a:gd name="T28" fmla="*/ 2900 w 4421"/>
                <a:gd name="T29" fmla="*/ 7200 h 7268"/>
                <a:gd name="T30" fmla="*/ 4331 w 4421"/>
                <a:gd name="T31" fmla="*/ 6374 h 7268"/>
                <a:gd name="T32" fmla="*/ 4331 w 4421"/>
                <a:gd name="T33" fmla="*/ 6374 h 7268"/>
                <a:gd name="T34" fmla="*/ 4417 w 4421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1" h="7268">
                  <a:moveTo>
                    <a:pt x="4417" y="6252"/>
                  </a:moveTo>
                  <a:lnTo>
                    <a:pt x="4417" y="6252"/>
                  </a:lnTo>
                  <a:lnTo>
                    <a:pt x="4417" y="844"/>
                  </a:lnTo>
                  <a:lnTo>
                    <a:pt x="2267" y="281"/>
                  </a:lnTo>
                  <a:lnTo>
                    <a:pt x="1871" y="52"/>
                  </a:lnTo>
                  <a:lnTo>
                    <a:pt x="1871" y="52"/>
                  </a:lnTo>
                  <a:cubicBezTo>
                    <a:pt x="1780" y="0"/>
                    <a:pt x="1621" y="6"/>
                    <a:pt x="1516" y="67"/>
                  </a:cubicBezTo>
                  <a:lnTo>
                    <a:pt x="1147" y="281"/>
                  </a:lnTo>
                  <a:lnTo>
                    <a:pt x="0" y="280"/>
                  </a:lnTo>
                  <a:lnTo>
                    <a:pt x="340" y="5500"/>
                  </a:lnTo>
                  <a:lnTo>
                    <a:pt x="340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6" y="7214"/>
                  </a:lnTo>
                  <a:lnTo>
                    <a:pt x="2546" y="7214"/>
                  </a:lnTo>
                  <a:cubicBezTo>
                    <a:pt x="2637" y="7267"/>
                    <a:pt x="2796" y="7260"/>
                    <a:pt x="2900" y="7200"/>
                  </a:cubicBezTo>
                  <a:lnTo>
                    <a:pt x="4331" y="6374"/>
                  </a:lnTo>
                  <a:lnTo>
                    <a:pt x="4331" y="6374"/>
                  </a:lnTo>
                  <a:cubicBezTo>
                    <a:pt x="4391" y="6339"/>
                    <a:pt x="4420" y="6293"/>
                    <a:pt x="4417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3" name="Freeform 162">
              <a:extLst>
                <a:ext uri="{FF2B5EF4-FFF2-40B4-BE49-F238E27FC236}">
                  <a16:creationId xmlns:a16="http://schemas.microsoft.com/office/drawing/2014/main" id="{B2334311-729A-9D42-8232-E7C24F61E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4" y="4804345"/>
              <a:ext cx="1788667" cy="4726577"/>
            </a:xfrm>
            <a:custGeom>
              <a:avLst/>
              <a:gdLst>
                <a:gd name="T0" fmla="*/ 1709 w 2740"/>
                <a:gd name="T1" fmla="*/ 0 h 7235"/>
                <a:gd name="T2" fmla="*/ 1709 w 2740"/>
                <a:gd name="T3" fmla="*/ 0 h 7235"/>
                <a:gd name="T4" fmla="*/ 1519 w 2740"/>
                <a:gd name="T5" fmla="*/ 50 h 7235"/>
                <a:gd name="T6" fmla="*/ 1150 w 2740"/>
                <a:gd name="T7" fmla="*/ 264 h 7235"/>
                <a:gd name="T8" fmla="*/ 3 w 2740"/>
                <a:gd name="T9" fmla="*/ 263 h 7235"/>
                <a:gd name="T10" fmla="*/ 3 w 2740"/>
                <a:gd name="T11" fmla="*/ 5685 h 7235"/>
                <a:gd name="T12" fmla="*/ 3 w 2740"/>
                <a:gd name="T13" fmla="*/ 5685 h 7235"/>
                <a:gd name="T14" fmla="*/ 64 w 2740"/>
                <a:gd name="T15" fmla="*/ 5780 h 7235"/>
                <a:gd name="T16" fmla="*/ 2549 w 2740"/>
                <a:gd name="T17" fmla="*/ 7197 h 7235"/>
                <a:gd name="T18" fmla="*/ 2549 w 2740"/>
                <a:gd name="T19" fmla="*/ 7197 h 7235"/>
                <a:gd name="T20" fmla="*/ 2714 w 2740"/>
                <a:gd name="T21" fmla="*/ 7232 h 7235"/>
                <a:gd name="T22" fmla="*/ 2739 w 2740"/>
                <a:gd name="T23" fmla="*/ 1776 h 7235"/>
                <a:gd name="T24" fmla="*/ 1709 w 2740"/>
                <a:gd name="T25" fmla="*/ 0 h 7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0" h="7235">
                  <a:moveTo>
                    <a:pt x="1709" y="0"/>
                  </a:moveTo>
                  <a:lnTo>
                    <a:pt x="1709" y="0"/>
                  </a:lnTo>
                  <a:cubicBezTo>
                    <a:pt x="1643" y="2"/>
                    <a:pt x="1574" y="19"/>
                    <a:pt x="1519" y="50"/>
                  </a:cubicBezTo>
                  <a:lnTo>
                    <a:pt x="1150" y="264"/>
                  </a:lnTo>
                  <a:lnTo>
                    <a:pt x="3" y="263"/>
                  </a:lnTo>
                  <a:lnTo>
                    <a:pt x="3" y="5685"/>
                  </a:lnTo>
                  <a:lnTo>
                    <a:pt x="3" y="5685"/>
                  </a:lnTo>
                  <a:cubicBezTo>
                    <a:pt x="0" y="5721"/>
                    <a:pt x="20" y="5755"/>
                    <a:pt x="64" y="5780"/>
                  </a:cubicBezTo>
                  <a:lnTo>
                    <a:pt x="2549" y="7197"/>
                  </a:lnTo>
                  <a:lnTo>
                    <a:pt x="2549" y="7197"/>
                  </a:lnTo>
                  <a:cubicBezTo>
                    <a:pt x="2593" y="7222"/>
                    <a:pt x="2652" y="7234"/>
                    <a:pt x="2714" y="7232"/>
                  </a:cubicBezTo>
                  <a:lnTo>
                    <a:pt x="2739" y="1776"/>
                  </a:lnTo>
                  <a:lnTo>
                    <a:pt x="1709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4" name="Freeform 163">
              <a:extLst>
                <a:ext uri="{FF2B5EF4-FFF2-40B4-BE49-F238E27FC236}">
                  <a16:creationId xmlns:a16="http://schemas.microsoft.com/office/drawing/2014/main" id="{229EB0CE-5023-3E4F-987F-D1A3F4EB5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4278" y="5921904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5" name="Freeform 164">
              <a:extLst>
                <a:ext uri="{FF2B5EF4-FFF2-40B4-BE49-F238E27FC236}">
                  <a16:creationId xmlns:a16="http://schemas.microsoft.com/office/drawing/2014/main" id="{5A0C6B32-DD01-9844-9A7B-CBAF5B4AC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7781" y="4323337"/>
              <a:ext cx="2923506" cy="1676336"/>
            </a:xfrm>
            <a:custGeom>
              <a:avLst/>
              <a:gdLst>
                <a:gd name="T0" fmla="*/ 2576 w 4478"/>
                <a:gd name="T1" fmla="*/ 2515 h 2568"/>
                <a:gd name="T2" fmla="*/ 91 w 4478"/>
                <a:gd name="T3" fmla="*/ 1098 h 2568"/>
                <a:gd name="T4" fmla="*/ 91 w 4478"/>
                <a:gd name="T5" fmla="*/ 1098 h 2568"/>
                <a:gd name="T6" fmla="*/ 116 w 4478"/>
                <a:gd name="T7" fmla="*/ 893 h 2568"/>
                <a:gd name="T8" fmla="*/ 1546 w 4478"/>
                <a:gd name="T9" fmla="*/ 67 h 2568"/>
                <a:gd name="T10" fmla="*/ 1546 w 4478"/>
                <a:gd name="T11" fmla="*/ 67 h 2568"/>
                <a:gd name="T12" fmla="*/ 1901 w 4478"/>
                <a:gd name="T13" fmla="*/ 52 h 2568"/>
                <a:gd name="T14" fmla="*/ 4386 w 4478"/>
                <a:gd name="T15" fmla="*/ 1470 h 2568"/>
                <a:gd name="T16" fmla="*/ 4386 w 4478"/>
                <a:gd name="T17" fmla="*/ 1470 h 2568"/>
                <a:gd name="T18" fmla="*/ 4361 w 4478"/>
                <a:gd name="T19" fmla="*/ 1675 h 2568"/>
                <a:gd name="T20" fmla="*/ 2930 w 4478"/>
                <a:gd name="T21" fmla="*/ 2500 h 2568"/>
                <a:gd name="T22" fmla="*/ 2930 w 4478"/>
                <a:gd name="T23" fmla="*/ 2500 h 2568"/>
                <a:gd name="T24" fmla="*/ 2576 w 4478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8" h="2568">
                  <a:moveTo>
                    <a:pt x="2576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5"/>
                    <a:pt x="12" y="953"/>
                    <a:pt x="116" y="893"/>
                  </a:cubicBezTo>
                  <a:lnTo>
                    <a:pt x="1546" y="67"/>
                  </a:lnTo>
                  <a:lnTo>
                    <a:pt x="1546" y="67"/>
                  </a:lnTo>
                  <a:cubicBezTo>
                    <a:pt x="1651" y="7"/>
                    <a:pt x="1810" y="0"/>
                    <a:pt x="1901" y="52"/>
                  </a:cubicBezTo>
                  <a:lnTo>
                    <a:pt x="4386" y="1470"/>
                  </a:lnTo>
                  <a:lnTo>
                    <a:pt x="4386" y="1470"/>
                  </a:lnTo>
                  <a:cubicBezTo>
                    <a:pt x="4477" y="1522"/>
                    <a:pt x="4466" y="1614"/>
                    <a:pt x="4361" y="1675"/>
                  </a:cubicBezTo>
                  <a:lnTo>
                    <a:pt x="2930" y="2500"/>
                  </a:lnTo>
                  <a:lnTo>
                    <a:pt x="2930" y="2500"/>
                  </a:lnTo>
                  <a:cubicBezTo>
                    <a:pt x="2826" y="2561"/>
                    <a:pt x="2667" y="2567"/>
                    <a:pt x="2576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6" name="Freeform 165">
              <a:extLst>
                <a:ext uri="{FF2B5EF4-FFF2-40B4-BE49-F238E27FC236}">
                  <a16:creationId xmlns:a16="http://schemas.microsoft.com/office/drawing/2014/main" id="{6A34F2C6-1FD9-3441-8C9C-BCC9FA51B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66422" y="4948361"/>
              <a:ext cx="2909105" cy="1051311"/>
            </a:xfrm>
            <a:custGeom>
              <a:avLst/>
              <a:gdLst>
                <a:gd name="T0" fmla="*/ 4347 w 4454"/>
                <a:gd name="T1" fmla="*/ 617 h 1611"/>
                <a:gd name="T2" fmla="*/ 2916 w 4454"/>
                <a:gd name="T3" fmla="*/ 1442 h 1611"/>
                <a:gd name="T4" fmla="*/ 2916 w 4454"/>
                <a:gd name="T5" fmla="*/ 1442 h 1611"/>
                <a:gd name="T6" fmla="*/ 2562 w 4454"/>
                <a:gd name="T7" fmla="*/ 1457 h 1611"/>
                <a:gd name="T8" fmla="*/ 77 w 4454"/>
                <a:gd name="T9" fmla="*/ 40 h 1611"/>
                <a:gd name="T10" fmla="*/ 77 w 4454"/>
                <a:gd name="T11" fmla="*/ 40 h 1611"/>
                <a:gd name="T12" fmla="*/ 31 w 4454"/>
                <a:gd name="T13" fmla="*/ 0 h 1611"/>
                <a:gd name="T14" fmla="*/ 31 w 4454"/>
                <a:gd name="T15" fmla="*/ 0 h 1611"/>
                <a:gd name="T16" fmla="*/ 77 w 4454"/>
                <a:gd name="T17" fmla="*/ 141 h 1611"/>
                <a:gd name="T18" fmla="*/ 2562 w 4454"/>
                <a:gd name="T19" fmla="*/ 1558 h 1611"/>
                <a:gd name="T20" fmla="*/ 2562 w 4454"/>
                <a:gd name="T21" fmla="*/ 1558 h 1611"/>
                <a:gd name="T22" fmla="*/ 2916 w 4454"/>
                <a:gd name="T23" fmla="*/ 1543 h 1611"/>
                <a:gd name="T24" fmla="*/ 4347 w 4454"/>
                <a:gd name="T25" fmla="*/ 718 h 1611"/>
                <a:gd name="T26" fmla="*/ 4347 w 4454"/>
                <a:gd name="T27" fmla="*/ 718 h 1611"/>
                <a:gd name="T28" fmla="*/ 4418 w 4454"/>
                <a:gd name="T29" fmla="*/ 553 h 1611"/>
                <a:gd name="T30" fmla="*/ 4418 w 4454"/>
                <a:gd name="T31" fmla="*/ 553 h 1611"/>
                <a:gd name="T32" fmla="*/ 4347 w 4454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4" h="1611">
                  <a:moveTo>
                    <a:pt x="4347" y="617"/>
                  </a:moveTo>
                  <a:lnTo>
                    <a:pt x="2916" y="1442"/>
                  </a:lnTo>
                  <a:lnTo>
                    <a:pt x="2916" y="1442"/>
                  </a:lnTo>
                  <a:cubicBezTo>
                    <a:pt x="2812" y="1503"/>
                    <a:pt x="2653" y="1510"/>
                    <a:pt x="2562" y="1457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1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5" y="105"/>
                    <a:pt x="77" y="141"/>
                  </a:cubicBezTo>
                  <a:lnTo>
                    <a:pt x="2562" y="1558"/>
                  </a:lnTo>
                  <a:lnTo>
                    <a:pt x="2562" y="1558"/>
                  </a:lnTo>
                  <a:cubicBezTo>
                    <a:pt x="2653" y="1610"/>
                    <a:pt x="2812" y="1604"/>
                    <a:pt x="2916" y="1543"/>
                  </a:cubicBezTo>
                  <a:lnTo>
                    <a:pt x="4347" y="718"/>
                  </a:lnTo>
                  <a:lnTo>
                    <a:pt x="4347" y="718"/>
                  </a:lnTo>
                  <a:cubicBezTo>
                    <a:pt x="4428" y="671"/>
                    <a:pt x="4453" y="605"/>
                    <a:pt x="4418" y="553"/>
                  </a:cubicBezTo>
                  <a:lnTo>
                    <a:pt x="4418" y="553"/>
                  </a:lnTo>
                  <a:cubicBezTo>
                    <a:pt x="4403" y="576"/>
                    <a:pt x="4380" y="598"/>
                    <a:pt x="4347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7" name="Freeform 166">
              <a:extLst>
                <a:ext uri="{FF2B5EF4-FFF2-40B4-BE49-F238E27FC236}">
                  <a16:creationId xmlns:a16="http://schemas.microsoft.com/office/drawing/2014/main" id="{B27FE3CE-69FA-1B43-A0A2-62840A7E7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90738" cy="979303"/>
            </a:xfrm>
            <a:custGeom>
              <a:avLst/>
              <a:gdLst>
                <a:gd name="T0" fmla="*/ 1697 w 2588"/>
                <a:gd name="T1" fmla="*/ 1473 h 1498"/>
                <a:gd name="T2" fmla="*/ 43 w 2588"/>
                <a:gd name="T3" fmla="*/ 514 h 1498"/>
                <a:gd name="T4" fmla="*/ 43 w 2588"/>
                <a:gd name="T5" fmla="*/ 514 h 1498"/>
                <a:gd name="T6" fmla="*/ 54 w 2588"/>
                <a:gd name="T7" fmla="*/ 417 h 1498"/>
                <a:gd name="T8" fmla="*/ 724 w 2588"/>
                <a:gd name="T9" fmla="*/ 31 h 1498"/>
                <a:gd name="T10" fmla="*/ 724 w 2588"/>
                <a:gd name="T11" fmla="*/ 31 h 1498"/>
                <a:gd name="T12" fmla="*/ 890 w 2588"/>
                <a:gd name="T13" fmla="*/ 24 h 1498"/>
                <a:gd name="T14" fmla="*/ 2544 w 2588"/>
                <a:gd name="T15" fmla="*/ 983 h 1498"/>
                <a:gd name="T16" fmla="*/ 2544 w 2588"/>
                <a:gd name="T17" fmla="*/ 983 h 1498"/>
                <a:gd name="T18" fmla="*/ 2532 w 2588"/>
                <a:gd name="T19" fmla="*/ 1079 h 1498"/>
                <a:gd name="T20" fmla="*/ 1863 w 2588"/>
                <a:gd name="T21" fmla="*/ 1466 h 1498"/>
                <a:gd name="T22" fmla="*/ 1863 w 2588"/>
                <a:gd name="T23" fmla="*/ 1466 h 1498"/>
                <a:gd name="T24" fmla="*/ 1697 w 2588"/>
                <a:gd name="T25" fmla="*/ 1473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8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6" y="446"/>
                    <a:pt x="54" y="417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3"/>
                  </a:lnTo>
                  <a:lnTo>
                    <a:pt x="2544" y="983"/>
                  </a:lnTo>
                  <a:cubicBezTo>
                    <a:pt x="2587" y="1008"/>
                    <a:pt x="2582" y="1051"/>
                    <a:pt x="2532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7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8" name="Freeform 477">
              <a:extLst>
                <a:ext uri="{FF2B5EF4-FFF2-40B4-BE49-F238E27FC236}">
                  <a16:creationId xmlns:a16="http://schemas.microsoft.com/office/drawing/2014/main" id="{68F6BB33-31D1-1E41-AFE4-2F31957B7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354" y="4908605"/>
              <a:ext cx="771471" cy="447530"/>
            </a:xfrm>
            <a:custGeom>
              <a:avLst/>
              <a:gdLst>
                <a:gd name="connsiteX0" fmla="*/ 706513 w 771471"/>
                <a:gd name="connsiteY0" fmla="*/ 364988 h 447530"/>
                <a:gd name="connsiteX1" fmla="*/ 768911 w 771471"/>
                <a:gd name="connsiteY1" fmla="*/ 401266 h 447530"/>
                <a:gd name="connsiteX2" fmla="*/ 767611 w 771471"/>
                <a:gd name="connsiteY2" fmla="*/ 409841 h 447530"/>
                <a:gd name="connsiteX3" fmla="*/ 707813 w 771471"/>
                <a:gd name="connsiteY3" fmla="*/ 445460 h 447530"/>
                <a:gd name="connsiteX4" fmla="*/ 692864 w 771471"/>
                <a:gd name="connsiteY4" fmla="*/ 446120 h 447530"/>
                <a:gd name="connsiteX5" fmla="*/ 630466 w 771471"/>
                <a:gd name="connsiteY5" fmla="*/ 409182 h 447530"/>
                <a:gd name="connsiteX6" fmla="*/ 631766 w 771471"/>
                <a:gd name="connsiteY6" fmla="*/ 400607 h 447530"/>
                <a:gd name="connsiteX7" fmla="*/ 692214 w 771471"/>
                <a:gd name="connsiteY7" fmla="*/ 365647 h 447530"/>
                <a:gd name="connsiteX8" fmla="*/ 706513 w 771471"/>
                <a:gd name="connsiteY8" fmla="*/ 364988 h 447530"/>
                <a:gd name="connsiteX9" fmla="*/ 496252 w 771471"/>
                <a:gd name="connsiteY9" fmla="*/ 244015 h 447530"/>
                <a:gd name="connsiteX10" fmla="*/ 558650 w 771471"/>
                <a:gd name="connsiteY10" fmla="*/ 280294 h 447530"/>
                <a:gd name="connsiteX11" fmla="*/ 557350 w 771471"/>
                <a:gd name="connsiteY11" fmla="*/ 288869 h 447530"/>
                <a:gd name="connsiteX12" fmla="*/ 497552 w 771471"/>
                <a:gd name="connsiteY12" fmla="*/ 323828 h 447530"/>
                <a:gd name="connsiteX13" fmla="*/ 481952 w 771471"/>
                <a:gd name="connsiteY13" fmla="*/ 325147 h 447530"/>
                <a:gd name="connsiteX14" fmla="*/ 420204 w 771471"/>
                <a:gd name="connsiteY14" fmla="*/ 288869 h 447530"/>
                <a:gd name="connsiteX15" fmla="*/ 421504 w 771471"/>
                <a:gd name="connsiteY15" fmla="*/ 279634 h 447530"/>
                <a:gd name="connsiteX16" fmla="*/ 481302 w 771471"/>
                <a:gd name="connsiteY16" fmla="*/ 244675 h 447530"/>
                <a:gd name="connsiteX17" fmla="*/ 496252 w 771471"/>
                <a:gd name="connsiteY17" fmla="*/ 244015 h 447530"/>
                <a:gd name="connsiteX18" fmla="*/ 289225 w 771471"/>
                <a:gd name="connsiteY18" fmla="*/ 122383 h 447530"/>
                <a:gd name="connsiteX19" fmla="*/ 351248 w 771471"/>
                <a:gd name="connsiteY19" fmla="*/ 159321 h 447530"/>
                <a:gd name="connsiteX20" fmla="*/ 350595 w 771471"/>
                <a:gd name="connsiteY20" fmla="*/ 167896 h 447530"/>
                <a:gd name="connsiteX21" fmla="*/ 289878 w 771471"/>
                <a:gd name="connsiteY21" fmla="*/ 203515 h 447530"/>
                <a:gd name="connsiteX22" fmla="*/ 275515 w 771471"/>
                <a:gd name="connsiteY22" fmla="*/ 203515 h 447530"/>
                <a:gd name="connsiteX23" fmla="*/ 212839 w 771471"/>
                <a:gd name="connsiteY23" fmla="*/ 167236 h 447530"/>
                <a:gd name="connsiteX24" fmla="*/ 213492 w 771471"/>
                <a:gd name="connsiteY24" fmla="*/ 158661 h 447530"/>
                <a:gd name="connsiteX25" fmla="*/ 274209 w 771471"/>
                <a:gd name="connsiteY25" fmla="*/ 123702 h 447530"/>
                <a:gd name="connsiteX26" fmla="*/ 289225 w 771471"/>
                <a:gd name="connsiteY26" fmla="*/ 122383 h 447530"/>
                <a:gd name="connsiteX27" fmla="*/ 79257 w 771471"/>
                <a:gd name="connsiteY27" fmla="*/ 1410 h 447530"/>
                <a:gd name="connsiteX28" fmla="*/ 141005 w 771471"/>
                <a:gd name="connsiteY28" fmla="*/ 38348 h 447530"/>
                <a:gd name="connsiteX29" fmla="*/ 139705 w 771471"/>
                <a:gd name="connsiteY29" fmla="*/ 46923 h 447530"/>
                <a:gd name="connsiteX30" fmla="*/ 79907 w 771471"/>
                <a:gd name="connsiteY30" fmla="*/ 81882 h 447530"/>
                <a:gd name="connsiteX31" fmla="*/ 64958 w 771471"/>
                <a:gd name="connsiteY31" fmla="*/ 82542 h 447530"/>
                <a:gd name="connsiteX32" fmla="*/ 2560 w 771471"/>
                <a:gd name="connsiteY32" fmla="*/ 46263 h 447530"/>
                <a:gd name="connsiteX33" fmla="*/ 3860 w 771471"/>
                <a:gd name="connsiteY33" fmla="*/ 37688 h 447530"/>
                <a:gd name="connsiteX34" fmla="*/ 64308 w 771471"/>
                <a:gd name="connsiteY34" fmla="*/ 2069 h 447530"/>
                <a:gd name="connsiteX35" fmla="*/ 79257 w 771471"/>
                <a:gd name="connsiteY35" fmla="*/ 1410 h 44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71471" h="447530">
                  <a:moveTo>
                    <a:pt x="706513" y="364988"/>
                  </a:moveTo>
                  <a:lnTo>
                    <a:pt x="768911" y="401266"/>
                  </a:lnTo>
                  <a:cubicBezTo>
                    <a:pt x="772811" y="403245"/>
                    <a:pt x="772161" y="407203"/>
                    <a:pt x="767611" y="409841"/>
                  </a:cubicBezTo>
                  <a:lnTo>
                    <a:pt x="707813" y="445460"/>
                  </a:lnTo>
                  <a:cubicBezTo>
                    <a:pt x="703263" y="448099"/>
                    <a:pt x="696764" y="448099"/>
                    <a:pt x="692864" y="446120"/>
                  </a:cubicBezTo>
                  <a:lnTo>
                    <a:pt x="630466" y="409182"/>
                  </a:lnTo>
                  <a:cubicBezTo>
                    <a:pt x="626566" y="407203"/>
                    <a:pt x="627216" y="403245"/>
                    <a:pt x="631766" y="400607"/>
                  </a:cubicBezTo>
                  <a:lnTo>
                    <a:pt x="692214" y="365647"/>
                  </a:lnTo>
                  <a:cubicBezTo>
                    <a:pt x="696114" y="363009"/>
                    <a:pt x="703263" y="362349"/>
                    <a:pt x="706513" y="364988"/>
                  </a:cubicBezTo>
                  <a:close/>
                  <a:moveTo>
                    <a:pt x="496252" y="244015"/>
                  </a:moveTo>
                  <a:lnTo>
                    <a:pt x="558650" y="280294"/>
                  </a:lnTo>
                  <a:cubicBezTo>
                    <a:pt x="562550" y="282932"/>
                    <a:pt x="561900" y="286890"/>
                    <a:pt x="557350" y="288869"/>
                  </a:cubicBezTo>
                  <a:lnTo>
                    <a:pt x="497552" y="323828"/>
                  </a:lnTo>
                  <a:cubicBezTo>
                    <a:pt x="493002" y="327126"/>
                    <a:pt x="486502" y="327126"/>
                    <a:pt x="481952" y="325147"/>
                  </a:cubicBezTo>
                  <a:lnTo>
                    <a:pt x="420204" y="288869"/>
                  </a:lnTo>
                  <a:cubicBezTo>
                    <a:pt x="416304" y="286230"/>
                    <a:pt x="416304" y="282273"/>
                    <a:pt x="421504" y="279634"/>
                  </a:cubicBezTo>
                  <a:lnTo>
                    <a:pt x="481302" y="244675"/>
                  </a:lnTo>
                  <a:cubicBezTo>
                    <a:pt x="485852" y="242036"/>
                    <a:pt x="492352" y="241377"/>
                    <a:pt x="496252" y="244015"/>
                  </a:cubicBezTo>
                  <a:close/>
                  <a:moveTo>
                    <a:pt x="289225" y="122383"/>
                  </a:moveTo>
                  <a:lnTo>
                    <a:pt x="351248" y="159321"/>
                  </a:lnTo>
                  <a:cubicBezTo>
                    <a:pt x="355165" y="161300"/>
                    <a:pt x="355165" y="165257"/>
                    <a:pt x="350595" y="167896"/>
                  </a:cubicBezTo>
                  <a:lnTo>
                    <a:pt x="289878" y="203515"/>
                  </a:lnTo>
                  <a:cubicBezTo>
                    <a:pt x="285308" y="206153"/>
                    <a:pt x="278779" y="206153"/>
                    <a:pt x="275515" y="203515"/>
                  </a:cubicBezTo>
                  <a:lnTo>
                    <a:pt x="212839" y="167236"/>
                  </a:lnTo>
                  <a:cubicBezTo>
                    <a:pt x="208922" y="165257"/>
                    <a:pt x="209575" y="161300"/>
                    <a:pt x="213492" y="158661"/>
                  </a:cubicBezTo>
                  <a:lnTo>
                    <a:pt x="274209" y="123702"/>
                  </a:lnTo>
                  <a:cubicBezTo>
                    <a:pt x="278779" y="121063"/>
                    <a:pt x="285308" y="120404"/>
                    <a:pt x="289225" y="122383"/>
                  </a:cubicBezTo>
                  <a:close/>
                  <a:moveTo>
                    <a:pt x="79257" y="1410"/>
                  </a:moveTo>
                  <a:lnTo>
                    <a:pt x="141005" y="38348"/>
                  </a:lnTo>
                  <a:cubicBezTo>
                    <a:pt x="144905" y="40327"/>
                    <a:pt x="144905" y="44284"/>
                    <a:pt x="139705" y="46923"/>
                  </a:cubicBezTo>
                  <a:lnTo>
                    <a:pt x="79907" y="81882"/>
                  </a:lnTo>
                  <a:cubicBezTo>
                    <a:pt x="75357" y="84521"/>
                    <a:pt x="68858" y="85180"/>
                    <a:pt x="64958" y="82542"/>
                  </a:cubicBezTo>
                  <a:lnTo>
                    <a:pt x="2560" y="46263"/>
                  </a:lnTo>
                  <a:cubicBezTo>
                    <a:pt x="-1340" y="44284"/>
                    <a:pt x="-690" y="40327"/>
                    <a:pt x="3860" y="37688"/>
                  </a:cubicBezTo>
                  <a:lnTo>
                    <a:pt x="64308" y="2069"/>
                  </a:lnTo>
                  <a:cubicBezTo>
                    <a:pt x="68208" y="-569"/>
                    <a:pt x="75357" y="-569"/>
                    <a:pt x="79257" y="14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9" name="Freeform 171">
              <a:extLst>
                <a:ext uri="{FF2B5EF4-FFF2-40B4-BE49-F238E27FC236}">
                  <a16:creationId xmlns:a16="http://schemas.microsoft.com/office/drawing/2014/main" id="{7F5CC4F3-DC90-5345-9E6B-FC1EE608C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87857" cy="699913"/>
            </a:xfrm>
            <a:custGeom>
              <a:avLst/>
              <a:gdLst>
                <a:gd name="T0" fmla="*/ 43 w 2585"/>
                <a:gd name="T1" fmla="*/ 514 h 1073"/>
                <a:gd name="T2" fmla="*/ 44 w 2585"/>
                <a:gd name="T3" fmla="*/ 514 h 1073"/>
                <a:gd name="T4" fmla="*/ 44 w 2585"/>
                <a:gd name="T5" fmla="*/ 514 h 1073"/>
                <a:gd name="T6" fmla="*/ 54 w 2585"/>
                <a:gd name="T7" fmla="*/ 508 h 1073"/>
                <a:gd name="T8" fmla="*/ 724 w 2585"/>
                <a:gd name="T9" fmla="*/ 121 h 1073"/>
                <a:gd name="T10" fmla="*/ 724 w 2585"/>
                <a:gd name="T11" fmla="*/ 121 h 1073"/>
                <a:gd name="T12" fmla="*/ 890 w 2585"/>
                <a:gd name="T13" fmla="*/ 114 h 1073"/>
                <a:gd name="T14" fmla="*/ 2542 w 2585"/>
                <a:gd name="T15" fmla="*/ 1072 h 1073"/>
                <a:gd name="T16" fmla="*/ 2542 w 2585"/>
                <a:gd name="T17" fmla="*/ 1072 h 1073"/>
                <a:gd name="T18" fmla="*/ 2544 w 2585"/>
                <a:gd name="T19" fmla="*/ 983 h 1073"/>
                <a:gd name="T20" fmla="*/ 890 w 2585"/>
                <a:gd name="T21" fmla="*/ 24 h 1073"/>
                <a:gd name="T22" fmla="*/ 890 w 2585"/>
                <a:gd name="T23" fmla="*/ 24 h 1073"/>
                <a:gd name="T24" fmla="*/ 724 w 2585"/>
                <a:gd name="T25" fmla="*/ 31 h 1073"/>
                <a:gd name="T26" fmla="*/ 54 w 2585"/>
                <a:gd name="T27" fmla="*/ 417 h 1073"/>
                <a:gd name="T28" fmla="*/ 54 w 2585"/>
                <a:gd name="T29" fmla="*/ 417 h 1073"/>
                <a:gd name="T30" fmla="*/ 43 w 2585"/>
                <a:gd name="T31" fmla="*/ 514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3">
                  <a:moveTo>
                    <a:pt x="43" y="514"/>
                  </a:moveTo>
                  <a:lnTo>
                    <a:pt x="44" y="514"/>
                  </a:lnTo>
                  <a:lnTo>
                    <a:pt x="44" y="514"/>
                  </a:lnTo>
                  <a:cubicBezTo>
                    <a:pt x="48" y="513"/>
                    <a:pt x="51" y="509"/>
                    <a:pt x="54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4"/>
                  </a:cubicBezTo>
                  <a:lnTo>
                    <a:pt x="2542" y="1072"/>
                  </a:lnTo>
                  <a:lnTo>
                    <a:pt x="2542" y="1072"/>
                  </a:lnTo>
                  <a:cubicBezTo>
                    <a:pt x="2582" y="1044"/>
                    <a:pt x="2584" y="1006"/>
                    <a:pt x="2544" y="983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4" y="417"/>
                  </a:lnTo>
                  <a:lnTo>
                    <a:pt x="54" y="417"/>
                  </a:lnTo>
                  <a:cubicBezTo>
                    <a:pt x="6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0" name="Freeform 479">
              <a:extLst>
                <a:ext uri="{FF2B5EF4-FFF2-40B4-BE49-F238E27FC236}">
                  <a16:creationId xmlns:a16="http://schemas.microsoft.com/office/drawing/2014/main" id="{3EF7E4E5-0103-9A42-8D26-10586AA18C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91275" y="5920109"/>
              <a:ext cx="739584" cy="3136669"/>
            </a:xfrm>
            <a:custGeom>
              <a:avLst/>
              <a:gdLst>
                <a:gd name="connsiteX0" fmla="*/ 721535 w 739584"/>
                <a:gd name="connsiteY0" fmla="*/ 2388214 h 3136669"/>
                <a:gd name="connsiteX1" fmla="*/ 739584 w 739584"/>
                <a:gd name="connsiteY1" fmla="*/ 2436795 h 3136669"/>
                <a:gd name="connsiteX2" fmla="*/ 739584 w 739584"/>
                <a:gd name="connsiteY2" fmla="*/ 2656634 h 3136669"/>
                <a:gd name="connsiteX3" fmla="*/ 677516 w 739584"/>
                <a:gd name="connsiteY3" fmla="*/ 2777023 h 3136669"/>
                <a:gd name="connsiteX4" fmla="*/ 62721 w 739584"/>
                <a:gd name="connsiteY4" fmla="*/ 3129029 h 3136669"/>
                <a:gd name="connsiteX5" fmla="*/ 0 w 739584"/>
                <a:gd name="connsiteY5" fmla="*/ 3081920 h 3136669"/>
                <a:gd name="connsiteX6" fmla="*/ 0 w 739584"/>
                <a:gd name="connsiteY6" fmla="*/ 2862080 h 3136669"/>
                <a:gd name="connsiteX7" fmla="*/ 62721 w 739584"/>
                <a:gd name="connsiteY7" fmla="*/ 2741692 h 3136669"/>
                <a:gd name="connsiteX8" fmla="*/ 677516 w 739584"/>
                <a:gd name="connsiteY8" fmla="*/ 2389686 h 3136669"/>
                <a:gd name="connsiteX9" fmla="*/ 721535 w 739584"/>
                <a:gd name="connsiteY9" fmla="*/ 2388214 h 3136669"/>
                <a:gd name="connsiteX10" fmla="*/ 721535 w 739584"/>
                <a:gd name="connsiteY10" fmla="*/ 1593578 h 3136669"/>
                <a:gd name="connsiteX11" fmla="*/ 739584 w 739584"/>
                <a:gd name="connsiteY11" fmla="*/ 1642486 h 3136669"/>
                <a:gd name="connsiteX12" fmla="*/ 739584 w 739584"/>
                <a:gd name="connsiteY12" fmla="*/ 1862326 h 3136669"/>
                <a:gd name="connsiteX13" fmla="*/ 677516 w 739584"/>
                <a:gd name="connsiteY13" fmla="*/ 1982060 h 3136669"/>
                <a:gd name="connsiteX14" fmla="*/ 62721 w 739584"/>
                <a:gd name="connsiteY14" fmla="*/ 2334066 h 3136669"/>
                <a:gd name="connsiteX15" fmla="*/ 0 w 739584"/>
                <a:gd name="connsiteY15" fmla="*/ 2286957 h 3136669"/>
                <a:gd name="connsiteX16" fmla="*/ 0 w 739584"/>
                <a:gd name="connsiteY16" fmla="*/ 2067117 h 3136669"/>
                <a:gd name="connsiteX17" fmla="*/ 62721 w 739584"/>
                <a:gd name="connsiteY17" fmla="*/ 1946729 h 3136669"/>
                <a:gd name="connsiteX18" fmla="*/ 677516 w 739584"/>
                <a:gd name="connsiteY18" fmla="*/ 1594723 h 3136669"/>
                <a:gd name="connsiteX19" fmla="*/ 721535 w 739584"/>
                <a:gd name="connsiteY19" fmla="*/ 1593578 h 3136669"/>
                <a:gd name="connsiteX20" fmla="*/ 701822 w 739584"/>
                <a:gd name="connsiteY20" fmla="*/ 792122 h 3136669"/>
                <a:gd name="connsiteX21" fmla="*/ 739584 w 739584"/>
                <a:gd name="connsiteY21" fmla="*/ 847465 h 3136669"/>
                <a:gd name="connsiteX22" fmla="*/ 739584 w 739584"/>
                <a:gd name="connsiteY22" fmla="*/ 1067121 h 3136669"/>
                <a:gd name="connsiteX23" fmla="*/ 677516 w 739584"/>
                <a:gd name="connsiteY23" fmla="*/ 1187409 h 3136669"/>
                <a:gd name="connsiteX24" fmla="*/ 62721 w 739584"/>
                <a:gd name="connsiteY24" fmla="*/ 1539120 h 3136669"/>
                <a:gd name="connsiteX25" fmla="*/ 0 w 739584"/>
                <a:gd name="connsiteY25" fmla="*/ 1491397 h 3136669"/>
                <a:gd name="connsiteX26" fmla="*/ 0 w 739584"/>
                <a:gd name="connsiteY26" fmla="*/ 1271741 h 3136669"/>
                <a:gd name="connsiteX27" fmla="*/ 62721 w 739584"/>
                <a:gd name="connsiteY27" fmla="*/ 1152107 h 3136669"/>
                <a:gd name="connsiteX28" fmla="*/ 677516 w 739584"/>
                <a:gd name="connsiteY28" fmla="*/ 799742 h 3136669"/>
                <a:gd name="connsiteX29" fmla="*/ 701822 w 739584"/>
                <a:gd name="connsiteY29" fmla="*/ 792122 h 3136669"/>
                <a:gd name="connsiteX30" fmla="*/ 721535 w 739584"/>
                <a:gd name="connsiteY30" fmla="*/ 6396 h 3136669"/>
                <a:gd name="connsiteX31" fmla="*/ 739584 w 739584"/>
                <a:gd name="connsiteY31" fmla="*/ 54593 h 3136669"/>
                <a:gd name="connsiteX32" fmla="*/ 739584 w 739584"/>
                <a:gd name="connsiteY32" fmla="*/ 274458 h 3136669"/>
                <a:gd name="connsiteX33" fmla="*/ 677516 w 739584"/>
                <a:gd name="connsiteY33" fmla="*/ 393851 h 3136669"/>
                <a:gd name="connsiteX34" fmla="*/ 62721 w 739584"/>
                <a:gd name="connsiteY34" fmla="*/ 744199 h 3136669"/>
                <a:gd name="connsiteX35" fmla="*/ 0 w 739584"/>
                <a:gd name="connsiteY35" fmla="*/ 697225 h 3136669"/>
                <a:gd name="connsiteX36" fmla="*/ 0 w 739584"/>
                <a:gd name="connsiteY36" fmla="*/ 478665 h 3136669"/>
                <a:gd name="connsiteX37" fmla="*/ 62721 w 739584"/>
                <a:gd name="connsiteY37" fmla="*/ 358620 h 3136669"/>
                <a:gd name="connsiteX38" fmla="*/ 677516 w 739584"/>
                <a:gd name="connsiteY38" fmla="*/ 7619 h 3136669"/>
                <a:gd name="connsiteX39" fmla="*/ 721535 w 739584"/>
                <a:gd name="connsiteY39" fmla="*/ 6396 h 313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39584" h="3136669">
                  <a:moveTo>
                    <a:pt x="721535" y="2388214"/>
                  </a:moveTo>
                  <a:cubicBezTo>
                    <a:pt x="732724" y="2396720"/>
                    <a:pt x="739584" y="2413568"/>
                    <a:pt x="739584" y="2436795"/>
                  </a:cubicBezTo>
                  <a:lnTo>
                    <a:pt x="739584" y="2656634"/>
                  </a:lnTo>
                  <a:cubicBezTo>
                    <a:pt x="739584" y="2703089"/>
                    <a:pt x="712143" y="2756740"/>
                    <a:pt x="677516" y="2777023"/>
                  </a:cubicBezTo>
                  <a:lnTo>
                    <a:pt x="62721" y="3129029"/>
                  </a:lnTo>
                  <a:cubicBezTo>
                    <a:pt x="28094" y="3149312"/>
                    <a:pt x="0" y="3127720"/>
                    <a:pt x="0" y="3081920"/>
                  </a:cubicBezTo>
                  <a:lnTo>
                    <a:pt x="0" y="2862080"/>
                  </a:lnTo>
                  <a:cubicBezTo>
                    <a:pt x="0" y="2815626"/>
                    <a:pt x="28094" y="2761975"/>
                    <a:pt x="62721" y="2741692"/>
                  </a:cubicBezTo>
                  <a:lnTo>
                    <a:pt x="677516" y="2389686"/>
                  </a:lnTo>
                  <a:cubicBezTo>
                    <a:pt x="694830" y="2379545"/>
                    <a:pt x="710347" y="2379708"/>
                    <a:pt x="721535" y="2388214"/>
                  </a:cubicBezTo>
                  <a:close/>
                  <a:moveTo>
                    <a:pt x="721535" y="1593578"/>
                  </a:moveTo>
                  <a:cubicBezTo>
                    <a:pt x="732724" y="1602247"/>
                    <a:pt x="739584" y="1619259"/>
                    <a:pt x="739584" y="1642486"/>
                  </a:cubicBezTo>
                  <a:lnTo>
                    <a:pt x="739584" y="1862326"/>
                  </a:lnTo>
                  <a:cubicBezTo>
                    <a:pt x="739584" y="1908780"/>
                    <a:pt x="712143" y="1961777"/>
                    <a:pt x="677516" y="1982060"/>
                  </a:cubicBezTo>
                  <a:lnTo>
                    <a:pt x="62721" y="2334066"/>
                  </a:lnTo>
                  <a:cubicBezTo>
                    <a:pt x="28094" y="2354349"/>
                    <a:pt x="0" y="2333412"/>
                    <a:pt x="0" y="2286957"/>
                  </a:cubicBezTo>
                  <a:lnTo>
                    <a:pt x="0" y="2067117"/>
                  </a:lnTo>
                  <a:cubicBezTo>
                    <a:pt x="0" y="2020663"/>
                    <a:pt x="28094" y="1967012"/>
                    <a:pt x="62721" y="1946729"/>
                  </a:cubicBezTo>
                  <a:lnTo>
                    <a:pt x="677516" y="1594723"/>
                  </a:lnTo>
                  <a:cubicBezTo>
                    <a:pt x="694830" y="1584582"/>
                    <a:pt x="710347" y="1584909"/>
                    <a:pt x="721535" y="1593578"/>
                  </a:cubicBezTo>
                  <a:close/>
                  <a:moveTo>
                    <a:pt x="701822" y="792122"/>
                  </a:moveTo>
                  <a:cubicBezTo>
                    <a:pt x="724148" y="791816"/>
                    <a:pt x="739584" y="812653"/>
                    <a:pt x="739584" y="847465"/>
                  </a:cubicBezTo>
                  <a:lnTo>
                    <a:pt x="739584" y="1067121"/>
                  </a:lnTo>
                  <a:cubicBezTo>
                    <a:pt x="739584" y="1113536"/>
                    <a:pt x="712143" y="1167143"/>
                    <a:pt x="677516" y="1187409"/>
                  </a:cubicBezTo>
                  <a:lnTo>
                    <a:pt x="62721" y="1539120"/>
                  </a:lnTo>
                  <a:cubicBezTo>
                    <a:pt x="28094" y="1559385"/>
                    <a:pt x="0" y="1537812"/>
                    <a:pt x="0" y="1491397"/>
                  </a:cubicBezTo>
                  <a:lnTo>
                    <a:pt x="0" y="1271741"/>
                  </a:lnTo>
                  <a:cubicBezTo>
                    <a:pt x="0" y="1225325"/>
                    <a:pt x="28094" y="1172373"/>
                    <a:pt x="62721" y="1152107"/>
                  </a:cubicBezTo>
                  <a:lnTo>
                    <a:pt x="677516" y="799742"/>
                  </a:lnTo>
                  <a:cubicBezTo>
                    <a:pt x="686173" y="794676"/>
                    <a:pt x="694380" y="792224"/>
                    <a:pt x="701822" y="792122"/>
                  </a:cubicBezTo>
                  <a:close/>
                  <a:moveTo>
                    <a:pt x="721535" y="6396"/>
                  </a:moveTo>
                  <a:cubicBezTo>
                    <a:pt x="732724" y="14959"/>
                    <a:pt x="739584" y="31759"/>
                    <a:pt x="739584" y="54593"/>
                  </a:cubicBezTo>
                  <a:lnTo>
                    <a:pt x="739584" y="274458"/>
                  </a:lnTo>
                  <a:cubicBezTo>
                    <a:pt x="739584" y="320127"/>
                    <a:pt x="712143" y="373626"/>
                    <a:pt x="677516" y="393851"/>
                  </a:cubicBezTo>
                  <a:lnTo>
                    <a:pt x="62721" y="744199"/>
                  </a:lnTo>
                  <a:cubicBezTo>
                    <a:pt x="28094" y="764424"/>
                    <a:pt x="0" y="743546"/>
                    <a:pt x="0" y="697225"/>
                  </a:cubicBezTo>
                  <a:lnTo>
                    <a:pt x="0" y="478665"/>
                  </a:lnTo>
                  <a:cubicBezTo>
                    <a:pt x="0" y="432343"/>
                    <a:pt x="28094" y="378845"/>
                    <a:pt x="62721" y="358620"/>
                  </a:cubicBezTo>
                  <a:lnTo>
                    <a:pt x="677516" y="7619"/>
                  </a:lnTo>
                  <a:cubicBezTo>
                    <a:pt x="694830" y="-2493"/>
                    <a:pt x="710347" y="-2167"/>
                    <a:pt x="721535" y="6396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1" name="Freeform 173">
              <a:extLst>
                <a:ext uri="{FF2B5EF4-FFF2-40B4-BE49-F238E27FC236}">
                  <a16:creationId xmlns:a16="http://schemas.microsoft.com/office/drawing/2014/main" id="{8316A51B-28EE-4147-9238-F7CA3D03B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5919024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6 h 1157"/>
                <a:gd name="T8" fmla="*/ 1083 w 1109"/>
                <a:gd name="T9" fmla="*/ 406 h 1157"/>
                <a:gd name="T10" fmla="*/ 988 w 1109"/>
                <a:gd name="T11" fmla="*/ 589 h 1157"/>
                <a:gd name="T12" fmla="*/ 47 w 1109"/>
                <a:gd name="T13" fmla="*/ 1127 h 1157"/>
                <a:gd name="T14" fmla="*/ 47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39 h 1157"/>
                <a:gd name="T22" fmla="*/ 1013 w 1109"/>
                <a:gd name="T23" fmla="*/ 602 h 1157"/>
                <a:gd name="T24" fmla="*/ 1013 w 1109"/>
                <a:gd name="T25" fmla="*/ 602 h 1157"/>
                <a:gd name="T26" fmla="*/ 1108 w 1109"/>
                <a:gd name="T27" fmla="*/ 419 h 1157"/>
                <a:gd name="T28" fmla="*/ 1108 w 1109"/>
                <a:gd name="T29" fmla="*/ 82 h 1157"/>
                <a:gd name="T30" fmla="*/ 1108 w 1109"/>
                <a:gd name="T31" fmla="*/ 82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7"/>
                  </a:lnTo>
                  <a:lnTo>
                    <a:pt x="47" y="1127"/>
                  </a:lnTo>
                  <a:cubicBezTo>
                    <a:pt x="30" y="1137"/>
                    <a:pt x="14" y="1139"/>
                    <a:pt x="0" y="1137"/>
                  </a:cubicBezTo>
                  <a:lnTo>
                    <a:pt x="0" y="1137"/>
                  </a:lnTo>
                  <a:cubicBezTo>
                    <a:pt x="17" y="1153"/>
                    <a:pt x="43" y="1156"/>
                    <a:pt x="72" y="1139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2" name="Freeform 177">
              <a:extLst>
                <a:ext uri="{FF2B5EF4-FFF2-40B4-BE49-F238E27FC236}">
                  <a16:creationId xmlns:a16="http://schemas.microsoft.com/office/drawing/2014/main" id="{B12A8FAB-2017-824A-A59C-1EE49F10A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7508950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0 h 1159"/>
                <a:gd name="T22" fmla="*/ 1013 w 1109"/>
                <a:gd name="T23" fmla="*/ 602 h 1159"/>
                <a:gd name="T24" fmla="*/ 1013 w 1109"/>
                <a:gd name="T25" fmla="*/ 602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8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3" name="Freeform 181">
              <a:extLst>
                <a:ext uri="{FF2B5EF4-FFF2-40B4-BE49-F238E27FC236}">
                  <a16:creationId xmlns:a16="http://schemas.microsoft.com/office/drawing/2014/main" id="{466D09F3-619E-874A-8EB0-C96B13A40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8301034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8 w 1109"/>
                <a:gd name="T11" fmla="*/ 589 h 1158"/>
                <a:gd name="T12" fmla="*/ 47 w 1109"/>
                <a:gd name="T13" fmla="*/ 1128 h 1158"/>
                <a:gd name="T14" fmla="*/ 47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7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9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4" name="Freeform 185">
              <a:extLst>
                <a:ext uri="{FF2B5EF4-FFF2-40B4-BE49-F238E27FC236}">
                  <a16:creationId xmlns:a16="http://schemas.microsoft.com/office/drawing/2014/main" id="{1D6FA4C9-1572-5347-9EDB-24683BD16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6713987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7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6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5" name="Freeform 484">
              <a:extLst>
                <a:ext uri="{FF2B5EF4-FFF2-40B4-BE49-F238E27FC236}">
                  <a16:creationId xmlns:a16="http://schemas.microsoft.com/office/drawing/2014/main" id="{B2FB6009-750E-844E-8B77-48F84F7DEE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4578" y="6186526"/>
              <a:ext cx="270102" cy="2624016"/>
            </a:xfrm>
            <a:custGeom>
              <a:avLst/>
              <a:gdLst>
                <a:gd name="connsiteX0" fmla="*/ 69285 w 270102"/>
                <a:gd name="connsiteY0" fmla="*/ 2492875 h 2624016"/>
                <a:gd name="connsiteX1" fmla="*/ 82882 w 270102"/>
                <a:gd name="connsiteY1" fmla="*/ 2503359 h 2624016"/>
                <a:gd name="connsiteX2" fmla="*/ 82882 w 270102"/>
                <a:gd name="connsiteY2" fmla="*/ 2563641 h 2624016"/>
                <a:gd name="connsiteX3" fmla="*/ 69285 w 270102"/>
                <a:gd name="connsiteY3" fmla="*/ 2589850 h 2624016"/>
                <a:gd name="connsiteX4" fmla="*/ 13598 w 270102"/>
                <a:gd name="connsiteY4" fmla="*/ 2622612 h 2624016"/>
                <a:gd name="connsiteX5" fmla="*/ 0 w 270102"/>
                <a:gd name="connsiteY5" fmla="*/ 2612129 h 2624016"/>
                <a:gd name="connsiteX6" fmla="*/ 0 w 270102"/>
                <a:gd name="connsiteY6" fmla="*/ 2551847 h 2624016"/>
                <a:gd name="connsiteX7" fmla="*/ 13598 w 270102"/>
                <a:gd name="connsiteY7" fmla="*/ 2525637 h 2624016"/>
                <a:gd name="connsiteX8" fmla="*/ 257152 w 270102"/>
                <a:gd name="connsiteY8" fmla="*/ 2383424 h 2624016"/>
                <a:gd name="connsiteX9" fmla="*/ 270102 w 270102"/>
                <a:gd name="connsiteY9" fmla="*/ 2393908 h 2624016"/>
                <a:gd name="connsiteX10" fmla="*/ 270102 w 270102"/>
                <a:gd name="connsiteY10" fmla="*/ 2454190 h 2624016"/>
                <a:gd name="connsiteX11" fmla="*/ 257152 w 270102"/>
                <a:gd name="connsiteY11" fmla="*/ 2480399 h 2624016"/>
                <a:gd name="connsiteX12" fmla="*/ 200820 w 270102"/>
                <a:gd name="connsiteY12" fmla="*/ 2513161 h 2624016"/>
                <a:gd name="connsiteX13" fmla="*/ 187222 w 270102"/>
                <a:gd name="connsiteY13" fmla="*/ 2502678 h 2624016"/>
                <a:gd name="connsiteX14" fmla="*/ 187222 w 270102"/>
                <a:gd name="connsiteY14" fmla="*/ 2442396 h 2624016"/>
                <a:gd name="connsiteX15" fmla="*/ 200820 w 270102"/>
                <a:gd name="connsiteY15" fmla="*/ 2416186 h 2624016"/>
                <a:gd name="connsiteX16" fmla="*/ 69285 w 270102"/>
                <a:gd name="connsiteY16" fmla="*/ 1697894 h 2624016"/>
                <a:gd name="connsiteX17" fmla="*/ 82882 w 270102"/>
                <a:gd name="connsiteY17" fmla="*/ 1708328 h 2624016"/>
                <a:gd name="connsiteX18" fmla="*/ 82882 w 270102"/>
                <a:gd name="connsiteY18" fmla="*/ 1768326 h 2624016"/>
                <a:gd name="connsiteX19" fmla="*/ 69285 w 270102"/>
                <a:gd name="connsiteY19" fmla="*/ 1794412 h 2624016"/>
                <a:gd name="connsiteX20" fmla="*/ 13598 w 270102"/>
                <a:gd name="connsiteY20" fmla="*/ 1827019 h 2624016"/>
                <a:gd name="connsiteX21" fmla="*/ 0 w 270102"/>
                <a:gd name="connsiteY21" fmla="*/ 1816585 h 2624016"/>
                <a:gd name="connsiteX22" fmla="*/ 0 w 270102"/>
                <a:gd name="connsiteY22" fmla="*/ 1756587 h 2624016"/>
                <a:gd name="connsiteX23" fmla="*/ 13598 w 270102"/>
                <a:gd name="connsiteY23" fmla="*/ 1730501 h 2624016"/>
                <a:gd name="connsiteX24" fmla="*/ 266298 w 270102"/>
                <a:gd name="connsiteY24" fmla="*/ 1588688 h 2624016"/>
                <a:gd name="connsiteX25" fmla="*/ 270102 w 270102"/>
                <a:gd name="connsiteY25" fmla="*/ 1599530 h 2624016"/>
                <a:gd name="connsiteX26" fmla="*/ 270102 w 270102"/>
                <a:gd name="connsiteY26" fmla="*/ 1659527 h 2624016"/>
                <a:gd name="connsiteX27" fmla="*/ 257152 w 270102"/>
                <a:gd name="connsiteY27" fmla="*/ 1685613 h 2624016"/>
                <a:gd name="connsiteX28" fmla="*/ 200820 w 270102"/>
                <a:gd name="connsiteY28" fmla="*/ 1717568 h 2624016"/>
                <a:gd name="connsiteX29" fmla="*/ 187222 w 270102"/>
                <a:gd name="connsiteY29" fmla="*/ 1707134 h 2624016"/>
                <a:gd name="connsiteX30" fmla="*/ 187222 w 270102"/>
                <a:gd name="connsiteY30" fmla="*/ 1647788 h 2624016"/>
                <a:gd name="connsiteX31" fmla="*/ 200820 w 270102"/>
                <a:gd name="connsiteY31" fmla="*/ 1621703 h 2624016"/>
                <a:gd name="connsiteX32" fmla="*/ 257152 w 270102"/>
                <a:gd name="connsiteY32" fmla="*/ 1589095 h 2624016"/>
                <a:gd name="connsiteX33" fmla="*/ 266298 w 270102"/>
                <a:gd name="connsiteY33" fmla="*/ 1588688 h 2624016"/>
                <a:gd name="connsiteX34" fmla="*/ 78997 w 270102"/>
                <a:gd name="connsiteY34" fmla="*/ 903176 h 2624016"/>
                <a:gd name="connsiteX35" fmla="*/ 82882 w 270102"/>
                <a:gd name="connsiteY35" fmla="*/ 914018 h 2624016"/>
                <a:gd name="connsiteX36" fmla="*/ 82882 w 270102"/>
                <a:gd name="connsiteY36" fmla="*/ 974015 h 2624016"/>
                <a:gd name="connsiteX37" fmla="*/ 69285 w 270102"/>
                <a:gd name="connsiteY37" fmla="*/ 1000101 h 2624016"/>
                <a:gd name="connsiteX38" fmla="*/ 13598 w 270102"/>
                <a:gd name="connsiteY38" fmla="*/ 1032056 h 2624016"/>
                <a:gd name="connsiteX39" fmla="*/ 0 w 270102"/>
                <a:gd name="connsiteY39" fmla="*/ 1021622 h 2624016"/>
                <a:gd name="connsiteX40" fmla="*/ 0 w 270102"/>
                <a:gd name="connsiteY40" fmla="*/ 962276 h 2624016"/>
                <a:gd name="connsiteX41" fmla="*/ 13598 w 270102"/>
                <a:gd name="connsiteY41" fmla="*/ 936191 h 2624016"/>
                <a:gd name="connsiteX42" fmla="*/ 69285 w 270102"/>
                <a:gd name="connsiteY42" fmla="*/ 903583 h 2624016"/>
                <a:gd name="connsiteX43" fmla="*/ 78997 w 270102"/>
                <a:gd name="connsiteY43" fmla="*/ 903176 h 2624016"/>
                <a:gd name="connsiteX44" fmla="*/ 257152 w 270102"/>
                <a:gd name="connsiteY44" fmla="*/ 796379 h 2624016"/>
                <a:gd name="connsiteX45" fmla="*/ 270102 w 270102"/>
                <a:gd name="connsiteY45" fmla="*/ 806862 h 2624016"/>
                <a:gd name="connsiteX46" fmla="*/ 270102 w 270102"/>
                <a:gd name="connsiteY46" fmla="*/ 867144 h 2624016"/>
                <a:gd name="connsiteX47" fmla="*/ 257152 w 270102"/>
                <a:gd name="connsiteY47" fmla="*/ 893354 h 2624016"/>
                <a:gd name="connsiteX48" fmla="*/ 200820 w 270102"/>
                <a:gd name="connsiteY48" fmla="*/ 926116 h 2624016"/>
                <a:gd name="connsiteX49" fmla="*/ 187222 w 270102"/>
                <a:gd name="connsiteY49" fmla="*/ 915632 h 2624016"/>
                <a:gd name="connsiteX50" fmla="*/ 187222 w 270102"/>
                <a:gd name="connsiteY50" fmla="*/ 855350 h 2624016"/>
                <a:gd name="connsiteX51" fmla="*/ 200820 w 270102"/>
                <a:gd name="connsiteY51" fmla="*/ 829141 h 2624016"/>
                <a:gd name="connsiteX52" fmla="*/ 69285 w 270102"/>
                <a:gd name="connsiteY52" fmla="*/ 110848 h 2624016"/>
                <a:gd name="connsiteX53" fmla="*/ 82882 w 270102"/>
                <a:gd name="connsiteY53" fmla="*/ 121282 h 2624016"/>
                <a:gd name="connsiteX54" fmla="*/ 82882 w 270102"/>
                <a:gd name="connsiteY54" fmla="*/ 181279 h 2624016"/>
                <a:gd name="connsiteX55" fmla="*/ 69285 w 270102"/>
                <a:gd name="connsiteY55" fmla="*/ 207365 h 2624016"/>
                <a:gd name="connsiteX56" fmla="*/ 13598 w 270102"/>
                <a:gd name="connsiteY56" fmla="*/ 239973 h 2624016"/>
                <a:gd name="connsiteX57" fmla="*/ 0 w 270102"/>
                <a:gd name="connsiteY57" fmla="*/ 229538 h 2624016"/>
                <a:gd name="connsiteX58" fmla="*/ 0 w 270102"/>
                <a:gd name="connsiteY58" fmla="*/ 169541 h 2624016"/>
                <a:gd name="connsiteX59" fmla="*/ 13598 w 270102"/>
                <a:gd name="connsiteY59" fmla="*/ 143455 h 2624016"/>
                <a:gd name="connsiteX60" fmla="*/ 257152 w 270102"/>
                <a:gd name="connsiteY60" fmla="*/ 1397 h 2624016"/>
                <a:gd name="connsiteX61" fmla="*/ 270102 w 270102"/>
                <a:gd name="connsiteY61" fmla="*/ 11831 h 2624016"/>
                <a:gd name="connsiteX62" fmla="*/ 270102 w 270102"/>
                <a:gd name="connsiteY62" fmla="*/ 72481 h 2624016"/>
                <a:gd name="connsiteX63" fmla="*/ 257152 w 270102"/>
                <a:gd name="connsiteY63" fmla="*/ 97914 h 2624016"/>
                <a:gd name="connsiteX64" fmla="*/ 200820 w 270102"/>
                <a:gd name="connsiteY64" fmla="*/ 130522 h 2624016"/>
                <a:gd name="connsiteX65" fmla="*/ 187222 w 270102"/>
                <a:gd name="connsiteY65" fmla="*/ 120087 h 2624016"/>
                <a:gd name="connsiteX66" fmla="*/ 187222 w 270102"/>
                <a:gd name="connsiteY66" fmla="*/ 60090 h 2624016"/>
                <a:gd name="connsiteX67" fmla="*/ 200820 w 270102"/>
                <a:gd name="connsiteY67" fmla="*/ 34004 h 262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70102" h="2624016">
                  <a:moveTo>
                    <a:pt x="69285" y="2492875"/>
                  </a:moveTo>
                  <a:cubicBezTo>
                    <a:pt x="77055" y="2488944"/>
                    <a:pt x="82882" y="2493531"/>
                    <a:pt x="82882" y="2503359"/>
                  </a:cubicBezTo>
                  <a:lnTo>
                    <a:pt x="82882" y="2563641"/>
                  </a:lnTo>
                  <a:cubicBezTo>
                    <a:pt x="82882" y="2573470"/>
                    <a:pt x="77055" y="2585264"/>
                    <a:pt x="69285" y="2589850"/>
                  </a:cubicBezTo>
                  <a:lnTo>
                    <a:pt x="13598" y="2622612"/>
                  </a:lnTo>
                  <a:cubicBezTo>
                    <a:pt x="5828" y="2626544"/>
                    <a:pt x="0" y="2621957"/>
                    <a:pt x="0" y="2612129"/>
                  </a:cubicBezTo>
                  <a:lnTo>
                    <a:pt x="0" y="2551847"/>
                  </a:lnTo>
                  <a:cubicBezTo>
                    <a:pt x="0" y="2542018"/>
                    <a:pt x="5828" y="2529569"/>
                    <a:pt x="13598" y="2525637"/>
                  </a:cubicBezTo>
                  <a:close/>
                  <a:moveTo>
                    <a:pt x="257152" y="2383424"/>
                  </a:moveTo>
                  <a:cubicBezTo>
                    <a:pt x="264275" y="2379493"/>
                    <a:pt x="270102" y="2384080"/>
                    <a:pt x="270102" y="2393908"/>
                  </a:cubicBezTo>
                  <a:lnTo>
                    <a:pt x="270102" y="2454190"/>
                  </a:lnTo>
                  <a:cubicBezTo>
                    <a:pt x="270102" y="2464019"/>
                    <a:pt x="264275" y="2476468"/>
                    <a:pt x="257152" y="2480399"/>
                  </a:cubicBezTo>
                  <a:lnTo>
                    <a:pt x="200820" y="2513161"/>
                  </a:lnTo>
                  <a:cubicBezTo>
                    <a:pt x="193697" y="2517093"/>
                    <a:pt x="187222" y="2512506"/>
                    <a:pt x="187222" y="2502678"/>
                  </a:cubicBezTo>
                  <a:lnTo>
                    <a:pt x="187222" y="2442396"/>
                  </a:lnTo>
                  <a:cubicBezTo>
                    <a:pt x="187222" y="2432567"/>
                    <a:pt x="193697" y="2420773"/>
                    <a:pt x="200820" y="2416186"/>
                  </a:cubicBezTo>
                  <a:close/>
                  <a:moveTo>
                    <a:pt x="69285" y="1697894"/>
                  </a:moveTo>
                  <a:cubicBezTo>
                    <a:pt x="77055" y="1693981"/>
                    <a:pt x="82882" y="1698546"/>
                    <a:pt x="82882" y="1708328"/>
                  </a:cubicBezTo>
                  <a:lnTo>
                    <a:pt x="82882" y="1768326"/>
                  </a:lnTo>
                  <a:cubicBezTo>
                    <a:pt x="82882" y="1778760"/>
                    <a:pt x="77055" y="1790499"/>
                    <a:pt x="69285" y="1794412"/>
                  </a:cubicBezTo>
                  <a:lnTo>
                    <a:pt x="13598" y="1827019"/>
                  </a:lnTo>
                  <a:cubicBezTo>
                    <a:pt x="5828" y="1831584"/>
                    <a:pt x="0" y="1827019"/>
                    <a:pt x="0" y="1816585"/>
                  </a:cubicBezTo>
                  <a:lnTo>
                    <a:pt x="0" y="1756587"/>
                  </a:lnTo>
                  <a:cubicBezTo>
                    <a:pt x="0" y="1746805"/>
                    <a:pt x="5828" y="1735066"/>
                    <a:pt x="13598" y="1730501"/>
                  </a:cubicBezTo>
                  <a:close/>
                  <a:moveTo>
                    <a:pt x="266298" y="1588688"/>
                  </a:moveTo>
                  <a:cubicBezTo>
                    <a:pt x="268645" y="1590563"/>
                    <a:pt x="270102" y="1594312"/>
                    <a:pt x="270102" y="1599530"/>
                  </a:cubicBezTo>
                  <a:lnTo>
                    <a:pt x="270102" y="1659527"/>
                  </a:lnTo>
                  <a:cubicBezTo>
                    <a:pt x="270102" y="1669309"/>
                    <a:pt x="264275" y="1681048"/>
                    <a:pt x="257152" y="1685613"/>
                  </a:cubicBezTo>
                  <a:lnTo>
                    <a:pt x="200820" y="1717568"/>
                  </a:lnTo>
                  <a:cubicBezTo>
                    <a:pt x="193697" y="1722133"/>
                    <a:pt x="187222" y="1717568"/>
                    <a:pt x="187222" y="1707134"/>
                  </a:cubicBezTo>
                  <a:lnTo>
                    <a:pt x="187222" y="1647788"/>
                  </a:lnTo>
                  <a:cubicBezTo>
                    <a:pt x="187222" y="1637354"/>
                    <a:pt x="193697" y="1625615"/>
                    <a:pt x="200820" y="1621703"/>
                  </a:cubicBezTo>
                  <a:lnTo>
                    <a:pt x="257152" y="1589095"/>
                  </a:lnTo>
                  <a:cubicBezTo>
                    <a:pt x="260714" y="1586813"/>
                    <a:pt x="263951" y="1586813"/>
                    <a:pt x="266298" y="1588688"/>
                  </a:cubicBezTo>
                  <a:close/>
                  <a:moveTo>
                    <a:pt x="78997" y="903176"/>
                  </a:moveTo>
                  <a:cubicBezTo>
                    <a:pt x="81425" y="905051"/>
                    <a:pt x="82882" y="908801"/>
                    <a:pt x="82882" y="914018"/>
                  </a:cubicBezTo>
                  <a:lnTo>
                    <a:pt x="82882" y="974015"/>
                  </a:lnTo>
                  <a:cubicBezTo>
                    <a:pt x="82882" y="983797"/>
                    <a:pt x="77055" y="995536"/>
                    <a:pt x="69285" y="1000101"/>
                  </a:cubicBezTo>
                  <a:lnTo>
                    <a:pt x="13598" y="1032056"/>
                  </a:lnTo>
                  <a:cubicBezTo>
                    <a:pt x="5828" y="1036621"/>
                    <a:pt x="0" y="1032056"/>
                    <a:pt x="0" y="1021622"/>
                  </a:cubicBezTo>
                  <a:lnTo>
                    <a:pt x="0" y="962276"/>
                  </a:lnTo>
                  <a:cubicBezTo>
                    <a:pt x="0" y="951842"/>
                    <a:pt x="5828" y="940103"/>
                    <a:pt x="13598" y="936191"/>
                  </a:cubicBezTo>
                  <a:lnTo>
                    <a:pt x="69285" y="903583"/>
                  </a:lnTo>
                  <a:cubicBezTo>
                    <a:pt x="73170" y="901301"/>
                    <a:pt x="76569" y="901301"/>
                    <a:pt x="78997" y="903176"/>
                  </a:cubicBezTo>
                  <a:close/>
                  <a:moveTo>
                    <a:pt x="257152" y="796379"/>
                  </a:moveTo>
                  <a:cubicBezTo>
                    <a:pt x="264275" y="792447"/>
                    <a:pt x="270102" y="797034"/>
                    <a:pt x="270102" y="806862"/>
                  </a:cubicBezTo>
                  <a:lnTo>
                    <a:pt x="270102" y="867144"/>
                  </a:lnTo>
                  <a:cubicBezTo>
                    <a:pt x="270102" y="876973"/>
                    <a:pt x="264275" y="889422"/>
                    <a:pt x="257152" y="893354"/>
                  </a:cubicBezTo>
                  <a:lnTo>
                    <a:pt x="200820" y="926116"/>
                  </a:lnTo>
                  <a:cubicBezTo>
                    <a:pt x="193697" y="930047"/>
                    <a:pt x="187222" y="925460"/>
                    <a:pt x="187222" y="915632"/>
                  </a:cubicBezTo>
                  <a:lnTo>
                    <a:pt x="187222" y="855350"/>
                  </a:lnTo>
                  <a:cubicBezTo>
                    <a:pt x="187222" y="845521"/>
                    <a:pt x="193697" y="833727"/>
                    <a:pt x="200820" y="829141"/>
                  </a:cubicBezTo>
                  <a:close/>
                  <a:moveTo>
                    <a:pt x="69285" y="110848"/>
                  </a:moveTo>
                  <a:cubicBezTo>
                    <a:pt x="77055" y="106935"/>
                    <a:pt x="82882" y="111500"/>
                    <a:pt x="82882" y="121282"/>
                  </a:cubicBezTo>
                  <a:lnTo>
                    <a:pt x="82882" y="181279"/>
                  </a:lnTo>
                  <a:cubicBezTo>
                    <a:pt x="82882" y="191714"/>
                    <a:pt x="77055" y="203452"/>
                    <a:pt x="69285" y="207365"/>
                  </a:cubicBezTo>
                  <a:lnTo>
                    <a:pt x="13598" y="239973"/>
                  </a:lnTo>
                  <a:cubicBezTo>
                    <a:pt x="5828" y="244538"/>
                    <a:pt x="0" y="239973"/>
                    <a:pt x="0" y="229538"/>
                  </a:cubicBezTo>
                  <a:lnTo>
                    <a:pt x="0" y="169541"/>
                  </a:lnTo>
                  <a:cubicBezTo>
                    <a:pt x="0" y="159759"/>
                    <a:pt x="5828" y="148020"/>
                    <a:pt x="13598" y="143455"/>
                  </a:cubicBezTo>
                  <a:close/>
                  <a:moveTo>
                    <a:pt x="257152" y="1397"/>
                  </a:moveTo>
                  <a:cubicBezTo>
                    <a:pt x="264275" y="-2516"/>
                    <a:pt x="270102" y="2049"/>
                    <a:pt x="270102" y="11831"/>
                  </a:cubicBezTo>
                  <a:lnTo>
                    <a:pt x="270102" y="72481"/>
                  </a:lnTo>
                  <a:cubicBezTo>
                    <a:pt x="270102" y="82263"/>
                    <a:pt x="264275" y="94001"/>
                    <a:pt x="257152" y="97914"/>
                  </a:cubicBezTo>
                  <a:lnTo>
                    <a:pt x="200820" y="130522"/>
                  </a:lnTo>
                  <a:cubicBezTo>
                    <a:pt x="193697" y="135087"/>
                    <a:pt x="187222" y="130522"/>
                    <a:pt x="187222" y="120087"/>
                  </a:cubicBezTo>
                  <a:lnTo>
                    <a:pt x="187222" y="60090"/>
                  </a:lnTo>
                  <a:cubicBezTo>
                    <a:pt x="187222" y="50308"/>
                    <a:pt x="193697" y="38569"/>
                    <a:pt x="200820" y="3400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6" name="Freeform 485">
              <a:extLst>
                <a:ext uri="{FF2B5EF4-FFF2-40B4-BE49-F238E27FC236}">
                  <a16:creationId xmlns:a16="http://schemas.microsoft.com/office/drawing/2014/main" id="{E061B98F-442C-244D-887F-51350892E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44190" y="5190218"/>
              <a:ext cx="1531668" cy="4115487"/>
            </a:xfrm>
            <a:custGeom>
              <a:avLst/>
              <a:gdLst>
                <a:gd name="connsiteX0" fmla="*/ 17049 w 1531668"/>
                <a:gd name="connsiteY0" fmla="*/ 2866171 h 4115487"/>
                <a:gd name="connsiteX1" fmla="*/ 58082 w 1531668"/>
                <a:gd name="connsiteY1" fmla="*/ 2867640 h 4115487"/>
                <a:gd name="connsiteX2" fmla="*/ 1474239 w 1531668"/>
                <a:gd name="connsiteY2" fmla="*/ 3684957 h 4115487"/>
                <a:gd name="connsiteX3" fmla="*/ 1531668 w 1531668"/>
                <a:gd name="connsiteY3" fmla="*/ 3794629 h 4115487"/>
                <a:gd name="connsiteX4" fmla="*/ 1531668 w 1531668"/>
                <a:gd name="connsiteY4" fmla="*/ 4065545 h 4115487"/>
                <a:gd name="connsiteX5" fmla="*/ 1474239 w 1531668"/>
                <a:gd name="connsiteY5" fmla="*/ 4108630 h 4115487"/>
                <a:gd name="connsiteX6" fmla="*/ 58082 w 1531668"/>
                <a:gd name="connsiteY6" fmla="*/ 3290660 h 4115487"/>
                <a:gd name="connsiteX7" fmla="*/ 0 w 1531668"/>
                <a:gd name="connsiteY7" fmla="*/ 3180988 h 4115487"/>
                <a:gd name="connsiteX8" fmla="*/ 0 w 1531668"/>
                <a:gd name="connsiteY8" fmla="*/ 2910725 h 4115487"/>
                <a:gd name="connsiteX9" fmla="*/ 17049 w 1531668"/>
                <a:gd name="connsiteY9" fmla="*/ 2866171 h 4115487"/>
                <a:gd name="connsiteX10" fmla="*/ 17049 w 1531668"/>
                <a:gd name="connsiteY10" fmla="*/ 2390920 h 4115487"/>
                <a:gd name="connsiteX11" fmla="*/ 58082 w 1531668"/>
                <a:gd name="connsiteY11" fmla="*/ 2392389 h 4115487"/>
                <a:gd name="connsiteX12" fmla="*/ 1474239 w 1531668"/>
                <a:gd name="connsiteY12" fmla="*/ 3210359 h 4115487"/>
                <a:gd name="connsiteX13" fmla="*/ 1531668 w 1531668"/>
                <a:gd name="connsiteY13" fmla="*/ 3320031 h 4115487"/>
                <a:gd name="connsiteX14" fmla="*/ 1531668 w 1531668"/>
                <a:gd name="connsiteY14" fmla="*/ 3590294 h 4115487"/>
                <a:gd name="connsiteX15" fmla="*/ 1474239 w 1531668"/>
                <a:gd name="connsiteY15" fmla="*/ 3633380 h 4115487"/>
                <a:gd name="connsiteX16" fmla="*/ 58082 w 1531668"/>
                <a:gd name="connsiteY16" fmla="*/ 2815409 h 4115487"/>
                <a:gd name="connsiteX17" fmla="*/ 0 w 1531668"/>
                <a:gd name="connsiteY17" fmla="*/ 2705737 h 4115487"/>
                <a:gd name="connsiteX18" fmla="*/ 0 w 1531668"/>
                <a:gd name="connsiteY18" fmla="*/ 2435474 h 4115487"/>
                <a:gd name="connsiteX19" fmla="*/ 17049 w 1531668"/>
                <a:gd name="connsiteY19" fmla="*/ 2390920 h 4115487"/>
                <a:gd name="connsiteX20" fmla="*/ 17049 w 1531668"/>
                <a:gd name="connsiteY20" fmla="*/ 1912391 h 4115487"/>
                <a:gd name="connsiteX21" fmla="*/ 58082 w 1531668"/>
                <a:gd name="connsiteY21" fmla="*/ 1913615 h 4115487"/>
                <a:gd name="connsiteX22" fmla="*/ 1474239 w 1531668"/>
                <a:gd name="connsiteY22" fmla="*/ 2732003 h 4115487"/>
                <a:gd name="connsiteX23" fmla="*/ 1531668 w 1531668"/>
                <a:gd name="connsiteY23" fmla="*/ 2841731 h 4115487"/>
                <a:gd name="connsiteX24" fmla="*/ 1531668 w 1531668"/>
                <a:gd name="connsiteY24" fmla="*/ 3112133 h 4115487"/>
                <a:gd name="connsiteX25" fmla="*/ 1474239 w 1531668"/>
                <a:gd name="connsiteY25" fmla="*/ 3155240 h 4115487"/>
                <a:gd name="connsiteX26" fmla="*/ 58082 w 1531668"/>
                <a:gd name="connsiteY26" fmla="*/ 2336852 h 4115487"/>
                <a:gd name="connsiteX27" fmla="*/ 0 w 1531668"/>
                <a:gd name="connsiteY27" fmla="*/ 2227124 h 4115487"/>
                <a:gd name="connsiteX28" fmla="*/ 0 w 1531668"/>
                <a:gd name="connsiteY28" fmla="*/ 1956723 h 4115487"/>
                <a:gd name="connsiteX29" fmla="*/ 17049 w 1531668"/>
                <a:gd name="connsiteY29" fmla="*/ 1912391 h 4115487"/>
                <a:gd name="connsiteX30" fmla="*/ 35516 w 1531668"/>
                <a:gd name="connsiteY30" fmla="*/ 1431508 h 4115487"/>
                <a:gd name="connsiteX31" fmla="*/ 58082 w 1531668"/>
                <a:gd name="connsiteY31" fmla="*/ 1438366 h 4115487"/>
                <a:gd name="connsiteX32" fmla="*/ 1474239 w 1531668"/>
                <a:gd name="connsiteY32" fmla="*/ 2256754 h 4115487"/>
                <a:gd name="connsiteX33" fmla="*/ 1531668 w 1531668"/>
                <a:gd name="connsiteY33" fmla="*/ 2366482 h 4115487"/>
                <a:gd name="connsiteX34" fmla="*/ 1531668 w 1531668"/>
                <a:gd name="connsiteY34" fmla="*/ 2636884 h 4115487"/>
                <a:gd name="connsiteX35" fmla="*/ 1474239 w 1531668"/>
                <a:gd name="connsiteY35" fmla="*/ 2679991 h 4115487"/>
                <a:gd name="connsiteX36" fmla="*/ 58082 w 1531668"/>
                <a:gd name="connsiteY36" fmla="*/ 1861603 h 4115487"/>
                <a:gd name="connsiteX37" fmla="*/ 0 w 1531668"/>
                <a:gd name="connsiteY37" fmla="*/ 1752528 h 4115487"/>
                <a:gd name="connsiteX38" fmla="*/ 0 w 1531668"/>
                <a:gd name="connsiteY38" fmla="*/ 1481474 h 4115487"/>
                <a:gd name="connsiteX39" fmla="*/ 35516 w 1531668"/>
                <a:gd name="connsiteY39" fmla="*/ 1431508 h 4115487"/>
                <a:gd name="connsiteX40" fmla="*/ 35516 w 1531668"/>
                <a:gd name="connsiteY40" fmla="*/ 953378 h 4115487"/>
                <a:gd name="connsiteX41" fmla="*/ 58082 w 1531668"/>
                <a:gd name="connsiteY41" fmla="*/ 960236 h 4115487"/>
                <a:gd name="connsiteX42" fmla="*/ 1474239 w 1531668"/>
                <a:gd name="connsiteY42" fmla="*/ 1777971 h 4115487"/>
                <a:gd name="connsiteX43" fmla="*/ 1531668 w 1531668"/>
                <a:gd name="connsiteY43" fmla="*/ 1887699 h 4115487"/>
                <a:gd name="connsiteX44" fmla="*/ 1531668 w 1531668"/>
                <a:gd name="connsiteY44" fmla="*/ 2158100 h 4115487"/>
                <a:gd name="connsiteX45" fmla="*/ 1474239 w 1531668"/>
                <a:gd name="connsiteY45" fmla="*/ 2201861 h 4115487"/>
                <a:gd name="connsiteX46" fmla="*/ 58082 w 1531668"/>
                <a:gd name="connsiteY46" fmla="*/ 1382820 h 4115487"/>
                <a:gd name="connsiteX47" fmla="*/ 0 w 1531668"/>
                <a:gd name="connsiteY47" fmla="*/ 1273745 h 4115487"/>
                <a:gd name="connsiteX48" fmla="*/ 0 w 1531668"/>
                <a:gd name="connsiteY48" fmla="*/ 1003344 h 4115487"/>
                <a:gd name="connsiteX49" fmla="*/ 35516 w 1531668"/>
                <a:gd name="connsiteY49" fmla="*/ 953378 h 4115487"/>
                <a:gd name="connsiteX50" fmla="*/ 35516 w 1531668"/>
                <a:gd name="connsiteY50" fmla="*/ 478138 h 4115487"/>
                <a:gd name="connsiteX51" fmla="*/ 58082 w 1531668"/>
                <a:gd name="connsiteY51" fmla="*/ 484985 h 4115487"/>
                <a:gd name="connsiteX52" fmla="*/ 1474239 w 1531668"/>
                <a:gd name="connsiteY52" fmla="*/ 1303373 h 4115487"/>
                <a:gd name="connsiteX53" fmla="*/ 1531668 w 1531668"/>
                <a:gd name="connsiteY53" fmla="*/ 1412448 h 4115487"/>
                <a:gd name="connsiteX54" fmla="*/ 1531668 w 1531668"/>
                <a:gd name="connsiteY54" fmla="*/ 1682849 h 4115487"/>
                <a:gd name="connsiteX55" fmla="*/ 1474239 w 1531668"/>
                <a:gd name="connsiteY55" fmla="*/ 1726610 h 4115487"/>
                <a:gd name="connsiteX56" fmla="*/ 58082 w 1531668"/>
                <a:gd name="connsiteY56" fmla="*/ 908875 h 4115487"/>
                <a:gd name="connsiteX57" fmla="*/ 0 w 1531668"/>
                <a:gd name="connsiteY57" fmla="*/ 798494 h 4115487"/>
                <a:gd name="connsiteX58" fmla="*/ 0 w 1531668"/>
                <a:gd name="connsiteY58" fmla="*/ 528746 h 4115487"/>
                <a:gd name="connsiteX59" fmla="*/ 35516 w 1531668"/>
                <a:gd name="connsiteY59" fmla="*/ 478138 h 4115487"/>
                <a:gd name="connsiteX60" fmla="*/ 35516 w 1531668"/>
                <a:gd name="connsiteY60" fmla="*/ 2 h 4115487"/>
                <a:gd name="connsiteX61" fmla="*/ 58082 w 1531668"/>
                <a:gd name="connsiteY61" fmla="*/ 6846 h 4115487"/>
                <a:gd name="connsiteX62" fmla="*/ 1474239 w 1531668"/>
                <a:gd name="connsiteY62" fmla="*/ 825469 h 4115487"/>
                <a:gd name="connsiteX63" fmla="*/ 1531668 w 1531668"/>
                <a:gd name="connsiteY63" fmla="*/ 935141 h 4115487"/>
                <a:gd name="connsiteX64" fmla="*/ 1531668 w 1531668"/>
                <a:gd name="connsiteY64" fmla="*/ 1204751 h 4115487"/>
                <a:gd name="connsiteX65" fmla="*/ 1474239 w 1531668"/>
                <a:gd name="connsiteY65" fmla="*/ 1248490 h 4115487"/>
                <a:gd name="connsiteX66" fmla="*/ 58082 w 1531668"/>
                <a:gd name="connsiteY66" fmla="*/ 430519 h 4115487"/>
                <a:gd name="connsiteX67" fmla="*/ 0 w 1531668"/>
                <a:gd name="connsiteY67" fmla="*/ 320847 h 4115487"/>
                <a:gd name="connsiteX68" fmla="*/ 0 w 1531668"/>
                <a:gd name="connsiteY68" fmla="*/ 50584 h 4115487"/>
                <a:gd name="connsiteX69" fmla="*/ 35516 w 1531668"/>
                <a:gd name="connsiteY69" fmla="*/ 2 h 411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487">
                  <a:moveTo>
                    <a:pt x="17049" y="2866171"/>
                  </a:moveTo>
                  <a:cubicBezTo>
                    <a:pt x="27573" y="2858337"/>
                    <a:pt x="42093" y="2858174"/>
                    <a:pt x="58082" y="2867640"/>
                  </a:cubicBezTo>
                  <a:lnTo>
                    <a:pt x="1474239" y="3684957"/>
                  </a:lnTo>
                  <a:cubicBezTo>
                    <a:pt x="1505564" y="3703889"/>
                    <a:pt x="1531668" y="3752849"/>
                    <a:pt x="1531668" y="3794629"/>
                  </a:cubicBezTo>
                  <a:lnTo>
                    <a:pt x="1531668" y="4065545"/>
                  </a:lnTo>
                  <a:cubicBezTo>
                    <a:pt x="1531668" y="4107325"/>
                    <a:pt x="1505564" y="4126909"/>
                    <a:pt x="1474239" y="4108630"/>
                  </a:cubicBezTo>
                  <a:lnTo>
                    <a:pt x="58082" y="3290660"/>
                  </a:lnTo>
                  <a:cubicBezTo>
                    <a:pt x="26104" y="3272381"/>
                    <a:pt x="0" y="3223421"/>
                    <a:pt x="0" y="3180988"/>
                  </a:cubicBezTo>
                  <a:lnTo>
                    <a:pt x="0" y="2910725"/>
                  </a:lnTo>
                  <a:cubicBezTo>
                    <a:pt x="0" y="2889509"/>
                    <a:pt x="6526" y="2874005"/>
                    <a:pt x="17049" y="2866171"/>
                  </a:cubicBezTo>
                  <a:close/>
                  <a:moveTo>
                    <a:pt x="17049" y="2390920"/>
                  </a:moveTo>
                  <a:cubicBezTo>
                    <a:pt x="27573" y="2383086"/>
                    <a:pt x="42093" y="2382923"/>
                    <a:pt x="58082" y="2392389"/>
                  </a:cubicBezTo>
                  <a:lnTo>
                    <a:pt x="1474239" y="3210359"/>
                  </a:lnTo>
                  <a:cubicBezTo>
                    <a:pt x="1505564" y="3228638"/>
                    <a:pt x="1531668" y="3277598"/>
                    <a:pt x="1531668" y="3320031"/>
                  </a:cubicBezTo>
                  <a:lnTo>
                    <a:pt x="1531668" y="3590294"/>
                  </a:lnTo>
                  <a:cubicBezTo>
                    <a:pt x="1531668" y="3632727"/>
                    <a:pt x="1505564" y="3651658"/>
                    <a:pt x="1474239" y="3633380"/>
                  </a:cubicBezTo>
                  <a:lnTo>
                    <a:pt x="58082" y="2815409"/>
                  </a:lnTo>
                  <a:cubicBezTo>
                    <a:pt x="26104" y="2797131"/>
                    <a:pt x="0" y="2748170"/>
                    <a:pt x="0" y="2705737"/>
                  </a:cubicBezTo>
                  <a:lnTo>
                    <a:pt x="0" y="2435474"/>
                  </a:lnTo>
                  <a:cubicBezTo>
                    <a:pt x="0" y="2414258"/>
                    <a:pt x="6526" y="2398754"/>
                    <a:pt x="17049" y="2390920"/>
                  </a:cubicBezTo>
                  <a:close/>
                  <a:moveTo>
                    <a:pt x="17049" y="1912391"/>
                  </a:moveTo>
                  <a:cubicBezTo>
                    <a:pt x="27573" y="1904635"/>
                    <a:pt x="42093" y="1904471"/>
                    <a:pt x="58082" y="1913615"/>
                  </a:cubicBezTo>
                  <a:lnTo>
                    <a:pt x="1474239" y="2732003"/>
                  </a:lnTo>
                  <a:cubicBezTo>
                    <a:pt x="1505564" y="2750291"/>
                    <a:pt x="1531668" y="2799277"/>
                    <a:pt x="1531668" y="2841731"/>
                  </a:cubicBezTo>
                  <a:lnTo>
                    <a:pt x="1531668" y="3112133"/>
                  </a:lnTo>
                  <a:cubicBezTo>
                    <a:pt x="1531668" y="3153934"/>
                    <a:pt x="1505564" y="3173528"/>
                    <a:pt x="1474239" y="3155240"/>
                  </a:cubicBezTo>
                  <a:lnTo>
                    <a:pt x="58082" y="2336852"/>
                  </a:lnTo>
                  <a:cubicBezTo>
                    <a:pt x="26104" y="2318564"/>
                    <a:pt x="0" y="2269578"/>
                    <a:pt x="0" y="2227124"/>
                  </a:cubicBezTo>
                  <a:lnTo>
                    <a:pt x="0" y="1956723"/>
                  </a:lnTo>
                  <a:cubicBezTo>
                    <a:pt x="0" y="1935496"/>
                    <a:pt x="6526" y="1920147"/>
                    <a:pt x="17049" y="1912391"/>
                  </a:cubicBezTo>
                  <a:close/>
                  <a:moveTo>
                    <a:pt x="35516" y="1431508"/>
                  </a:moveTo>
                  <a:cubicBezTo>
                    <a:pt x="42460" y="1431590"/>
                    <a:pt x="50088" y="1433794"/>
                    <a:pt x="58082" y="1438366"/>
                  </a:cubicBezTo>
                  <a:lnTo>
                    <a:pt x="1474239" y="2256754"/>
                  </a:lnTo>
                  <a:cubicBezTo>
                    <a:pt x="1505564" y="2275042"/>
                    <a:pt x="1531668" y="2324028"/>
                    <a:pt x="1531668" y="2366482"/>
                  </a:cubicBezTo>
                  <a:lnTo>
                    <a:pt x="1531668" y="2636884"/>
                  </a:lnTo>
                  <a:cubicBezTo>
                    <a:pt x="1531668" y="2679338"/>
                    <a:pt x="1505564" y="2698279"/>
                    <a:pt x="1474239" y="2679991"/>
                  </a:cubicBezTo>
                  <a:lnTo>
                    <a:pt x="58082" y="1861603"/>
                  </a:lnTo>
                  <a:cubicBezTo>
                    <a:pt x="26104" y="1843315"/>
                    <a:pt x="0" y="1794329"/>
                    <a:pt x="0" y="1752528"/>
                  </a:cubicBezTo>
                  <a:lnTo>
                    <a:pt x="0" y="1481474"/>
                  </a:lnTo>
                  <a:cubicBezTo>
                    <a:pt x="0" y="1450123"/>
                    <a:pt x="14684" y="1431263"/>
                    <a:pt x="35516" y="1431508"/>
                  </a:cubicBezTo>
                  <a:close/>
                  <a:moveTo>
                    <a:pt x="35516" y="953378"/>
                  </a:moveTo>
                  <a:cubicBezTo>
                    <a:pt x="42460" y="953460"/>
                    <a:pt x="50088" y="955664"/>
                    <a:pt x="58082" y="960236"/>
                  </a:cubicBezTo>
                  <a:lnTo>
                    <a:pt x="1474239" y="1777971"/>
                  </a:lnTo>
                  <a:cubicBezTo>
                    <a:pt x="1505564" y="1796912"/>
                    <a:pt x="1531668" y="1845898"/>
                    <a:pt x="1531668" y="1887699"/>
                  </a:cubicBezTo>
                  <a:lnTo>
                    <a:pt x="1531668" y="2158100"/>
                  </a:lnTo>
                  <a:cubicBezTo>
                    <a:pt x="1531668" y="2200555"/>
                    <a:pt x="1505564" y="2220149"/>
                    <a:pt x="1474239" y="2201861"/>
                  </a:cubicBezTo>
                  <a:lnTo>
                    <a:pt x="58082" y="1382820"/>
                  </a:lnTo>
                  <a:cubicBezTo>
                    <a:pt x="26104" y="1364532"/>
                    <a:pt x="0" y="1315546"/>
                    <a:pt x="0" y="1273745"/>
                  </a:cubicBezTo>
                  <a:lnTo>
                    <a:pt x="0" y="1003344"/>
                  </a:lnTo>
                  <a:cubicBezTo>
                    <a:pt x="0" y="971993"/>
                    <a:pt x="14684" y="953133"/>
                    <a:pt x="35516" y="953378"/>
                  </a:cubicBezTo>
                  <a:close/>
                  <a:moveTo>
                    <a:pt x="35516" y="478138"/>
                  </a:moveTo>
                  <a:cubicBezTo>
                    <a:pt x="42460" y="478209"/>
                    <a:pt x="50088" y="480413"/>
                    <a:pt x="58082" y="484985"/>
                  </a:cubicBezTo>
                  <a:lnTo>
                    <a:pt x="1474239" y="1303373"/>
                  </a:lnTo>
                  <a:cubicBezTo>
                    <a:pt x="1505564" y="1321661"/>
                    <a:pt x="1531668" y="1370647"/>
                    <a:pt x="1531668" y="1412448"/>
                  </a:cubicBezTo>
                  <a:lnTo>
                    <a:pt x="1531668" y="1682849"/>
                  </a:lnTo>
                  <a:cubicBezTo>
                    <a:pt x="1531668" y="1725304"/>
                    <a:pt x="1505564" y="1744898"/>
                    <a:pt x="1474239" y="1726610"/>
                  </a:cubicBezTo>
                  <a:lnTo>
                    <a:pt x="58082" y="908875"/>
                  </a:lnTo>
                  <a:cubicBezTo>
                    <a:pt x="26104" y="890587"/>
                    <a:pt x="0" y="840948"/>
                    <a:pt x="0" y="798494"/>
                  </a:cubicBezTo>
                  <a:lnTo>
                    <a:pt x="0" y="528746"/>
                  </a:lnTo>
                  <a:cubicBezTo>
                    <a:pt x="0" y="496905"/>
                    <a:pt x="14684" y="477923"/>
                    <a:pt x="35516" y="478138"/>
                  </a:cubicBezTo>
                  <a:close/>
                  <a:moveTo>
                    <a:pt x="35516" y="2"/>
                  </a:moveTo>
                  <a:cubicBezTo>
                    <a:pt x="42460" y="73"/>
                    <a:pt x="50088" y="2276"/>
                    <a:pt x="58082" y="6846"/>
                  </a:cubicBezTo>
                  <a:lnTo>
                    <a:pt x="1474239" y="825469"/>
                  </a:lnTo>
                  <a:cubicBezTo>
                    <a:pt x="1505564" y="843748"/>
                    <a:pt x="1531668" y="892709"/>
                    <a:pt x="1531668" y="935141"/>
                  </a:cubicBezTo>
                  <a:lnTo>
                    <a:pt x="1531668" y="1204751"/>
                  </a:lnTo>
                  <a:cubicBezTo>
                    <a:pt x="1531668" y="1247837"/>
                    <a:pt x="1505564" y="1266768"/>
                    <a:pt x="1474239" y="1248490"/>
                  </a:cubicBezTo>
                  <a:lnTo>
                    <a:pt x="58082" y="430519"/>
                  </a:lnTo>
                  <a:cubicBezTo>
                    <a:pt x="26104" y="412241"/>
                    <a:pt x="0" y="362627"/>
                    <a:pt x="0" y="320847"/>
                  </a:cubicBezTo>
                  <a:lnTo>
                    <a:pt x="0" y="50584"/>
                  </a:lnTo>
                  <a:cubicBezTo>
                    <a:pt x="0" y="18760"/>
                    <a:pt x="14684" y="-212"/>
                    <a:pt x="35516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7" name="Freeform 486">
              <a:extLst>
                <a:ext uri="{FF2B5EF4-FFF2-40B4-BE49-F238E27FC236}">
                  <a16:creationId xmlns:a16="http://schemas.microsoft.com/office/drawing/2014/main" id="{6912BE5A-66E0-3046-B42C-043F90B60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3319" y="5288564"/>
              <a:ext cx="1393413" cy="3919145"/>
            </a:xfrm>
            <a:custGeom>
              <a:avLst/>
              <a:gdLst>
                <a:gd name="connsiteX0" fmla="*/ 8566 w 1393413"/>
                <a:gd name="connsiteY0" fmla="*/ 2862465 h 3919145"/>
                <a:gd name="connsiteX1" fmla="*/ 29369 w 1393413"/>
                <a:gd name="connsiteY1" fmla="*/ 2863200 h 3919145"/>
                <a:gd name="connsiteX2" fmla="*/ 1364044 w 1393413"/>
                <a:gd name="connsiteY2" fmla="*/ 3634790 h 3919145"/>
                <a:gd name="connsiteX3" fmla="*/ 1393413 w 1393413"/>
                <a:gd name="connsiteY3" fmla="*/ 3690324 h 3919145"/>
                <a:gd name="connsiteX4" fmla="*/ 1393413 w 1393413"/>
                <a:gd name="connsiteY4" fmla="*/ 3893512 h 3919145"/>
                <a:gd name="connsiteX5" fmla="*/ 1364044 w 1393413"/>
                <a:gd name="connsiteY5" fmla="*/ 3915725 h 3919145"/>
                <a:gd name="connsiteX6" fmla="*/ 29369 w 1393413"/>
                <a:gd name="connsiteY6" fmla="*/ 3144134 h 3919145"/>
                <a:gd name="connsiteX7" fmla="*/ 0 w 1393413"/>
                <a:gd name="connsiteY7" fmla="*/ 3087948 h 3919145"/>
                <a:gd name="connsiteX8" fmla="*/ 0 w 1393413"/>
                <a:gd name="connsiteY8" fmla="*/ 2884760 h 3919145"/>
                <a:gd name="connsiteX9" fmla="*/ 8566 w 1393413"/>
                <a:gd name="connsiteY9" fmla="*/ 2862465 h 3919145"/>
                <a:gd name="connsiteX10" fmla="*/ 8566 w 1393413"/>
                <a:gd name="connsiteY10" fmla="*/ 2387540 h 3919145"/>
                <a:gd name="connsiteX11" fmla="*/ 29369 w 1393413"/>
                <a:gd name="connsiteY11" fmla="*/ 2387948 h 3919145"/>
                <a:gd name="connsiteX12" fmla="*/ 1364044 w 1393413"/>
                <a:gd name="connsiteY12" fmla="*/ 3159539 h 3919145"/>
                <a:gd name="connsiteX13" fmla="*/ 1393413 w 1393413"/>
                <a:gd name="connsiteY13" fmla="*/ 3215073 h 3919145"/>
                <a:gd name="connsiteX14" fmla="*/ 1393413 w 1393413"/>
                <a:gd name="connsiteY14" fmla="*/ 3418260 h 3919145"/>
                <a:gd name="connsiteX15" fmla="*/ 1364044 w 1393413"/>
                <a:gd name="connsiteY15" fmla="*/ 3440474 h 3919145"/>
                <a:gd name="connsiteX16" fmla="*/ 29369 w 1393413"/>
                <a:gd name="connsiteY16" fmla="*/ 2668883 h 3919145"/>
                <a:gd name="connsiteX17" fmla="*/ 0 w 1393413"/>
                <a:gd name="connsiteY17" fmla="*/ 2612696 h 3919145"/>
                <a:gd name="connsiteX18" fmla="*/ 0 w 1393413"/>
                <a:gd name="connsiteY18" fmla="*/ 2410162 h 3919145"/>
                <a:gd name="connsiteX19" fmla="*/ 8566 w 1393413"/>
                <a:gd name="connsiteY19" fmla="*/ 2387540 h 3919145"/>
                <a:gd name="connsiteX20" fmla="*/ 8566 w 1393413"/>
                <a:gd name="connsiteY20" fmla="*/ 1909813 h 3919145"/>
                <a:gd name="connsiteX21" fmla="*/ 29369 w 1393413"/>
                <a:gd name="connsiteY21" fmla="*/ 1910466 h 3919145"/>
                <a:gd name="connsiteX22" fmla="*/ 1364044 w 1393413"/>
                <a:gd name="connsiteY22" fmla="*/ 2681586 h 3919145"/>
                <a:gd name="connsiteX23" fmla="*/ 1393413 w 1393413"/>
                <a:gd name="connsiteY23" fmla="*/ 2737739 h 3919145"/>
                <a:gd name="connsiteX24" fmla="*/ 1393413 w 1393413"/>
                <a:gd name="connsiteY24" fmla="*/ 2940803 h 3919145"/>
                <a:gd name="connsiteX25" fmla="*/ 1364044 w 1393413"/>
                <a:gd name="connsiteY25" fmla="*/ 2962350 h 3919145"/>
                <a:gd name="connsiteX26" fmla="*/ 29369 w 1393413"/>
                <a:gd name="connsiteY26" fmla="*/ 2191229 h 3919145"/>
                <a:gd name="connsiteX27" fmla="*/ 0 w 1393413"/>
                <a:gd name="connsiteY27" fmla="*/ 2135730 h 3919145"/>
                <a:gd name="connsiteX28" fmla="*/ 0 w 1393413"/>
                <a:gd name="connsiteY28" fmla="*/ 1932666 h 3919145"/>
                <a:gd name="connsiteX29" fmla="*/ 8566 w 1393413"/>
                <a:gd name="connsiteY29" fmla="*/ 1909813 h 3919145"/>
                <a:gd name="connsiteX30" fmla="*/ 8566 w 1393413"/>
                <a:gd name="connsiteY30" fmla="*/ 1434156 h 3919145"/>
                <a:gd name="connsiteX31" fmla="*/ 29369 w 1393413"/>
                <a:gd name="connsiteY31" fmla="*/ 1434564 h 3919145"/>
                <a:gd name="connsiteX32" fmla="*/ 1364044 w 1393413"/>
                <a:gd name="connsiteY32" fmla="*/ 2205684 h 3919145"/>
                <a:gd name="connsiteX33" fmla="*/ 1393413 w 1393413"/>
                <a:gd name="connsiteY33" fmla="*/ 2261184 h 3919145"/>
                <a:gd name="connsiteX34" fmla="*/ 1393413 w 1393413"/>
                <a:gd name="connsiteY34" fmla="*/ 2464901 h 3919145"/>
                <a:gd name="connsiteX35" fmla="*/ 1364044 w 1393413"/>
                <a:gd name="connsiteY35" fmla="*/ 2486448 h 3919145"/>
                <a:gd name="connsiteX36" fmla="*/ 29369 w 1393413"/>
                <a:gd name="connsiteY36" fmla="*/ 1715327 h 3919145"/>
                <a:gd name="connsiteX37" fmla="*/ 0 w 1393413"/>
                <a:gd name="connsiteY37" fmla="*/ 1659828 h 3919145"/>
                <a:gd name="connsiteX38" fmla="*/ 0 w 1393413"/>
                <a:gd name="connsiteY38" fmla="*/ 1456764 h 3919145"/>
                <a:gd name="connsiteX39" fmla="*/ 8566 w 1393413"/>
                <a:gd name="connsiteY39" fmla="*/ 1434156 h 3919145"/>
                <a:gd name="connsiteX40" fmla="*/ 8566 w 1393413"/>
                <a:gd name="connsiteY40" fmla="*/ 956031 h 3919145"/>
                <a:gd name="connsiteX41" fmla="*/ 29369 w 1393413"/>
                <a:gd name="connsiteY41" fmla="*/ 956439 h 3919145"/>
                <a:gd name="connsiteX42" fmla="*/ 1364044 w 1393413"/>
                <a:gd name="connsiteY42" fmla="*/ 1727377 h 3919145"/>
                <a:gd name="connsiteX43" fmla="*/ 1393413 w 1393413"/>
                <a:gd name="connsiteY43" fmla="*/ 1783564 h 3919145"/>
                <a:gd name="connsiteX44" fmla="*/ 1393413 w 1393413"/>
                <a:gd name="connsiteY44" fmla="*/ 1986751 h 3919145"/>
                <a:gd name="connsiteX45" fmla="*/ 1364044 w 1393413"/>
                <a:gd name="connsiteY45" fmla="*/ 2008965 h 3919145"/>
                <a:gd name="connsiteX46" fmla="*/ 29369 w 1393413"/>
                <a:gd name="connsiteY46" fmla="*/ 1236721 h 3919145"/>
                <a:gd name="connsiteX47" fmla="*/ 0 w 1393413"/>
                <a:gd name="connsiteY47" fmla="*/ 1181841 h 3919145"/>
                <a:gd name="connsiteX48" fmla="*/ 0 w 1393413"/>
                <a:gd name="connsiteY48" fmla="*/ 978653 h 3919145"/>
                <a:gd name="connsiteX49" fmla="*/ 8566 w 1393413"/>
                <a:gd name="connsiteY49" fmla="*/ 956031 h 3919145"/>
                <a:gd name="connsiteX50" fmla="*/ 8566 w 1393413"/>
                <a:gd name="connsiteY50" fmla="*/ 480862 h 3919145"/>
                <a:gd name="connsiteX51" fmla="*/ 29369 w 1393413"/>
                <a:gd name="connsiteY51" fmla="*/ 481842 h 3919145"/>
                <a:gd name="connsiteX52" fmla="*/ 1364044 w 1393413"/>
                <a:gd name="connsiteY52" fmla="*/ 1252779 h 3919145"/>
                <a:gd name="connsiteX53" fmla="*/ 1393413 w 1393413"/>
                <a:gd name="connsiteY53" fmla="*/ 1308313 h 3919145"/>
                <a:gd name="connsiteX54" fmla="*/ 1393413 w 1393413"/>
                <a:gd name="connsiteY54" fmla="*/ 1511500 h 3919145"/>
                <a:gd name="connsiteX55" fmla="*/ 1364044 w 1393413"/>
                <a:gd name="connsiteY55" fmla="*/ 1533714 h 3919145"/>
                <a:gd name="connsiteX56" fmla="*/ 29369 w 1393413"/>
                <a:gd name="connsiteY56" fmla="*/ 762123 h 3919145"/>
                <a:gd name="connsiteX57" fmla="*/ 0 w 1393413"/>
                <a:gd name="connsiteY57" fmla="*/ 706590 h 3919145"/>
                <a:gd name="connsiteX58" fmla="*/ 0 w 1393413"/>
                <a:gd name="connsiteY58" fmla="*/ 503402 h 3919145"/>
                <a:gd name="connsiteX59" fmla="*/ 8566 w 1393413"/>
                <a:gd name="connsiteY59" fmla="*/ 480862 h 3919145"/>
                <a:gd name="connsiteX60" fmla="*/ 8566 w 1393413"/>
                <a:gd name="connsiteY60" fmla="*/ 2971 h 3919145"/>
                <a:gd name="connsiteX61" fmla="*/ 29369 w 1393413"/>
                <a:gd name="connsiteY61" fmla="*/ 3706 h 3919145"/>
                <a:gd name="connsiteX62" fmla="*/ 1364044 w 1393413"/>
                <a:gd name="connsiteY62" fmla="*/ 774826 h 3919145"/>
                <a:gd name="connsiteX63" fmla="*/ 1393413 w 1393413"/>
                <a:gd name="connsiteY63" fmla="*/ 830326 h 3919145"/>
                <a:gd name="connsiteX64" fmla="*/ 1393413 w 1393413"/>
                <a:gd name="connsiteY64" fmla="*/ 1033390 h 3919145"/>
                <a:gd name="connsiteX65" fmla="*/ 1364044 w 1393413"/>
                <a:gd name="connsiteY65" fmla="*/ 1055590 h 3919145"/>
                <a:gd name="connsiteX66" fmla="*/ 29369 w 1393413"/>
                <a:gd name="connsiteY66" fmla="*/ 283816 h 3919145"/>
                <a:gd name="connsiteX67" fmla="*/ 0 w 1393413"/>
                <a:gd name="connsiteY67" fmla="*/ 228317 h 3919145"/>
                <a:gd name="connsiteX68" fmla="*/ 0 w 1393413"/>
                <a:gd name="connsiteY68" fmla="*/ 25253 h 3919145"/>
                <a:gd name="connsiteX69" fmla="*/ 8566 w 1393413"/>
                <a:gd name="connsiteY69" fmla="*/ 2971 h 391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45">
                  <a:moveTo>
                    <a:pt x="8566" y="2862465"/>
                  </a:moveTo>
                  <a:cubicBezTo>
                    <a:pt x="13869" y="2858627"/>
                    <a:pt x="21211" y="2858627"/>
                    <a:pt x="29369" y="2863200"/>
                  </a:cubicBezTo>
                  <a:lnTo>
                    <a:pt x="1364044" y="3634790"/>
                  </a:lnTo>
                  <a:cubicBezTo>
                    <a:pt x="1380360" y="3643937"/>
                    <a:pt x="1393413" y="3668764"/>
                    <a:pt x="1393413" y="3690324"/>
                  </a:cubicBezTo>
                  <a:lnTo>
                    <a:pt x="1393413" y="3893512"/>
                  </a:lnTo>
                  <a:cubicBezTo>
                    <a:pt x="1393413" y="3915072"/>
                    <a:pt x="1380360" y="3924872"/>
                    <a:pt x="1364044" y="3915725"/>
                  </a:cubicBezTo>
                  <a:lnTo>
                    <a:pt x="29369" y="3144134"/>
                  </a:lnTo>
                  <a:cubicBezTo>
                    <a:pt x="13053" y="3134988"/>
                    <a:pt x="0" y="3109508"/>
                    <a:pt x="0" y="3087948"/>
                  </a:cubicBezTo>
                  <a:lnTo>
                    <a:pt x="0" y="2884760"/>
                  </a:lnTo>
                  <a:cubicBezTo>
                    <a:pt x="0" y="2873980"/>
                    <a:pt x="3263" y="2866303"/>
                    <a:pt x="8566" y="2862465"/>
                  </a:cubicBezTo>
                  <a:close/>
                  <a:moveTo>
                    <a:pt x="8566" y="2387540"/>
                  </a:moveTo>
                  <a:cubicBezTo>
                    <a:pt x="13869" y="2383538"/>
                    <a:pt x="21211" y="2383375"/>
                    <a:pt x="29369" y="2387948"/>
                  </a:cubicBezTo>
                  <a:lnTo>
                    <a:pt x="1364044" y="3159539"/>
                  </a:lnTo>
                  <a:cubicBezTo>
                    <a:pt x="1380360" y="3168686"/>
                    <a:pt x="1393413" y="3194166"/>
                    <a:pt x="1393413" y="3215073"/>
                  </a:cubicBezTo>
                  <a:lnTo>
                    <a:pt x="1393413" y="3418260"/>
                  </a:lnTo>
                  <a:cubicBezTo>
                    <a:pt x="1393413" y="3439821"/>
                    <a:pt x="1380360" y="3449621"/>
                    <a:pt x="1364044" y="3440474"/>
                  </a:cubicBezTo>
                  <a:lnTo>
                    <a:pt x="29369" y="2668883"/>
                  </a:lnTo>
                  <a:cubicBezTo>
                    <a:pt x="13053" y="2659083"/>
                    <a:pt x="0" y="2634256"/>
                    <a:pt x="0" y="2612696"/>
                  </a:cubicBezTo>
                  <a:lnTo>
                    <a:pt x="0" y="2410162"/>
                  </a:lnTo>
                  <a:cubicBezTo>
                    <a:pt x="0" y="2399382"/>
                    <a:pt x="3263" y="2391542"/>
                    <a:pt x="8566" y="2387540"/>
                  </a:cubicBezTo>
                  <a:close/>
                  <a:moveTo>
                    <a:pt x="8566" y="1909813"/>
                  </a:moveTo>
                  <a:cubicBezTo>
                    <a:pt x="13869" y="1905732"/>
                    <a:pt x="21211" y="1905569"/>
                    <a:pt x="29369" y="1910466"/>
                  </a:cubicBezTo>
                  <a:lnTo>
                    <a:pt x="1364044" y="2681586"/>
                  </a:lnTo>
                  <a:cubicBezTo>
                    <a:pt x="1380360" y="2690727"/>
                    <a:pt x="1393413" y="2716192"/>
                    <a:pt x="1393413" y="2737739"/>
                  </a:cubicBezTo>
                  <a:lnTo>
                    <a:pt x="1393413" y="2940803"/>
                  </a:lnTo>
                  <a:cubicBezTo>
                    <a:pt x="1393413" y="2962350"/>
                    <a:pt x="1380360" y="2971491"/>
                    <a:pt x="1364044" y="2962350"/>
                  </a:cubicBezTo>
                  <a:lnTo>
                    <a:pt x="29369" y="2191229"/>
                  </a:lnTo>
                  <a:cubicBezTo>
                    <a:pt x="13053" y="2182088"/>
                    <a:pt x="0" y="2157277"/>
                    <a:pt x="0" y="2135730"/>
                  </a:cubicBezTo>
                  <a:lnTo>
                    <a:pt x="0" y="1932666"/>
                  </a:lnTo>
                  <a:cubicBezTo>
                    <a:pt x="0" y="1921892"/>
                    <a:pt x="3263" y="1913894"/>
                    <a:pt x="8566" y="1909813"/>
                  </a:cubicBezTo>
                  <a:close/>
                  <a:moveTo>
                    <a:pt x="8566" y="1434156"/>
                  </a:moveTo>
                  <a:cubicBezTo>
                    <a:pt x="13869" y="1430157"/>
                    <a:pt x="21211" y="1429993"/>
                    <a:pt x="29369" y="1434564"/>
                  </a:cubicBezTo>
                  <a:lnTo>
                    <a:pt x="1364044" y="2205684"/>
                  </a:lnTo>
                  <a:cubicBezTo>
                    <a:pt x="1380360" y="2214825"/>
                    <a:pt x="1393413" y="2240290"/>
                    <a:pt x="1393413" y="2261184"/>
                  </a:cubicBezTo>
                  <a:lnTo>
                    <a:pt x="1393413" y="2464901"/>
                  </a:lnTo>
                  <a:cubicBezTo>
                    <a:pt x="1393413" y="2486448"/>
                    <a:pt x="1380360" y="2496242"/>
                    <a:pt x="1364044" y="2486448"/>
                  </a:cubicBezTo>
                  <a:lnTo>
                    <a:pt x="29369" y="1715327"/>
                  </a:lnTo>
                  <a:cubicBezTo>
                    <a:pt x="13053" y="1706186"/>
                    <a:pt x="0" y="1681375"/>
                    <a:pt x="0" y="1659828"/>
                  </a:cubicBezTo>
                  <a:lnTo>
                    <a:pt x="0" y="1456764"/>
                  </a:lnTo>
                  <a:cubicBezTo>
                    <a:pt x="0" y="1445990"/>
                    <a:pt x="3263" y="1438155"/>
                    <a:pt x="8566" y="1434156"/>
                  </a:cubicBezTo>
                  <a:close/>
                  <a:moveTo>
                    <a:pt x="8566" y="956031"/>
                  </a:moveTo>
                  <a:cubicBezTo>
                    <a:pt x="13869" y="952029"/>
                    <a:pt x="21211" y="951866"/>
                    <a:pt x="29369" y="956439"/>
                  </a:cubicBezTo>
                  <a:lnTo>
                    <a:pt x="1364044" y="1727377"/>
                  </a:lnTo>
                  <a:cubicBezTo>
                    <a:pt x="1380360" y="1737177"/>
                    <a:pt x="1393413" y="1762004"/>
                    <a:pt x="1393413" y="1783564"/>
                  </a:cubicBezTo>
                  <a:lnTo>
                    <a:pt x="1393413" y="1986751"/>
                  </a:lnTo>
                  <a:cubicBezTo>
                    <a:pt x="1393413" y="2008311"/>
                    <a:pt x="1380360" y="2018111"/>
                    <a:pt x="1364044" y="2008965"/>
                  </a:cubicBezTo>
                  <a:lnTo>
                    <a:pt x="29369" y="1236721"/>
                  </a:lnTo>
                  <a:cubicBezTo>
                    <a:pt x="13053" y="1227574"/>
                    <a:pt x="0" y="1203401"/>
                    <a:pt x="0" y="1181841"/>
                  </a:cubicBezTo>
                  <a:lnTo>
                    <a:pt x="0" y="978653"/>
                  </a:lnTo>
                  <a:cubicBezTo>
                    <a:pt x="0" y="967873"/>
                    <a:pt x="3263" y="960033"/>
                    <a:pt x="8566" y="956031"/>
                  </a:cubicBezTo>
                  <a:close/>
                  <a:moveTo>
                    <a:pt x="8566" y="480862"/>
                  </a:moveTo>
                  <a:cubicBezTo>
                    <a:pt x="13869" y="476942"/>
                    <a:pt x="21211" y="476942"/>
                    <a:pt x="29369" y="481842"/>
                  </a:cubicBezTo>
                  <a:lnTo>
                    <a:pt x="1364044" y="1252779"/>
                  </a:lnTo>
                  <a:cubicBezTo>
                    <a:pt x="1380360" y="1261926"/>
                    <a:pt x="1393413" y="1286753"/>
                    <a:pt x="1393413" y="1308313"/>
                  </a:cubicBezTo>
                  <a:lnTo>
                    <a:pt x="1393413" y="1511500"/>
                  </a:lnTo>
                  <a:cubicBezTo>
                    <a:pt x="1393413" y="1533060"/>
                    <a:pt x="1380360" y="1542860"/>
                    <a:pt x="1364044" y="1533714"/>
                  </a:cubicBezTo>
                  <a:lnTo>
                    <a:pt x="29369" y="762123"/>
                  </a:lnTo>
                  <a:cubicBezTo>
                    <a:pt x="13053" y="753630"/>
                    <a:pt x="0" y="728150"/>
                    <a:pt x="0" y="706590"/>
                  </a:cubicBezTo>
                  <a:lnTo>
                    <a:pt x="0" y="503402"/>
                  </a:lnTo>
                  <a:cubicBezTo>
                    <a:pt x="0" y="492622"/>
                    <a:pt x="3263" y="484782"/>
                    <a:pt x="8566" y="480862"/>
                  </a:cubicBezTo>
                  <a:close/>
                  <a:moveTo>
                    <a:pt x="8566" y="2971"/>
                  </a:moveTo>
                  <a:cubicBezTo>
                    <a:pt x="13869" y="-1028"/>
                    <a:pt x="21211" y="-1191"/>
                    <a:pt x="29369" y="3706"/>
                  </a:cubicBezTo>
                  <a:lnTo>
                    <a:pt x="1364044" y="774826"/>
                  </a:lnTo>
                  <a:cubicBezTo>
                    <a:pt x="1380360" y="783967"/>
                    <a:pt x="1393413" y="808779"/>
                    <a:pt x="1393413" y="830326"/>
                  </a:cubicBezTo>
                  <a:lnTo>
                    <a:pt x="1393413" y="1033390"/>
                  </a:lnTo>
                  <a:cubicBezTo>
                    <a:pt x="1393413" y="1054937"/>
                    <a:pt x="1380360" y="1064731"/>
                    <a:pt x="1364044" y="1055590"/>
                  </a:cubicBezTo>
                  <a:lnTo>
                    <a:pt x="29369" y="283816"/>
                  </a:lnTo>
                  <a:cubicBezTo>
                    <a:pt x="13053" y="274675"/>
                    <a:pt x="0" y="249864"/>
                    <a:pt x="0" y="228317"/>
                  </a:cubicBezTo>
                  <a:lnTo>
                    <a:pt x="0" y="25253"/>
                  </a:lnTo>
                  <a:cubicBezTo>
                    <a:pt x="0" y="14806"/>
                    <a:pt x="3263" y="6971"/>
                    <a:pt x="8566" y="297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8" name="Freeform 239">
              <a:extLst>
                <a:ext uri="{FF2B5EF4-FFF2-40B4-BE49-F238E27FC236}">
                  <a16:creationId xmlns:a16="http://schemas.microsoft.com/office/drawing/2014/main" id="{4F640579-B007-1D4C-B170-B65378183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5039" y="8450809"/>
              <a:ext cx="123852" cy="181460"/>
            </a:xfrm>
            <a:custGeom>
              <a:avLst/>
              <a:gdLst>
                <a:gd name="T0" fmla="*/ 189 w 190"/>
                <a:gd name="T1" fmla="*/ 193 h 279"/>
                <a:gd name="T2" fmla="*/ 189 w 190"/>
                <a:gd name="T3" fmla="*/ 193 h 279"/>
                <a:gd name="T4" fmla="*/ 95 w 190"/>
                <a:gd name="T5" fmla="*/ 248 h 279"/>
                <a:gd name="T6" fmla="*/ 95 w 190"/>
                <a:gd name="T7" fmla="*/ 248 h 279"/>
                <a:gd name="T8" fmla="*/ 0 w 190"/>
                <a:gd name="T9" fmla="*/ 84 h 279"/>
                <a:gd name="T10" fmla="*/ 0 w 190"/>
                <a:gd name="T11" fmla="*/ 84 h 279"/>
                <a:gd name="T12" fmla="*/ 95 w 190"/>
                <a:gd name="T13" fmla="*/ 30 h 279"/>
                <a:gd name="T14" fmla="*/ 95 w 190"/>
                <a:gd name="T15" fmla="*/ 30 h 279"/>
                <a:gd name="T16" fmla="*/ 189 w 190"/>
                <a:gd name="T17" fmla="*/ 19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3"/>
                  </a:moveTo>
                  <a:lnTo>
                    <a:pt x="189" y="193"/>
                  </a:lnTo>
                  <a:cubicBezTo>
                    <a:pt x="189" y="254"/>
                    <a:pt x="147" y="278"/>
                    <a:pt x="95" y="248"/>
                  </a:cubicBezTo>
                  <a:lnTo>
                    <a:pt x="95" y="248"/>
                  </a:lnTo>
                  <a:cubicBezTo>
                    <a:pt x="42" y="218"/>
                    <a:pt x="0" y="145"/>
                    <a:pt x="0" y="84"/>
                  </a:cubicBezTo>
                  <a:lnTo>
                    <a:pt x="0" y="84"/>
                  </a:lnTo>
                  <a:cubicBezTo>
                    <a:pt x="0" y="24"/>
                    <a:pt x="42" y="0"/>
                    <a:pt x="95" y="30"/>
                  </a:cubicBezTo>
                  <a:lnTo>
                    <a:pt x="95" y="30"/>
                  </a:lnTo>
                  <a:cubicBezTo>
                    <a:pt x="147" y="60"/>
                    <a:pt x="189" y="133"/>
                    <a:pt x="189" y="193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9" name="Freeform 244">
              <a:extLst>
                <a:ext uri="{FF2B5EF4-FFF2-40B4-BE49-F238E27FC236}">
                  <a16:creationId xmlns:a16="http://schemas.microsoft.com/office/drawing/2014/main" id="{29E9DDF1-0C8F-124B-8270-EE13D59BA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9776" y="8453689"/>
              <a:ext cx="385961" cy="457967"/>
            </a:xfrm>
            <a:custGeom>
              <a:avLst/>
              <a:gdLst>
                <a:gd name="T0" fmla="*/ 36 w 591"/>
                <a:gd name="T1" fmla="*/ 701 h 702"/>
                <a:gd name="T2" fmla="*/ 36 w 591"/>
                <a:gd name="T3" fmla="*/ 701 h 702"/>
                <a:gd name="T4" fmla="*/ 9 w 591"/>
                <a:gd name="T5" fmla="*/ 685 h 702"/>
                <a:gd name="T6" fmla="*/ 9 w 591"/>
                <a:gd name="T7" fmla="*/ 685 h 702"/>
                <a:gd name="T8" fmla="*/ 20 w 591"/>
                <a:gd name="T9" fmla="*/ 642 h 702"/>
                <a:gd name="T10" fmla="*/ 448 w 591"/>
                <a:gd name="T11" fmla="*/ 394 h 702"/>
                <a:gd name="T12" fmla="*/ 448 w 591"/>
                <a:gd name="T13" fmla="*/ 394 h 702"/>
                <a:gd name="T14" fmla="*/ 527 w 591"/>
                <a:gd name="T15" fmla="*/ 258 h 702"/>
                <a:gd name="T16" fmla="*/ 527 w 591"/>
                <a:gd name="T17" fmla="*/ 32 h 702"/>
                <a:gd name="T18" fmla="*/ 527 w 591"/>
                <a:gd name="T19" fmla="*/ 32 h 702"/>
                <a:gd name="T20" fmla="*/ 558 w 591"/>
                <a:gd name="T21" fmla="*/ 0 h 702"/>
                <a:gd name="T22" fmla="*/ 558 w 591"/>
                <a:gd name="T23" fmla="*/ 0 h 702"/>
                <a:gd name="T24" fmla="*/ 590 w 591"/>
                <a:gd name="T25" fmla="*/ 32 h 702"/>
                <a:gd name="T26" fmla="*/ 590 w 591"/>
                <a:gd name="T27" fmla="*/ 258 h 702"/>
                <a:gd name="T28" fmla="*/ 590 w 591"/>
                <a:gd name="T29" fmla="*/ 258 h 702"/>
                <a:gd name="T30" fmla="*/ 480 w 591"/>
                <a:gd name="T31" fmla="*/ 450 h 702"/>
                <a:gd name="T32" fmla="*/ 51 w 591"/>
                <a:gd name="T33" fmla="*/ 697 h 702"/>
                <a:gd name="T34" fmla="*/ 51 w 591"/>
                <a:gd name="T35" fmla="*/ 697 h 702"/>
                <a:gd name="T36" fmla="*/ 36 w 591"/>
                <a:gd name="T37" fmla="*/ 701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1" h="702">
                  <a:moveTo>
                    <a:pt x="36" y="701"/>
                  </a:moveTo>
                  <a:lnTo>
                    <a:pt x="36" y="701"/>
                  </a:lnTo>
                  <a:cubicBezTo>
                    <a:pt x="25" y="701"/>
                    <a:pt x="15" y="696"/>
                    <a:pt x="9" y="685"/>
                  </a:cubicBezTo>
                  <a:lnTo>
                    <a:pt x="9" y="685"/>
                  </a:lnTo>
                  <a:cubicBezTo>
                    <a:pt x="0" y="671"/>
                    <a:pt x="5" y="651"/>
                    <a:pt x="20" y="642"/>
                  </a:cubicBezTo>
                  <a:lnTo>
                    <a:pt x="448" y="394"/>
                  </a:lnTo>
                  <a:lnTo>
                    <a:pt x="448" y="394"/>
                  </a:lnTo>
                  <a:cubicBezTo>
                    <a:pt x="496" y="367"/>
                    <a:pt x="527" y="315"/>
                    <a:pt x="527" y="258"/>
                  </a:cubicBezTo>
                  <a:lnTo>
                    <a:pt x="527" y="32"/>
                  </a:lnTo>
                  <a:lnTo>
                    <a:pt x="527" y="32"/>
                  </a:lnTo>
                  <a:cubicBezTo>
                    <a:pt x="527" y="14"/>
                    <a:pt x="541" y="0"/>
                    <a:pt x="558" y="0"/>
                  </a:cubicBezTo>
                  <a:lnTo>
                    <a:pt x="558" y="0"/>
                  </a:lnTo>
                  <a:cubicBezTo>
                    <a:pt x="576" y="0"/>
                    <a:pt x="590" y="14"/>
                    <a:pt x="590" y="32"/>
                  </a:cubicBezTo>
                  <a:lnTo>
                    <a:pt x="590" y="258"/>
                  </a:lnTo>
                  <a:lnTo>
                    <a:pt x="590" y="258"/>
                  </a:lnTo>
                  <a:cubicBezTo>
                    <a:pt x="590" y="337"/>
                    <a:pt x="548" y="410"/>
                    <a:pt x="480" y="450"/>
                  </a:cubicBezTo>
                  <a:lnTo>
                    <a:pt x="51" y="697"/>
                  </a:lnTo>
                  <a:lnTo>
                    <a:pt x="51" y="697"/>
                  </a:lnTo>
                  <a:cubicBezTo>
                    <a:pt x="47" y="700"/>
                    <a:pt x="41" y="701"/>
                    <a:pt x="36" y="7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0" name="Freeform 489">
              <a:extLst>
                <a:ext uri="{FF2B5EF4-FFF2-40B4-BE49-F238E27FC236}">
                  <a16:creationId xmlns:a16="http://schemas.microsoft.com/office/drawing/2014/main" id="{B02D8DFD-232D-CD44-87FD-5D5346DD3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31582" y="8795716"/>
              <a:ext cx="419875" cy="337071"/>
            </a:xfrm>
            <a:custGeom>
              <a:avLst/>
              <a:gdLst>
                <a:gd name="connsiteX0" fmla="*/ 336695 w 419875"/>
                <a:gd name="connsiteY0" fmla="*/ 165 h 337071"/>
                <a:gd name="connsiteX1" fmla="*/ 360038 w 419875"/>
                <a:gd name="connsiteY1" fmla="*/ 8178 h 337071"/>
                <a:gd name="connsiteX2" fmla="*/ 419875 w 419875"/>
                <a:gd name="connsiteY2" fmla="*/ 112840 h 337071"/>
                <a:gd name="connsiteX3" fmla="*/ 402152 w 419875"/>
                <a:gd name="connsiteY3" fmla="*/ 152006 h 337071"/>
                <a:gd name="connsiteX4" fmla="*/ 401299 w 419875"/>
                <a:gd name="connsiteY4" fmla="*/ 152176 h 337071"/>
                <a:gd name="connsiteX5" fmla="*/ 402591 w 419875"/>
                <a:gd name="connsiteY5" fmla="*/ 154433 h 337071"/>
                <a:gd name="connsiteX6" fmla="*/ 84687 w 419875"/>
                <a:gd name="connsiteY6" fmla="*/ 337071 h 337071"/>
                <a:gd name="connsiteX7" fmla="*/ 0 w 419875"/>
                <a:gd name="connsiteY7" fmla="*/ 189128 h 337071"/>
                <a:gd name="connsiteX8" fmla="*/ 312901 w 419875"/>
                <a:gd name="connsiteY8" fmla="*/ 9364 h 337071"/>
                <a:gd name="connsiteX9" fmla="*/ 317681 w 419875"/>
                <a:gd name="connsiteY9" fmla="*/ 3926 h 337071"/>
                <a:gd name="connsiteX10" fmla="*/ 336695 w 419875"/>
                <a:gd name="connsiteY10" fmla="*/ 165 h 33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875" h="337071">
                  <a:moveTo>
                    <a:pt x="336695" y="165"/>
                  </a:moveTo>
                  <a:cubicBezTo>
                    <a:pt x="343860" y="819"/>
                    <a:pt x="351746" y="3436"/>
                    <a:pt x="360038" y="8178"/>
                  </a:cubicBezTo>
                  <a:cubicBezTo>
                    <a:pt x="393209" y="27802"/>
                    <a:pt x="419875" y="74246"/>
                    <a:pt x="419875" y="112840"/>
                  </a:cubicBezTo>
                  <a:cubicBezTo>
                    <a:pt x="419875" y="132137"/>
                    <a:pt x="413046" y="145710"/>
                    <a:pt x="402152" y="152006"/>
                  </a:cubicBezTo>
                  <a:lnTo>
                    <a:pt x="401299" y="152176"/>
                  </a:lnTo>
                  <a:lnTo>
                    <a:pt x="402591" y="154433"/>
                  </a:lnTo>
                  <a:lnTo>
                    <a:pt x="84687" y="337071"/>
                  </a:lnTo>
                  <a:lnTo>
                    <a:pt x="0" y="189128"/>
                  </a:lnTo>
                  <a:lnTo>
                    <a:pt x="312901" y="9364"/>
                  </a:lnTo>
                  <a:lnTo>
                    <a:pt x="317681" y="3926"/>
                  </a:lnTo>
                  <a:cubicBezTo>
                    <a:pt x="323088" y="819"/>
                    <a:pt x="329531" y="-489"/>
                    <a:pt x="336695" y="16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1" name="Freeform 248">
              <a:extLst>
                <a:ext uri="{FF2B5EF4-FFF2-40B4-BE49-F238E27FC236}">
                  <a16:creationId xmlns:a16="http://schemas.microsoft.com/office/drawing/2014/main" id="{7E8D4106-A346-CF4A-B5AF-4D22242CC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3428" y="8891496"/>
              <a:ext cx="192981" cy="210261"/>
            </a:xfrm>
            <a:custGeom>
              <a:avLst/>
              <a:gdLst>
                <a:gd name="T0" fmla="*/ 0 w 296"/>
                <a:gd name="T1" fmla="*/ 94 h 321"/>
                <a:gd name="T2" fmla="*/ 166 w 296"/>
                <a:gd name="T3" fmla="*/ 0 h 321"/>
                <a:gd name="T4" fmla="*/ 166 w 296"/>
                <a:gd name="T5" fmla="*/ 0 h 321"/>
                <a:gd name="T6" fmla="*/ 295 w 296"/>
                <a:gd name="T7" fmla="*/ 225 h 321"/>
                <a:gd name="T8" fmla="*/ 130 w 296"/>
                <a:gd name="T9" fmla="*/ 320 h 321"/>
                <a:gd name="T10" fmla="*/ 130 w 296"/>
                <a:gd name="T11" fmla="*/ 320 h 321"/>
                <a:gd name="T12" fmla="*/ 0 w 296"/>
                <a:gd name="T13" fmla="*/ 9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321">
                  <a:moveTo>
                    <a:pt x="0" y="94"/>
                  </a:moveTo>
                  <a:lnTo>
                    <a:pt x="166" y="0"/>
                  </a:lnTo>
                  <a:lnTo>
                    <a:pt x="166" y="0"/>
                  </a:lnTo>
                  <a:cubicBezTo>
                    <a:pt x="234" y="49"/>
                    <a:pt x="288" y="142"/>
                    <a:pt x="295" y="225"/>
                  </a:cubicBezTo>
                  <a:lnTo>
                    <a:pt x="130" y="320"/>
                  </a:lnTo>
                  <a:lnTo>
                    <a:pt x="130" y="320"/>
                  </a:lnTo>
                  <a:cubicBezTo>
                    <a:pt x="61" y="271"/>
                    <a:pt x="8" y="178"/>
                    <a:pt x="0" y="9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2" name="Freeform 491">
              <a:extLst>
                <a:ext uri="{FF2B5EF4-FFF2-40B4-BE49-F238E27FC236}">
                  <a16:creationId xmlns:a16="http://schemas.microsoft.com/office/drawing/2014/main" id="{D9DB6E3E-2B64-C449-A0CD-19C24BA03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2093" y="8897850"/>
              <a:ext cx="664694" cy="534489"/>
            </a:xfrm>
            <a:custGeom>
              <a:avLst/>
              <a:gdLst>
                <a:gd name="connsiteX0" fmla="*/ 529456 w 664694"/>
                <a:gd name="connsiteY0" fmla="*/ 258 h 534489"/>
                <a:gd name="connsiteX1" fmla="*/ 567746 w 664694"/>
                <a:gd name="connsiteY1" fmla="*/ 13403 h 534489"/>
                <a:gd name="connsiteX2" fmla="*/ 664694 w 664694"/>
                <a:gd name="connsiteY2" fmla="*/ 182181 h 534489"/>
                <a:gd name="connsiteX3" fmla="*/ 636035 w 664694"/>
                <a:gd name="connsiteY3" fmla="*/ 245147 h 534489"/>
                <a:gd name="connsiteX4" fmla="*/ 634414 w 664694"/>
                <a:gd name="connsiteY4" fmla="*/ 245472 h 534489"/>
                <a:gd name="connsiteX5" fmla="*/ 635894 w 664694"/>
                <a:gd name="connsiteY5" fmla="*/ 248052 h 534489"/>
                <a:gd name="connsiteX6" fmla="*/ 136962 w 664694"/>
                <a:gd name="connsiteY6" fmla="*/ 534489 h 534489"/>
                <a:gd name="connsiteX7" fmla="*/ 0 w 664694"/>
                <a:gd name="connsiteY7" fmla="*/ 295138 h 534489"/>
                <a:gd name="connsiteX8" fmla="*/ 495326 w 664694"/>
                <a:gd name="connsiteY8" fmla="*/ 9749 h 534489"/>
                <a:gd name="connsiteX9" fmla="*/ 498229 w 664694"/>
                <a:gd name="connsiteY9" fmla="*/ 6479 h 534489"/>
                <a:gd name="connsiteX10" fmla="*/ 529456 w 664694"/>
                <a:gd name="connsiteY10" fmla="*/ 258 h 53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4694" h="534489">
                  <a:moveTo>
                    <a:pt x="529456" y="258"/>
                  </a:moveTo>
                  <a:cubicBezTo>
                    <a:pt x="541216" y="1307"/>
                    <a:pt x="554154" y="5583"/>
                    <a:pt x="567746" y="13403"/>
                  </a:cubicBezTo>
                  <a:cubicBezTo>
                    <a:pt x="621460" y="44683"/>
                    <a:pt x="664694" y="120274"/>
                    <a:pt x="664694" y="182181"/>
                  </a:cubicBezTo>
                  <a:cubicBezTo>
                    <a:pt x="664694" y="213135"/>
                    <a:pt x="653722" y="234965"/>
                    <a:pt x="636035" y="245147"/>
                  </a:cubicBezTo>
                  <a:lnTo>
                    <a:pt x="634414" y="245472"/>
                  </a:lnTo>
                  <a:lnTo>
                    <a:pt x="635894" y="248052"/>
                  </a:lnTo>
                  <a:lnTo>
                    <a:pt x="136962" y="534489"/>
                  </a:lnTo>
                  <a:lnTo>
                    <a:pt x="0" y="295138"/>
                  </a:lnTo>
                  <a:lnTo>
                    <a:pt x="495326" y="9749"/>
                  </a:lnTo>
                  <a:lnTo>
                    <a:pt x="498229" y="6479"/>
                  </a:lnTo>
                  <a:cubicBezTo>
                    <a:pt x="507113" y="1388"/>
                    <a:pt x="517696" y="-791"/>
                    <a:pt x="529456" y="25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3" name="Freeform 251">
              <a:extLst>
                <a:ext uri="{FF2B5EF4-FFF2-40B4-BE49-F238E27FC236}">
                  <a16:creationId xmlns:a16="http://schemas.microsoft.com/office/drawing/2014/main" id="{D50159ED-4264-5B43-87EF-A34173F16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591945"/>
              <a:ext cx="6529645" cy="3770315"/>
            </a:xfrm>
            <a:custGeom>
              <a:avLst/>
              <a:gdLst>
                <a:gd name="T0" fmla="*/ 5539 w 9996"/>
                <a:gd name="T1" fmla="*/ 5684 h 5773"/>
                <a:gd name="T2" fmla="*/ 152 w 9996"/>
                <a:gd name="T3" fmla="*/ 2574 h 5773"/>
                <a:gd name="T4" fmla="*/ 152 w 9996"/>
                <a:gd name="T5" fmla="*/ 2574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4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4"/>
                  </a:moveTo>
                  <a:lnTo>
                    <a:pt x="152" y="2574"/>
                  </a:lnTo>
                  <a:lnTo>
                    <a:pt x="152" y="2574"/>
                  </a:lnTo>
                  <a:cubicBezTo>
                    <a:pt x="0" y="2486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2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1"/>
                    <a:pt x="5691" y="5772"/>
                    <a:pt x="5539" y="5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4" name="Freeform 252">
              <a:extLst>
                <a:ext uri="{FF2B5EF4-FFF2-40B4-BE49-F238E27FC236}">
                  <a16:creationId xmlns:a16="http://schemas.microsoft.com/office/drawing/2014/main" id="{49FEDE8D-6CDA-E04A-AA38-A62AE80D9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4774" y="11763157"/>
              <a:ext cx="720076" cy="443567"/>
            </a:xfrm>
            <a:custGeom>
              <a:avLst/>
              <a:gdLst>
                <a:gd name="T0" fmla="*/ 1066 w 1103"/>
                <a:gd name="T1" fmla="*/ 678 h 679"/>
                <a:gd name="T2" fmla="*/ 1066 w 1103"/>
                <a:gd name="T3" fmla="*/ 678 h 679"/>
                <a:gd name="T4" fmla="*/ 1050 w 1103"/>
                <a:gd name="T5" fmla="*/ 673 h 679"/>
                <a:gd name="T6" fmla="*/ 20 w 1103"/>
                <a:gd name="T7" fmla="*/ 63 h 679"/>
                <a:gd name="T8" fmla="*/ 20 w 1103"/>
                <a:gd name="T9" fmla="*/ 63 h 679"/>
                <a:gd name="T10" fmla="*/ 9 w 1103"/>
                <a:gd name="T11" fmla="*/ 20 h 679"/>
                <a:gd name="T12" fmla="*/ 9 w 1103"/>
                <a:gd name="T13" fmla="*/ 20 h 679"/>
                <a:gd name="T14" fmla="*/ 52 w 1103"/>
                <a:gd name="T15" fmla="*/ 9 h 679"/>
                <a:gd name="T16" fmla="*/ 1082 w 1103"/>
                <a:gd name="T17" fmla="*/ 619 h 679"/>
                <a:gd name="T18" fmla="*/ 1082 w 1103"/>
                <a:gd name="T19" fmla="*/ 619 h 679"/>
                <a:gd name="T20" fmla="*/ 1093 w 1103"/>
                <a:gd name="T21" fmla="*/ 662 h 679"/>
                <a:gd name="T22" fmla="*/ 1093 w 1103"/>
                <a:gd name="T23" fmla="*/ 662 h 679"/>
                <a:gd name="T24" fmla="*/ 1066 w 1103"/>
                <a:gd name="T25" fmla="*/ 67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3" h="679">
                  <a:moveTo>
                    <a:pt x="1066" y="678"/>
                  </a:moveTo>
                  <a:lnTo>
                    <a:pt x="1066" y="678"/>
                  </a:lnTo>
                  <a:cubicBezTo>
                    <a:pt x="1060" y="678"/>
                    <a:pt x="1054" y="677"/>
                    <a:pt x="1050" y="673"/>
                  </a:cubicBezTo>
                  <a:lnTo>
                    <a:pt x="20" y="63"/>
                  </a:lnTo>
                  <a:lnTo>
                    <a:pt x="20" y="63"/>
                  </a:lnTo>
                  <a:cubicBezTo>
                    <a:pt x="5" y="54"/>
                    <a:pt x="0" y="35"/>
                    <a:pt x="9" y="20"/>
                  </a:cubicBezTo>
                  <a:lnTo>
                    <a:pt x="9" y="20"/>
                  </a:lnTo>
                  <a:cubicBezTo>
                    <a:pt x="17" y="4"/>
                    <a:pt x="37" y="0"/>
                    <a:pt x="52" y="9"/>
                  </a:cubicBezTo>
                  <a:lnTo>
                    <a:pt x="1082" y="619"/>
                  </a:lnTo>
                  <a:lnTo>
                    <a:pt x="1082" y="619"/>
                  </a:lnTo>
                  <a:cubicBezTo>
                    <a:pt x="1097" y="628"/>
                    <a:pt x="1102" y="648"/>
                    <a:pt x="1093" y="662"/>
                  </a:cubicBezTo>
                  <a:lnTo>
                    <a:pt x="1093" y="662"/>
                  </a:lnTo>
                  <a:cubicBezTo>
                    <a:pt x="1087" y="672"/>
                    <a:pt x="1076" y="678"/>
                    <a:pt x="1066" y="67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5" name="Freeform 253">
              <a:extLst>
                <a:ext uri="{FF2B5EF4-FFF2-40B4-BE49-F238E27FC236}">
                  <a16:creationId xmlns:a16="http://schemas.microsoft.com/office/drawing/2014/main" id="{8F0AD833-78AB-7248-BF30-F8144DD53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1" y="8387443"/>
              <a:ext cx="6469159" cy="3660865"/>
            </a:xfrm>
            <a:custGeom>
              <a:avLst/>
              <a:gdLst>
                <a:gd name="T0" fmla="*/ 9899 w 9903"/>
                <a:gd name="T1" fmla="*/ 2930 h 5606"/>
                <a:gd name="T2" fmla="*/ 9162 w 9903"/>
                <a:gd name="T3" fmla="*/ 2833 h 5606"/>
                <a:gd name="T4" fmla="*/ 4410 w 9903"/>
                <a:gd name="T5" fmla="*/ 88 h 5606"/>
                <a:gd name="T6" fmla="*/ 4410 w 9903"/>
                <a:gd name="T7" fmla="*/ 88 h 5606"/>
                <a:gd name="T8" fmla="*/ 3816 w 9903"/>
                <a:gd name="T9" fmla="*/ 113 h 5606"/>
                <a:gd name="T10" fmla="*/ 448 w 9903"/>
                <a:gd name="T11" fmla="*/ 2057 h 5606"/>
                <a:gd name="T12" fmla="*/ 2 w 9903"/>
                <a:gd name="T13" fmla="*/ 1998 h 5606"/>
                <a:gd name="T14" fmla="*/ 2 w 9903"/>
                <a:gd name="T15" fmla="*/ 2251 h 5606"/>
                <a:gd name="T16" fmla="*/ 3 w 9903"/>
                <a:gd name="T17" fmla="*/ 2251 h 5606"/>
                <a:gd name="T18" fmla="*/ 3 w 9903"/>
                <a:gd name="T19" fmla="*/ 2251 h 5606"/>
                <a:gd name="T20" fmla="*/ 105 w 9903"/>
                <a:gd name="T21" fmla="*/ 2407 h 5606"/>
                <a:gd name="T22" fmla="*/ 5492 w 9903"/>
                <a:gd name="T23" fmla="*/ 5517 h 5606"/>
                <a:gd name="T24" fmla="*/ 5492 w 9903"/>
                <a:gd name="T25" fmla="*/ 5517 h 5606"/>
                <a:gd name="T26" fmla="*/ 6086 w 9903"/>
                <a:gd name="T27" fmla="*/ 5492 h 5606"/>
                <a:gd name="T28" fmla="*/ 9753 w 9903"/>
                <a:gd name="T29" fmla="*/ 3376 h 5606"/>
                <a:gd name="T30" fmla="*/ 9753 w 9903"/>
                <a:gd name="T31" fmla="*/ 3376 h 5606"/>
                <a:gd name="T32" fmla="*/ 9899 w 9903"/>
                <a:gd name="T33" fmla="*/ 3175 h 5606"/>
                <a:gd name="T34" fmla="*/ 9899 w 9903"/>
                <a:gd name="T35" fmla="*/ 2930 h 5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903" h="5606">
                  <a:moveTo>
                    <a:pt x="9899" y="2930"/>
                  </a:moveTo>
                  <a:lnTo>
                    <a:pt x="9162" y="2833"/>
                  </a:lnTo>
                  <a:lnTo>
                    <a:pt x="4410" y="88"/>
                  </a:lnTo>
                  <a:lnTo>
                    <a:pt x="4410" y="88"/>
                  </a:lnTo>
                  <a:cubicBezTo>
                    <a:pt x="4258" y="0"/>
                    <a:pt x="3992" y="11"/>
                    <a:pt x="3816" y="113"/>
                  </a:cubicBezTo>
                  <a:lnTo>
                    <a:pt x="448" y="2057"/>
                  </a:lnTo>
                  <a:lnTo>
                    <a:pt x="2" y="1998"/>
                  </a:lnTo>
                  <a:lnTo>
                    <a:pt x="2" y="2251"/>
                  </a:lnTo>
                  <a:lnTo>
                    <a:pt x="3" y="2251"/>
                  </a:lnTo>
                  <a:lnTo>
                    <a:pt x="3" y="2251"/>
                  </a:lnTo>
                  <a:cubicBezTo>
                    <a:pt x="0" y="2309"/>
                    <a:pt x="34" y="2365"/>
                    <a:pt x="105" y="2407"/>
                  </a:cubicBezTo>
                  <a:lnTo>
                    <a:pt x="5492" y="5517"/>
                  </a:lnTo>
                  <a:lnTo>
                    <a:pt x="5492" y="5517"/>
                  </a:lnTo>
                  <a:cubicBezTo>
                    <a:pt x="5644" y="5605"/>
                    <a:pt x="5910" y="5594"/>
                    <a:pt x="6086" y="5492"/>
                  </a:cubicBezTo>
                  <a:lnTo>
                    <a:pt x="9753" y="3376"/>
                  </a:lnTo>
                  <a:lnTo>
                    <a:pt x="9753" y="3376"/>
                  </a:lnTo>
                  <a:cubicBezTo>
                    <a:pt x="9852" y="3318"/>
                    <a:pt x="9902" y="3245"/>
                    <a:pt x="9899" y="3175"/>
                  </a:cubicBezTo>
                  <a:lnTo>
                    <a:pt x="9899" y="293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6" name="Freeform 495">
              <a:extLst>
                <a:ext uri="{FF2B5EF4-FFF2-40B4-BE49-F238E27FC236}">
                  <a16:creationId xmlns:a16="http://schemas.microsoft.com/office/drawing/2014/main" id="{55D2B393-DBFC-2443-818F-586B4F6B9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7447" y="9041271"/>
              <a:ext cx="4131276" cy="2988361"/>
            </a:xfrm>
            <a:custGeom>
              <a:avLst/>
              <a:gdLst>
                <a:gd name="connsiteX0" fmla="*/ 1486371 w 4131276"/>
                <a:gd name="connsiteY0" fmla="*/ 0 h 2988361"/>
                <a:gd name="connsiteX1" fmla="*/ 3911194 w 4131276"/>
                <a:gd name="connsiteY1" fmla="*/ 0 h 2988361"/>
                <a:gd name="connsiteX2" fmla="*/ 4131276 w 4131276"/>
                <a:gd name="connsiteY2" fmla="*/ 127360 h 2988361"/>
                <a:gd name="connsiteX3" fmla="*/ 3785806 w 4131276"/>
                <a:gd name="connsiteY3" fmla="*/ 2987408 h 2988361"/>
                <a:gd name="connsiteX4" fmla="*/ 3585315 w 4131276"/>
                <a:gd name="connsiteY4" fmla="*/ 2949527 h 2988361"/>
                <a:gd name="connsiteX5" fmla="*/ 67266 w 4131276"/>
                <a:gd name="connsiteY5" fmla="*/ 918298 h 2988361"/>
                <a:gd name="connsiteX6" fmla="*/ 653 w 4131276"/>
                <a:gd name="connsiteY6" fmla="*/ 816410 h 2988361"/>
                <a:gd name="connsiteX7" fmla="*/ 0 w 4131276"/>
                <a:gd name="connsiteY7" fmla="*/ 816410 h 2988361"/>
                <a:gd name="connsiteX8" fmla="*/ 0 w 4131276"/>
                <a:gd name="connsiteY8" fmla="*/ 651169 h 2988361"/>
                <a:gd name="connsiteX9" fmla="*/ 6 w 4131276"/>
                <a:gd name="connsiteY9" fmla="*/ 651170 h 2988361"/>
                <a:gd name="connsiteX10" fmla="*/ 6 w 4131276"/>
                <a:gd name="connsiteY10" fmla="*/ 650949 h 2988361"/>
                <a:gd name="connsiteX11" fmla="*/ 130532 w 4131276"/>
                <a:gd name="connsiteY11" fmla="*/ 667859 h 2988361"/>
                <a:gd name="connsiteX12" fmla="*/ 130532 w 4131276"/>
                <a:gd name="connsiteY12" fmla="*/ 668438 h 2988361"/>
                <a:gd name="connsiteX13" fmla="*/ 291266 w 4131276"/>
                <a:gd name="connsiteY13" fmla="*/ 689703 h 298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31276" h="2988361">
                  <a:moveTo>
                    <a:pt x="1486371" y="0"/>
                  </a:moveTo>
                  <a:lnTo>
                    <a:pt x="3911194" y="0"/>
                  </a:lnTo>
                  <a:lnTo>
                    <a:pt x="4131276" y="127360"/>
                  </a:lnTo>
                  <a:lnTo>
                    <a:pt x="3785806" y="2987408"/>
                  </a:lnTo>
                  <a:cubicBezTo>
                    <a:pt x="3711357" y="2991980"/>
                    <a:pt x="3638213" y="2980223"/>
                    <a:pt x="3585315" y="2949527"/>
                  </a:cubicBezTo>
                  <a:lnTo>
                    <a:pt x="67266" y="918298"/>
                  </a:lnTo>
                  <a:cubicBezTo>
                    <a:pt x="20898" y="890867"/>
                    <a:pt x="-1306" y="854292"/>
                    <a:pt x="653" y="816410"/>
                  </a:cubicBezTo>
                  <a:lnTo>
                    <a:pt x="0" y="816410"/>
                  </a:lnTo>
                  <a:lnTo>
                    <a:pt x="0" y="651169"/>
                  </a:lnTo>
                  <a:lnTo>
                    <a:pt x="6" y="651170"/>
                  </a:lnTo>
                  <a:lnTo>
                    <a:pt x="6" y="650949"/>
                  </a:lnTo>
                  <a:lnTo>
                    <a:pt x="130532" y="667859"/>
                  </a:lnTo>
                  <a:lnTo>
                    <a:pt x="130532" y="668438"/>
                  </a:lnTo>
                  <a:lnTo>
                    <a:pt x="291266" y="68970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7" name="Freeform 256">
              <a:extLst>
                <a:ext uri="{FF2B5EF4-FFF2-40B4-BE49-F238E27FC236}">
                  <a16:creationId xmlns:a16="http://schemas.microsoft.com/office/drawing/2014/main" id="{45D87306-050F-AF4B-928A-1BC998FCE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66681" y="11619141"/>
              <a:ext cx="331234" cy="426285"/>
            </a:xfrm>
            <a:custGeom>
              <a:avLst/>
              <a:gdLst>
                <a:gd name="T0" fmla="*/ 0 w 506"/>
                <a:gd name="T1" fmla="*/ 595 h 651"/>
                <a:gd name="T2" fmla="*/ 0 w 506"/>
                <a:gd name="T3" fmla="*/ 595 h 651"/>
                <a:gd name="T4" fmla="*/ 505 w 506"/>
                <a:gd name="T5" fmla="*/ 564 h 651"/>
                <a:gd name="T6" fmla="*/ 505 w 506"/>
                <a:gd name="T7" fmla="*/ 0 h 651"/>
                <a:gd name="T8" fmla="*/ 0 w 506"/>
                <a:gd name="T9" fmla="*/ 0 h 651"/>
                <a:gd name="T10" fmla="*/ 0 w 506"/>
                <a:gd name="T11" fmla="*/ 59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651">
                  <a:moveTo>
                    <a:pt x="0" y="595"/>
                  </a:moveTo>
                  <a:lnTo>
                    <a:pt x="0" y="595"/>
                  </a:lnTo>
                  <a:cubicBezTo>
                    <a:pt x="145" y="650"/>
                    <a:pt x="351" y="638"/>
                    <a:pt x="505" y="564"/>
                  </a:cubicBezTo>
                  <a:lnTo>
                    <a:pt x="505" y="0"/>
                  </a:lnTo>
                  <a:lnTo>
                    <a:pt x="0" y="0"/>
                  </a:lnTo>
                  <a:lnTo>
                    <a:pt x="0" y="595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8" name="Freeform 257">
              <a:extLst>
                <a:ext uri="{FF2B5EF4-FFF2-40B4-BE49-F238E27FC236}">
                  <a16:creationId xmlns:a16="http://schemas.microsoft.com/office/drawing/2014/main" id="{D32C76D9-4737-0E4E-9868-02FD4918D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113815"/>
              <a:ext cx="6529645" cy="3770315"/>
            </a:xfrm>
            <a:custGeom>
              <a:avLst/>
              <a:gdLst>
                <a:gd name="T0" fmla="*/ 5539 w 9996"/>
                <a:gd name="T1" fmla="*/ 5683 h 5773"/>
                <a:gd name="T2" fmla="*/ 152 w 9996"/>
                <a:gd name="T3" fmla="*/ 2573 h 5773"/>
                <a:gd name="T4" fmla="*/ 152 w 9996"/>
                <a:gd name="T5" fmla="*/ 2573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3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3"/>
                  </a:moveTo>
                  <a:lnTo>
                    <a:pt x="152" y="2573"/>
                  </a:lnTo>
                  <a:lnTo>
                    <a:pt x="152" y="2573"/>
                  </a:lnTo>
                  <a:cubicBezTo>
                    <a:pt x="0" y="2485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1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0"/>
                    <a:pt x="5691" y="5772"/>
                    <a:pt x="5539" y="5683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9" name="Freeform 258">
              <a:extLst>
                <a:ext uri="{FF2B5EF4-FFF2-40B4-BE49-F238E27FC236}">
                  <a16:creationId xmlns:a16="http://schemas.microsoft.com/office/drawing/2014/main" id="{BD397799-11CE-1C47-A3BF-F62A26B26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2" y="9666297"/>
              <a:ext cx="6489320" cy="2217833"/>
            </a:xfrm>
            <a:custGeom>
              <a:avLst/>
              <a:gdLst>
                <a:gd name="T0" fmla="*/ 9766 w 9933"/>
                <a:gd name="T1" fmla="*/ 1072 h 3395"/>
                <a:gd name="T2" fmla="*/ 6099 w 9933"/>
                <a:gd name="T3" fmla="*/ 3189 h 3395"/>
                <a:gd name="T4" fmla="*/ 6099 w 9933"/>
                <a:gd name="T5" fmla="*/ 3189 h 3395"/>
                <a:gd name="T6" fmla="*/ 5505 w 9933"/>
                <a:gd name="T7" fmla="*/ 3213 h 3395"/>
                <a:gd name="T8" fmla="*/ 118 w 9933"/>
                <a:gd name="T9" fmla="*/ 103 h 3395"/>
                <a:gd name="T10" fmla="*/ 118 w 9933"/>
                <a:gd name="T11" fmla="*/ 103 h 3395"/>
                <a:gd name="T12" fmla="*/ 24 w 9933"/>
                <a:gd name="T13" fmla="*/ 0 h 3395"/>
                <a:gd name="T14" fmla="*/ 24 w 9933"/>
                <a:gd name="T15" fmla="*/ 0 h 3395"/>
                <a:gd name="T16" fmla="*/ 118 w 9933"/>
                <a:gd name="T17" fmla="*/ 195 h 3395"/>
                <a:gd name="T18" fmla="*/ 5505 w 9933"/>
                <a:gd name="T19" fmla="*/ 3305 h 3395"/>
                <a:gd name="T20" fmla="*/ 5505 w 9933"/>
                <a:gd name="T21" fmla="*/ 3305 h 3395"/>
                <a:gd name="T22" fmla="*/ 6099 w 9933"/>
                <a:gd name="T23" fmla="*/ 3281 h 3395"/>
                <a:gd name="T24" fmla="*/ 9766 w 9933"/>
                <a:gd name="T25" fmla="*/ 1164 h 3395"/>
                <a:gd name="T26" fmla="*/ 9766 w 9933"/>
                <a:gd name="T27" fmla="*/ 1164 h 3395"/>
                <a:gd name="T28" fmla="*/ 9904 w 9933"/>
                <a:gd name="T29" fmla="*/ 924 h 3395"/>
                <a:gd name="T30" fmla="*/ 9904 w 9933"/>
                <a:gd name="T31" fmla="*/ 924 h 3395"/>
                <a:gd name="T32" fmla="*/ 9766 w 9933"/>
                <a:gd name="T33" fmla="*/ 1072 h 3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33" h="3395">
                  <a:moveTo>
                    <a:pt x="9766" y="1072"/>
                  </a:moveTo>
                  <a:lnTo>
                    <a:pt x="6099" y="3189"/>
                  </a:lnTo>
                  <a:lnTo>
                    <a:pt x="6099" y="3189"/>
                  </a:lnTo>
                  <a:cubicBezTo>
                    <a:pt x="5923" y="3290"/>
                    <a:pt x="5657" y="3301"/>
                    <a:pt x="5505" y="3213"/>
                  </a:cubicBezTo>
                  <a:lnTo>
                    <a:pt x="118" y="103"/>
                  </a:lnTo>
                  <a:lnTo>
                    <a:pt x="118" y="103"/>
                  </a:lnTo>
                  <a:cubicBezTo>
                    <a:pt x="68" y="74"/>
                    <a:pt x="37" y="39"/>
                    <a:pt x="24" y="0"/>
                  </a:cubicBezTo>
                  <a:lnTo>
                    <a:pt x="24" y="0"/>
                  </a:lnTo>
                  <a:cubicBezTo>
                    <a:pt x="0" y="72"/>
                    <a:pt x="30" y="144"/>
                    <a:pt x="118" y="195"/>
                  </a:cubicBezTo>
                  <a:lnTo>
                    <a:pt x="5505" y="3305"/>
                  </a:lnTo>
                  <a:lnTo>
                    <a:pt x="5505" y="3305"/>
                  </a:lnTo>
                  <a:cubicBezTo>
                    <a:pt x="5657" y="3394"/>
                    <a:pt x="5923" y="3382"/>
                    <a:pt x="6099" y="3281"/>
                  </a:cubicBezTo>
                  <a:lnTo>
                    <a:pt x="9766" y="1164"/>
                  </a:lnTo>
                  <a:lnTo>
                    <a:pt x="9766" y="1164"/>
                  </a:lnTo>
                  <a:cubicBezTo>
                    <a:pt x="9885" y="1096"/>
                    <a:pt x="9932" y="1004"/>
                    <a:pt x="9904" y="924"/>
                  </a:cubicBezTo>
                  <a:lnTo>
                    <a:pt x="9904" y="924"/>
                  </a:lnTo>
                  <a:cubicBezTo>
                    <a:pt x="9887" y="977"/>
                    <a:pt x="9840" y="1029"/>
                    <a:pt x="9766" y="107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0" name="Freeform 499">
              <a:extLst>
                <a:ext uri="{FF2B5EF4-FFF2-40B4-BE49-F238E27FC236}">
                  <a16:creationId xmlns:a16="http://schemas.microsoft.com/office/drawing/2014/main" id="{18381B01-B9E9-1E49-AB7A-78E794645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1640" y="8257271"/>
              <a:ext cx="4708662" cy="2809236"/>
            </a:xfrm>
            <a:custGeom>
              <a:avLst/>
              <a:gdLst>
                <a:gd name="connsiteX0" fmla="*/ 3453928 w 4708662"/>
                <a:gd name="connsiteY0" fmla="*/ 2629347 h 2809236"/>
                <a:gd name="connsiteX1" fmla="*/ 3473747 w 4708662"/>
                <a:gd name="connsiteY1" fmla="*/ 2633255 h 2809236"/>
                <a:gd name="connsiteX2" fmla="*/ 3650567 w 4708662"/>
                <a:gd name="connsiteY2" fmla="*/ 2735521 h 2809236"/>
                <a:gd name="connsiteX3" fmla="*/ 3647958 w 4708662"/>
                <a:gd name="connsiteY3" fmla="*/ 2758971 h 2809236"/>
                <a:gd name="connsiteX4" fmla="*/ 3570965 w 4708662"/>
                <a:gd name="connsiteY4" fmla="*/ 2803916 h 2809236"/>
                <a:gd name="connsiteX5" fmla="*/ 3530512 w 4708662"/>
                <a:gd name="connsiteY5" fmla="*/ 2805218 h 2809236"/>
                <a:gd name="connsiteX6" fmla="*/ 3353039 w 4708662"/>
                <a:gd name="connsiteY6" fmla="*/ 2702952 h 2809236"/>
                <a:gd name="connsiteX7" fmla="*/ 3356301 w 4708662"/>
                <a:gd name="connsiteY7" fmla="*/ 2679503 h 2809236"/>
                <a:gd name="connsiteX8" fmla="*/ 3432641 w 4708662"/>
                <a:gd name="connsiteY8" fmla="*/ 2635209 h 2809236"/>
                <a:gd name="connsiteX9" fmla="*/ 3453928 w 4708662"/>
                <a:gd name="connsiteY9" fmla="*/ 2629347 h 2809236"/>
                <a:gd name="connsiteX10" fmla="*/ 3206302 w 4708662"/>
                <a:gd name="connsiteY10" fmla="*/ 2485331 h 2809236"/>
                <a:gd name="connsiteX11" fmla="*/ 3226040 w 4708662"/>
                <a:gd name="connsiteY11" fmla="*/ 2489239 h 2809236"/>
                <a:gd name="connsiteX12" fmla="*/ 3403513 w 4708662"/>
                <a:gd name="connsiteY12" fmla="*/ 2591505 h 2809236"/>
                <a:gd name="connsiteX13" fmla="*/ 3400903 w 4708662"/>
                <a:gd name="connsiteY13" fmla="*/ 2614955 h 2809236"/>
                <a:gd name="connsiteX14" fmla="*/ 3323911 w 4708662"/>
                <a:gd name="connsiteY14" fmla="*/ 2659248 h 2809236"/>
                <a:gd name="connsiteX15" fmla="*/ 3282805 w 4708662"/>
                <a:gd name="connsiteY15" fmla="*/ 2661202 h 2809236"/>
                <a:gd name="connsiteX16" fmla="*/ 3105332 w 4708662"/>
                <a:gd name="connsiteY16" fmla="*/ 2558936 h 2809236"/>
                <a:gd name="connsiteX17" fmla="*/ 3108594 w 4708662"/>
                <a:gd name="connsiteY17" fmla="*/ 2534836 h 2809236"/>
                <a:gd name="connsiteX18" fmla="*/ 3185586 w 4708662"/>
                <a:gd name="connsiteY18" fmla="*/ 2491193 h 2809236"/>
                <a:gd name="connsiteX19" fmla="*/ 3206302 w 4708662"/>
                <a:gd name="connsiteY19" fmla="*/ 2485331 h 2809236"/>
                <a:gd name="connsiteX20" fmla="*/ 3341169 w 4708662"/>
                <a:gd name="connsiteY20" fmla="*/ 2407562 h 2809236"/>
                <a:gd name="connsiteX21" fmla="*/ 3361028 w 4708662"/>
                <a:gd name="connsiteY21" fmla="*/ 2411470 h 2809236"/>
                <a:gd name="connsiteX22" fmla="*/ 3538865 w 4708662"/>
                <a:gd name="connsiteY22" fmla="*/ 2513736 h 2809236"/>
                <a:gd name="connsiteX23" fmla="*/ 3535596 w 4708662"/>
                <a:gd name="connsiteY23" fmla="*/ 2537186 h 2809236"/>
                <a:gd name="connsiteX24" fmla="*/ 3458446 w 4708662"/>
                <a:gd name="connsiteY24" fmla="*/ 2581479 h 2809236"/>
                <a:gd name="connsiteX25" fmla="*/ 3417910 w 4708662"/>
                <a:gd name="connsiteY25" fmla="*/ 2583433 h 2809236"/>
                <a:gd name="connsiteX26" fmla="*/ 3240073 w 4708662"/>
                <a:gd name="connsiteY26" fmla="*/ 2481167 h 2809236"/>
                <a:gd name="connsiteX27" fmla="*/ 3243342 w 4708662"/>
                <a:gd name="connsiteY27" fmla="*/ 2457718 h 2809236"/>
                <a:gd name="connsiteX28" fmla="*/ 3319838 w 4708662"/>
                <a:gd name="connsiteY28" fmla="*/ 2413424 h 2809236"/>
                <a:gd name="connsiteX29" fmla="*/ 3341169 w 4708662"/>
                <a:gd name="connsiteY29" fmla="*/ 2407562 h 2809236"/>
                <a:gd name="connsiteX30" fmla="*/ 2961051 w 4708662"/>
                <a:gd name="connsiteY30" fmla="*/ 2344195 h 2809236"/>
                <a:gd name="connsiteX31" fmla="*/ 2980828 w 4708662"/>
                <a:gd name="connsiteY31" fmla="*/ 2348103 h 2809236"/>
                <a:gd name="connsiteX32" fmla="*/ 3158011 w 4708662"/>
                <a:gd name="connsiteY32" fmla="*/ 2449718 h 2809236"/>
                <a:gd name="connsiteX33" fmla="*/ 3155396 w 4708662"/>
                <a:gd name="connsiteY33" fmla="*/ 2473819 h 2809236"/>
                <a:gd name="connsiteX34" fmla="*/ 3078246 w 4708662"/>
                <a:gd name="connsiteY34" fmla="*/ 2518112 h 2809236"/>
                <a:gd name="connsiteX35" fmla="*/ 3037710 w 4708662"/>
                <a:gd name="connsiteY35" fmla="*/ 2519415 h 2809236"/>
                <a:gd name="connsiteX36" fmla="*/ 2861181 w 4708662"/>
                <a:gd name="connsiteY36" fmla="*/ 2417800 h 2809236"/>
                <a:gd name="connsiteX37" fmla="*/ 2863796 w 4708662"/>
                <a:gd name="connsiteY37" fmla="*/ 2393700 h 2809236"/>
                <a:gd name="connsiteX38" fmla="*/ 2940292 w 4708662"/>
                <a:gd name="connsiteY38" fmla="*/ 2350057 h 2809236"/>
                <a:gd name="connsiteX39" fmla="*/ 2961051 w 4708662"/>
                <a:gd name="connsiteY39" fmla="*/ 2344195 h 2809236"/>
                <a:gd name="connsiteX40" fmla="*/ 3487301 w 4708662"/>
                <a:gd name="connsiteY40" fmla="*/ 2232201 h 2809236"/>
                <a:gd name="connsiteX41" fmla="*/ 3511128 w 4708662"/>
                <a:gd name="connsiteY41" fmla="*/ 2237109 h 2809236"/>
                <a:gd name="connsiteX42" fmla="*/ 3980490 w 4708662"/>
                <a:gd name="connsiteY42" fmla="*/ 2508687 h 2809236"/>
                <a:gd name="connsiteX43" fmla="*/ 3976573 w 4708662"/>
                <a:gd name="connsiteY43" fmla="*/ 2537481 h 2809236"/>
                <a:gd name="connsiteX44" fmla="*/ 3819249 w 4708662"/>
                <a:gd name="connsiteY44" fmla="*/ 2628444 h 2809236"/>
                <a:gd name="connsiteX45" fmla="*/ 3768983 w 4708662"/>
                <a:gd name="connsiteY45" fmla="*/ 2630407 h 2809236"/>
                <a:gd name="connsiteX46" fmla="*/ 3300274 w 4708662"/>
                <a:gd name="connsiteY46" fmla="*/ 2359483 h 2809236"/>
                <a:gd name="connsiteX47" fmla="*/ 3304191 w 4708662"/>
                <a:gd name="connsiteY47" fmla="*/ 2330689 h 2809236"/>
                <a:gd name="connsiteX48" fmla="*/ 3461515 w 4708662"/>
                <a:gd name="connsiteY48" fmla="*/ 2239073 h 2809236"/>
                <a:gd name="connsiteX49" fmla="*/ 3487301 w 4708662"/>
                <a:gd name="connsiteY49" fmla="*/ 2232201 h 2809236"/>
                <a:gd name="connsiteX50" fmla="*/ 3850372 w 4708662"/>
                <a:gd name="connsiteY50" fmla="*/ 2166346 h 2809236"/>
                <a:gd name="connsiteX51" fmla="*/ 3874218 w 4708662"/>
                <a:gd name="connsiteY51" fmla="*/ 2171469 h 2809236"/>
                <a:gd name="connsiteX52" fmla="*/ 4221773 w 4708662"/>
                <a:gd name="connsiteY52" fmla="*/ 2370544 h 2809236"/>
                <a:gd name="connsiteX53" fmla="*/ 4217853 w 4708662"/>
                <a:gd name="connsiteY53" fmla="*/ 2399819 h 2809236"/>
                <a:gd name="connsiteX54" fmla="*/ 4060408 w 4708662"/>
                <a:gd name="connsiteY54" fmla="*/ 2490249 h 2809236"/>
                <a:gd name="connsiteX55" fmla="*/ 4010757 w 4708662"/>
                <a:gd name="connsiteY55" fmla="*/ 2492201 h 2809236"/>
                <a:gd name="connsiteX56" fmla="*/ 3663203 w 4708662"/>
                <a:gd name="connsiteY56" fmla="*/ 2292475 h 2809236"/>
                <a:gd name="connsiteX57" fmla="*/ 3667122 w 4708662"/>
                <a:gd name="connsiteY57" fmla="*/ 2263850 h 2809236"/>
                <a:gd name="connsiteX58" fmla="*/ 3824567 w 4708662"/>
                <a:gd name="connsiteY58" fmla="*/ 2173421 h 2809236"/>
                <a:gd name="connsiteX59" fmla="*/ 3850372 w 4708662"/>
                <a:gd name="connsiteY59" fmla="*/ 2166346 h 2809236"/>
                <a:gd name="connsiteX60" fmla="*/ 2846658 w 4708662"/>
                <a:gd name="connsiteY60" fmla="*/ 2140034 h 2809236"/>
                <a:gd name="connsiteX61" fmla="*/ 2871095 w 4708662"/>
                <a:gd name="connsiteY61" fmla="*/ 2144949 h 2809236"/>
                <a:gd name="connsiteX62" fmla="*/ 3029317 w 4708662"/>
                <a:gd name="connsiteY62" fmla="*/ 2237348 h 2809236"/>
                <a:gd name="connsiteX63" fmla="*/ 3026048 w 4708662"/>
                <a:gd name="connsiteY63" fmla="*/ 2266181 h 2809236"/>
                <a:gd name="connsiteX64" fmla="*/ 2838404 w 4708662"/>
                <a:gd name="connsiteY64" fmla="*/ 2374962 h 2809236"/>
                <a:gd name="connsiteX65" fmla="*/ 2788714 w 4708662"/>
                <a:gd name="connsiteY65" fmla="*/ 2377583 h 2809236"/>
                <a:gd name="connsiteX66" fmla="*/ 2629184 w 4708662"/>
                <a:gd name="connsiteY66" fmla="*/ 2285185 h 2809236"/>
                <a:gd name="connsiteX67" fmla="*/ 2632453 w 4708662"/>
                <a:gd name="connsiteY67" fmla="*/ 2256352 h 2809236"/>
                <a:gd name="connsiteX68" fmla="*/ 2820751 w 4708662"/>
                <a:gd name="connsiteY68" fmla="*/ 2146915 h 2809236"/>
                <a:gd name="connsiteX69" fmla="*/ 2846658 w 4708662"/>
                <a:gd name="connsiteY69" fmla="*/ 2140034 h 2809236"/>
                <a:gd name="connsiteX70" fmla="*/ 4280170 w 4708662"/>
                <a:gd name="connsiteY70" fmla="*/ 2137567 h 2809236"/>
                <a:gd name="connsiteX71" fmla="*/ 4304563 w 4708662"/>
                <a:gd name="connsiteY71" fmla="*/ 2142737 h 2809236"/>
                <a:gd name="connsiteX72" fmla="*/ 4464341 w 4708662"/>
                <a:gd name="connsiteY72" fmla="*/ 2234644 h 2809236"/>
                <a:gd name="connsiteX73" fmla="*/ 4460412 w 4708662"/>
                <a:gd name="connsiteY73" fmla="*/ 2263529 h 2809236"/>
                <a:gd name="connsiteX74" fmla="*/ 4302598 w 4708662"/>
                <a:gd name="connsiteY74" fmla="*/ 2355436 h 2809236"/>
                <a:gd name="connsiteX75" fmla="*/ 4252176 w 4708662"/>
                <a:gd name="connsiteY75" fmla="*/ 2357405 h 2809236"/>
                <a:gd name="connsiteX76" fmla="*/ 4092398 w 4708662"/>
                <a:gd name="connsiteY76" fmla="*/ 2264842 h 2809236"/>
                <a:gd name="connsiteX77" fmla="*/ 4096327 w 4708662"/>
                <a:gd name="connsiteY77" fmla="*/ 2235957 h 2809236"/>
                <a:gd name="connsiteX78" fmla="*/ 4254796 w 4708662"/>
                <a:gd name="connsiteY78" fmla="*/ 2144706 h 2809236"/>
                <a:gd name="connsiteX79" fmla="*/ 4280170 w 4708662"/>
                <a:gd name="connsiteY79" fmla="*/ 2137567 h 2809236"/>
                <a:gd name="connsiteX80" fmla="*/ 3240299 w 4708662"/>
                <a:gd name="connsiteY80" fmla="*/ 2091154 h 2809236"/>
                <a:gd name="connsiteX81" fmla="*/ 3264773 w 4708662"/>
                <a:gd name="connsiteY81" fmla="*/ 2095995 h 2809236"/>
                <a:gd name="connsiteX82" fmla="*/ 3423897 w 4708662"/>
                <a:gd name="connsiteY82" fmla="*/ 2188559 h 2809236"/>
                <a:gd name="connsiteX83" fmla="*/ 3420622 w 4708662"/>
                <a:gd name="connsiteY83" fmla="*/ 2218100 h 2809236"/>
                <a:gd name="connsiteX84" fmla="*/ 3262808 w 4708662"/>
                <a:gd name="connsiteY84" fmla="*/ 2309351 h 2809236"/>
                <a:gd name="connsiteX85" fmla="*/ 3212386 w 4708662"/>
                <a:gd name="connsiteY85" fmla="*/ 2311320 h 2809236"/>
                <a:gd name="connsiteX86" fmla="*/ 3053263 w 4708662"/>
                <a:gd name="connsiteY86" fmla="*/ 2218757 h 2809236"/>
                <a:gd name="connsiteX87" fmla="*/ 3056537 w 4708662"/>
                <a:gd name="connsiteY87" fmla="*/ 2189872 h 2809236"/>
                <a:gd name="connsiteX88" fmla="*/ 3214351 w 4708662"/>
                <a:gd name="connsiteY88" fmla="*/ 2098621 h 2809236"/>
                <a:gd name="connsiteX89" fmla="*/ 3240299 w 4708662"/>
                <a:gd name="connsiteY89" fmla="*/ 2091154 h 2809236"/>
                <a:gd name="connsiteX90" fmla="*/ 3603217 w 4708662"/>
                <a:gd name="connsiteY90" fmla="*/ 2022347 h 2809236"/>
                <a:gd name="connsiteX91" fmla="*/ 3627691 w 4708662"/>
                <a:gd name="connsiteY91" fmla="*/ 2027502 h 2809236"/>
                <a:gd name="connsiteX92" fmla="*/ 3786815 w 4708662"/>
                <a:gd name="connsiteY92" fmla="*/ 2119803 h 2809236"/>
                <a:gd name="connsiteX93" fmla="*/ 3782886 w 4708662"/>
                <a:gd name="connsiteY93" fmla="*/ 2148606 h 2809236"/>
                <a:gd name="connsiteX94" fmla="*/ 3625071 w 4708662"/>
                <a:gd name="connsiteY94" fmla="*/ 2239597 h 2809236"/>
                <a:gd name="connsiteX95" fmla="*/ 3575304 w 4708662"/>
                <a:gd name="connsiteY95" fmla="*/ 2241561 h 2809236"/>
                <a:gd name="connsiteX96" fmla="*/ 3415526 w 4708662"/>
                <a:gd name="connsiteY96" fmla="*/ 2149915 h 2809236"/>
                <a:gd name="connsiteX97" fmla="*/ 3418800 w 4708662"/>
                <a:gd name="connsiteY97" fmla="*/ 2120457 h 2809236"/>
                <a:gd name="connsiteX98" fmla="*/ 3577269 w 4708662"/>
                <a:gd name="connsiteY98" fmla="*/ 2029466 h 2809236"/>
                <a:gd name="connsiteX99" fmla="*/ 3603217 w 4708662"/>
                <a:gd name="connsiteY99" fmla="*/ 2022347 h 2809236"/>
                <a:gd name="connsiteX100" fmla="*/ 4032382 w 4708662"/>
                <a:gd name="connsiteY100" fmla="*/ 1996023 h 2809236"/>
                <a:gd name="connsiteX101" fmla="*/ 4056857 w 4708662"/>
                <a:gd name="connsiteY101" fmla="*/ 2000946 h 2809236"/>
                <a:gd name="connsiteX102" fmla="*/ 4215981 w 4708662"/>
                <a:gd name="connsiteY102" fmla="*/ 2093510 h 2809236"/>
                <a:gd name="connsiteX103" fmla="*/ 4212052 w 4708662"/>
                <a:gd name="connsiteY103" fmla="*/ 2122395 h 2809236"/>
                <a:gd name="connsiteX104" fmla="*/ 4054237 w 4708662"/>
                <a:gd name="connsiteY104" fmla="*/ 2214302 h 2809236"/>
                <a:gd name="connsiteX105" fmla="*/ 4004470 w 4708662"/>
                <a:gd name="connsiteY105" fmla="*/ 2216271 h 2809236"/>
                <a:gd name="connsiteX106" fmla="*/ 3844692 w 4708662"/>
                <a:gd name="connsiteY106" fmla="*/ 2123708 h 2809236"/>
                <a:gd name="connsiteX107" fmla="*/ 3848621 w 4708662"/>
                <a:gd name="connsiteY107" fmla="*/ 2094166 h 2809236"/>
                <a:gd name="connsiteX108" fmla="*/ 4006435 w 4708662"/>
                <a:gd name="connsiteY108" fmla="*/ 2002916 h 2809236"/>
                <a:gd name="connsiteX109" fmla="*/ 4032382 w 4708662"/>
                <a:gd name="connsiteY109" fmla="*/ 1996023 h 2809236"/>
                <a:gd name="connsiteX110" fmla="*/ 2512321 w 4708662"/>
                <a:gd name="connsiteY110" fmla="*/ 1947459 h 2809236"/>
                <a:gd name="connsiteX111" fmla="*/ 2536463 w 4708662"/>
                <a:gd name="connsiteY111" fmla="*/ 1952614 h 2809236"/>
                <a:gd name="connsiteX112" fmla="*/ 2790931 w 4708662"/>
                <a:gd name="connsiteY112" fmla="*/ 2099903 h 2809236"/>
                <a:gd name="connsiteX113" fmla="*/ 2787016 w 4708662"/>
                <a:gd name="connsiteY113" fmla="*/ 2128706 h 2809236"/>
                <a:gd name="connsiteX114" fmla="*/ 2599754 w 4708662"/>
                <a:gd name="connsiteY114" fmla="*/ 2237373 h 2809236"/>
                <a:gd name="connsiteX115" fmla="*/ 2550165 w 4708662"/>
                <a:gd name="connsiteY115" fmla="*/ 2239337 h 2809236"/>
                <a:gd name="connsiteX116" fmla="*/ 2295044 w 4708662"/>
                <a:gd name="connsiteY116" fmla="*/ 2092048 h 2809236"/>
                <a:gd name="connsiteX117" fmla="*/ 2298959 w 4708662"/>
                <a:gd name="connsiteY117" fmla="*/ 2063245 h 2809236"/>
                <a:gd name="connsiteX118" fmla="*/ 2486222 w 4708662"/>
                <a:gd name="connsiteY118" fmla="*/ 1954578 h 2809236"/>
                <a:gd name="connsiteX119" fmla="*/ 2512321 w 4708662"/>
                <a:gd name="connsiteY119" fmla="*/ 1947459 h 2809236"/>
                <a:gd name="connsiteX120" fmla="*/ 2993618 w 4708662"/>
                <a:gd name="connsiteY120" fmla="*/ 1947057 h 2809236"/>
                <a:gd name="connsiteX121" fmla="*/ 3017385 w 4708662"/>
                <a:gd name="connsiteY121" fmla="*/ 1951980 h 2809236"/>
                <a:gd name="connsiteX122" fmla="*/ 3176268 w 4708662"/>
                <a:gd name="connsiteY122" fmla="*/ 2044544 h 2809236"/>
                <a:gd name="connsiteX123" fmla="*/ 3172361 w 4708662"/>
                <a:gd name="connsiteY123" fmla="*/ 2073429 h 2809236"/>
                <a:gd name="connsiteX124" fmla="*/ 3015432 w 4708662"/>
                <a:gd name="connsiteY124" fmla="*/ 2164679 h 2809236"/>
                <a:gd name="connsiteX125" fmla="*/ 2965944 w 4708662"/>
                <a:gd name="connsiteY125" fmla="*/ 2167305 h 2809236"/>
                <a:gd name="connsiteX126" fmla="*/ 2807713 w 4708662"/>
                <a:gd name="connsiteY126" fmla="*/ 2074742 h 2809236"/>
                <a:gd name="connsiteX127" fmla="*/ 2810969 w 4708662"/>
                <a:gd name="connsiteY127" fmla="*/ 2045857 h 2809236"/>
                <a:gd name="connsiteX128" fmla="*/ 2967898 w 4708662"/>
                <a:gd name="connsiteY128" fmla="*/ 1953950 h 2809236"/>
                <a:gd name="connsiteX129" fmla="*/ 2993618 w 4708662"/>
                <a:gd name="connsiteY129" fmla="*/ 1947057 h 2809236"/>
                <a:gd name="connsiteX130" fmla="*/ 4383446 w 4708662"/>
                <a:gd name="connsiteY130" fmla="*/ 1921460 h 2809236"/>
                <a:gd name="connsiteX131" fmla="*/ 4407240 w 4708662"/>
                <a:gd name="connsiteY131" fmla="*/ 1926706 h 2809236"/>
                <a:gd name="connsiteX132" fmla="*/ 4699933 w 4708662"/>
                <a:gd name="connsiteY132" fmla="*/ 2096539 h 2809236"/>
                <a:gd name="connsiteX133" fmla="*/ 4696673 w 4708662"/>
                <a:gd name="connsiteY133" fmla="*/ 2125391 h 2809236"/>
                <a:gd name="connsiteX134" fmla="*/ 4538919 w 4708662"/>
                <a:gd name="connsiteY134" fmla="*/ 2216536 h 2809236"/>
                <a:gd name="connsiteX135" fmla="*/ 4489376 w 4708662"/>
                <a:gd name="connsiteY135" fmla="*/ 2218504 h 2809236"/>
                <a:gd name="connsiteX136" fmla="*/ 4196684 w 4708662"/>
                <a:gd name="connsiteY136" fmla="*/ 2048671 h 2809236"/>
                <a:gd name="connsiteX137" fmla="*/ 4199943 w 4708662"/>
                <a:gd name="connsiteY137" fmla="*/ 2019819 h 2809236"/>
                <a:gd name="connsiteX138" fmla="*/ 4357697 w 4708662"/>
                <a:gd name="connsiteY138" fmla="*/ 1928017 h 2809236"/>
                <a:gd name="connsiteX139" fmla="*/ 4383446 w 4708662"/>
                <a:gd name="connsiteY139" fmla="*/ 1921460 h 2809236"/>
                <a:gd name="connsiteX140" fmla="*/ 3358473 w 4708662"/>
                <a:gd name="connsiteY140" fmla="*/ 1880811 h 2809236"/>
                <a:gd name="connsiteX141" fmla="*/ 3382866 w 4708662"/>
                <a:gd name="connsiteY141" fmla="*/ 1885734 h 2809236"/>
                <a:gd name="connsiteX142" fmla="*/ 3542644 w 4708662"/>
                <a:gd name="connsiteY142" fmla="*/ 1978298 h 2809236"/>
                <a:gd name="connsiteX143" fmla="*/ 3538715 w 4708662"/>
                <a:gd name="connsiteY143" fmla="*/ 2007183 h 2809236"/>
                <a:gd name="connsiteX144" fmla="*/ 3380901 w 4708662"/>
                <a:gd name="connsiteY144" fmla="*/ 2099090 h 2809236"/>
                <a:gd name="connsiteX145" fmla="*/ 3330479 w 4708662"/>
                <a:gd name="connsiteY145" fmla="*/ 2100403 h 2809236"/>
                <a:gd name="connsiteX146" fmla="*/ 3171356 w 4708662"/>
                <a:gd name="connsiteY146" fmla="*/ 2008496 h 2809236"/>
                <a:gd name="connsiteX147" fmla="*/ 3174630 w 4708662"/>
                <a:gd name="connsiteY147" fmla="*/ 1979611 h 2809236"/>
                <a:gd name="connsiteX148" fmla="*/ 3333099 w 4708662"/>
                <a:gd name="connsiteY148" fmla="*/ 1887704 h 2809236"/>
                <a:gd name="connsiteX149" fmla="*/ 3358473 w 4708662"/>
                <a:gd name="connsiteY149" fmla="*/ 1880811 h 2809236"/>
                <a:gd name="connsiteX150" fmla="*/ 3787883 w 4708662"/>
                <a:gd name="connsiteY150" fmla="*/ 1852418 h 2809236"/>
                <a:gd name="connsiteX151" fmla="*/ 3812030 w 4708662"/>
                <a:gd name="connsiteY151" fmla="*/ 1857588 h 2809236"/>
                <a:gd name="connsiteX152" fmla="*/ 3971808 w 4708662"/>
                <a:gd name="connsiteY152" fmla="*/ 1949495 h 2809236"/>
                <a:gd name="connsiteX153" fmla="*/ 3968534 w 4708662"/>
                <a:gd name="connsiteY153" fmla="*/ 1979036 h 2809236"/>
                <a:gd name="connsiteX154" fmla="*/ 3810065 w 4708662"/>
                <a:gd name="connsiteY154" fmla="*/ 2070287 h 2809236"/>
                <a:gd name="connsiteX155" fmla="*/ 3759643 w 4708662"/>
                <a:gd name="connsiteY155" fmla="*/ 2072256 h 2809236"/>
                <a:gd name="connsiteX156" fmla="*/ 3600520 w 4708662"/>
                <a:gd name="connsiteY156" fmla="*/ 1979693 h 2809236"/>
                <a:gd name="connsiteX157" fmla="*/ 3603794 w 4708662"/>
                <a:gd name="connsiteY157" fmla="*/ 1950808 h 2809236"/>
                <a:gd name="connsiteX158" fmla="*/ 3762263 w 4708662"/>
                <a:gd name="connsiteY158" fmla="*/ 1859557 h 2809236"/>
                <a:gd name="connsiteX159" fmla="*/ 3787883 w 4708662"/>
                <a:gd name="connsiteY159" fmla="*/ 1852418 h 2809236"/>
                <a:gd name="connsiteX160" fmla="*/ 4490681 w 4708662"/>
                <a:gd name="connsiteY160" fmla="*/ 1814541 h 2809236"/>
                <a:gd name="connsiteX161" fmla="*/ 4515114 w 4708662"/>
                <a:gd name="connsiteY161" fmla="*/ 1819416 h 2809236"/>
                <a:gd name="connsiteX162" fmla="*/ 4673971 w 4708662"/>
                <a:gd name="connsiteY162" fmla="*/ 1911071 h 2809236"/>
                <a:gd name="connsiteX163" fmla="*/ 4670702 w 4708662"/>
                <a:gd name="connsiteY163" fmla="*/ 1939672 h 2809236"/>
                <a:gd name="connsiteX164" fmla="*/ 4618404 w 4708662"/>
                <a:gd name="connsiteY164" fmla="*/ 1968923 h 2809236"/>
                <a:gd name="connsiteX165" fmla="*/ 4568720 w 4708662"/>
                <a:gd name="connsiteY165" fmla="*/ 1971524 h 2809236"/>
                <a:gd name="connsiteX166" fmla="*/ 4409210 w 4708662"/>
                <a:gd name="connsiteY166" fmla="*/ 1879869 h 2809236"/>
                <a:gd name="connsiteX167" fmla="*/ 4412479 w 4708662"/>
                <a:gd name="connsiteY167" fmla="*/ 1851268 h 2809236"/>
                <a:gd name="connsiteX168" fmla="*/ 4464777 w 4708662"/>
                <a:gd name="connsiteY168" fmla="*/ 1821366 h 2809236"/>
                <a:gd name="connsiteX169" fmla="*/ 4490681 w 4708662"/>
                <a:gd name="connsiteY169" fmla="*/ 1814541 h 2809236"/>
                <a:gd name="connsiteX170" fmla="*/ 2749606 w 4708662"/>
                <a:gd name="connsiteY170" fmla="*/ 1805923 h 2809236"/>
                <a:gd name="connsiteX171" fmla="*/ 2773861 w 4708662"/>
                <a:gd name="connsiteY171" fmla="*/ 1810846 h 2809236"/>
                <a:gd name="connsiteX172" fmla="*/ 2932093 w 4708662"/>
                <a:gd name="connsiteY172" fmla="*/ 1903410 h 2809236"/>
                <a:gd name="connsiteX173" fmla="*/ 2928186 w 4708662"/>
                <a:gd name="connsiteY173" fmla="*/ 1932295 h 2809236"/>
                <a:gd name="connsiteX174" fmla="*/ 2771908 w 4708662"/>
                <a:gd name="connsiteY174" fmla="*/ 2023545 h 2809236"/>
                <a:gd name="connsiteX175" fmla="*/ 2722420 w 4708662"/>
                <a:gd name="connsiteY175" fmla="*/ 2026171 h 2809236"/>
                <a:gd name="connsiteX176" fmla="*/ 2563537 w 4708662"/>
                <a:gd name="connsiteY176" fmla="*/ 1933608 h 2809236"/>
                <a:gd name="connsiteX177" fmla="*/ 2566793 w 4708662"/>
                <a:gd name="connsiteY177" fmla="*/ 1904723 h 2809236"/>
                <a:gd name="connsiteX178" fmla="*/ 2724373 w 4708662"/>
                <a:gd name="connsiteY178" fmla="*/ 1812816 h 2809236"/>
                <a:gd name="connsiteX179" fmla="*/ 2749606 w 4708662"/>
                <a:gd name="connsiteY179" fmla="*/ 1805923 h 2809236"/>
                <a:gd name="connsiteX180" fmla="*/ 4150474 w 4708662"/>
                <a:gd name="connsiteY180" fmla="*/ 1786162 h 2809236"/>
                <a:gd name="connsiteX181" fmla="*/ 4174948 w 4708662"/>
                <a:gd name="connsiteY181" fmla="*/ 1791317 h 2809236"/>
                <a:gd name="connsiteX182" fmla="*/ 4334072 w 4708662"/>
                <a:gd name="connsiteY182" fmla="*/ 1883618 h 2809236"/>
                <a:gd name="connsiteX183" fmla="*/ 4330797 w 4708662"/>
                <a:gd name="connsiteY183" fmla="*/ 1912421 h 2809236"/>
                <a:gd name="connsiteX184" fmla="*/ 4172983 w 4708662"/>
                <a:gd name="connsiteY184" fmla="*/ 2003412 h 2809236"/>
                <a:gd name="connsiteX185" fmla="*/ 4122561 w 4708662"/>
                <a:gd name="connsiteY185" fmla="*/ 2006031 h 2809236"/>
                <a:gd name="connsiteX186" fmla="*/ 3963438 w 4708662"/>
                <a:gd name="connsiteY186" fmla="*/ 1913730 h 2809236"/>
                <a:gd name="connsiteX187" fmla="*/ 3966712 w 4708662"/>
                <a:gd name="connsiteY187" fmla="*/ 1884273 h 2809236"/>
                <a:gd name="connsiteX188" fmla="*/ 4124526 w 4708662"/>
                <a:gd name="connsiteY188" fmla="*/ 1793281 h 2809236"/>
                <a:gd name="connsiteX189" fmla="*/ 4150474 w 4708662"/>
                <a:gd name="connsiteY189" fmla="*/ 1786162 h 2809236"/>
                <a:gd name="connsiteX190" fmla="*/ 3110685 w 4708662"/>
                <a:gd name="connsiteY190" fmla="*/ 1739675 h 2809236"/>
                <a:gd name="connsiteX191" fmla="*/ 3135160 w 4708662"/>
                <a:gd name="connsiteY191" fmla="*/ 1744598 h 2809236"/>
                <a:gd name="connsiteX192" fmla="*/ 3294284 w 4708662"/>
                <a:gd name="connsiteY192" fmla="*/ 1837162 h 2809236"/>
                <a:gd name="connsiteX193" fmla="*/ 3291009 w 4708662"/>
                <a:gd name="connsiteY193" fmla="*/ 1866047 h 2809236"/>
                <a:gd name="connsiteX194" fmla="*/ 3132540 w 4708662"/>
                <a:gd name="connsiteY194" fmla="*/ 1957297 h 2809236"/>
                <a:gd name="connsiteX195" fmla="*/ 3082773 w 4708662"/>
                <a:gd name="connsiteY195" fmla="*/ 1959267 h 2809236"/>
                <a:gd name="connsiteX196" fmla="*/ 2922995 w 4708662"/>
                <a:gd name="connsiteY196" fmla="*/ 1867360 h 2809236"/>
                <a:gd name="connsiteX197" fmla="*/ 2926924 w 4708662"/>
                <a:gd name="connsiteY197" fmla="*/ 1838475 h 2809236"/>
                <a:gd name="connsiteX198" fmla="*/ 3084738 w 4708662"/>
                <a:gd name="connsiteY198" fmla="*/ 1746568 h 2809236"/>
                <a:gd name="connsiteX199" fmla="*/ 3110685 w 4708662"/>
                <a:gd name="connsiteY199" fmla="*/ 1739675 h 2809236"/>
                <a:gd name="connsiteX200" fmla="*/ 3542732 w 4708662"/>
                <a:gd name="connsiteY200" fmla="*/ 1711282 h 2809236"/>
                <a:gd name="connsiteX201" fmla="*/ 3567206 w 4708662"/>
                <a:gd name="connsiteY201" fmla="*/ 1716452 h 2809236"/>
                <a:gd name="connsiteX202" fmla="*/ 3726330 w 4708662"/>
                <a:gd name="connsiteY202" fmla="*/ 1808359 h 2809236"/>
                <a:gd name="connsiteX203" fmla="*/ 3723055 w 4708662"/>
                <a:gd name="connsiteY203" fmla="*/ 1837244 h 2809236"/>
                <a:gd name="connsiteX204" fmla="*/ 3565241 w 4708662"/>
                <a:gd name="connsiteY204" fmla="*/ 1929151 h 2809236"/>
                <a:gd name="connsiteX205" fmla="*/ 3514819 w 4708662"/>
                <a:gd name="connsiteY205" fmla="*/ 1931120 h 2809236"/>
                <a:gd name="connsiteX206" fmla="*/ 3355696 w 4708662"/>
                <a:gd name="connsiteY206" fmla="*/ 1838557 h 2809236"/>
                <a:gd name="connsiteX207" fmla="*/ 3358970 w 4708662"/>
                <a:gd name="connsiteY207" fmla="*/ 1809672 h 2809236"/>
                <a:gd name="connsiteX208" fmla="*/ 3516784 w 4708662"/>
                <a:gd name="connsiteY208" fmla="*/ 1718421 h 2809236"/>
                <a:gd name="connsiteX209" fmla="*/ 3542732 w 4708662"/>
                <a:gd name="connsiteY209" fmla="*/ 1711282 h 2809236"/>
                <a:gd name="connsiteX210" fmla="*/ 4245854 w 4708662"/>
                <a:gd name="connsiteY210" fmla="*/ 1673848 h 2809236"/>
                <a:gd name="connsiteX211" fmla="*/ 4270288 w 4708662"/>
                <a:gd name="connsiteY211" fmla="*/ 1679035 h 2809236"/>
                <a:gd name="connsiteX212" fmla="*/ 4429145 w 4708662"/>
                <a:gd name="connsiteY212" fmla="*/ 1771249 h 2809236"/>
                <a:gd name="connsiteX213" fmla="*/ 4425876 w 4708662"/>
                <a:gd name="connsiteY213" fmla="*/ 1800230 h 2809236"/>
                <a:gd name="connsiteX214" fmla="*/ 4373577 w 4708662"/>
                <a:gd name="connsiteY214" fmla="*/ 1830529 h 2809236"/>
                <a:gd name="connsiteX215" fmla="*/ 4323894 w 4708662"/>
                <a:gd name="connsiteY215" fmla="*/ 1832505 h 2809236"/>
                <a:gd name="connsiteX216" fmla="*/ 4164383 w 4708662"/>
                <a:gd name="connsiteY216" fmla="*/ 1740291 h 2809236"/>
                <a:gd name="connsiteX217" fmla="*/ 4167652 w 4708662"/>
                <a:gd name="connsiteY217" fmla="*/ 1710651 h 2809236"/>
                <a:gd name="connsiteX218" fmla="*/ 4219950 w 4708662"/>
                <a:gd name="connsiteY218" fmla="*/ 1681011 h 2809236"/>
                <a:gd name="connsiteX219" fmla="*/ 4245854 w 4708662"/>
                <a:gd name="connsiteY219" fmla="*/ 1673848 h 2809236"/>
                <a:gd name="connsiteX220" fmla="*/ 2503023 w 4708662"/>
                <a:gd name="connsiteY220" fmla="*/ 1664786 h 2809236"/>
                <a:gd name="connsiteX221" fmla="*/ 2527416 w 4708662"/>
                <a:gd name="connsiteY221" fmla="*/ 1669710 h 2809236"/>
                <a:gd name="connsiteX222" fmla="*/ 2687194 w 4708662"/>
                <a:gd name="connsiteY222" fmla="*/ 1762274 h 2809236"/>
                <a:gd name="connsiteX223" fmla="*/ 2683265 w 4708662"/>
                <a:gd name="connsiteY223" fmla="*/ 1791159 h 2809236"/>
                <a:gd name="connsiteX224" fmla="*/ 2524796 w 4708662"/>
                <a:gd name="connsiteY224" fmla="*/ 1883066 h 2809236"/>
                <a:gd name="connsiteX225" fmla="*/ 2475029 w 4708662"/>
                <a:gd name="connsiteY225" fmla="*/ 1885035 h 2809236"/>
                <a:gd name="connsiteX226" fmla="*/ 2315251 w 4708662"/>
                <a:gd name="connsiteY226" fmla="*/ 1792472 h 2809236"/>
                <a:gd name="connsiteX227" fmla="*/ 2319180 w 4708662"/>
                <a:gd name="connsiteY227" fmla="*/ 1763587 h 2809236"/>
                <a:gd name="connsiteX228" fmla="*/ 2477649 w 4708662"/>
                <a:gd name="connsiteY228" fmla="*/ 1671680 h 2809236"/>
                <a:gd name="connsiteX229" fmla="*/ 2503023 w 4708662"/>
                <a:gd name="connsiteY229" fmla="*/ 1664786 h 2809236"/>
                <a:gd name="connsiteX230" fmla="*/ 3905568 w 4708662"/>
                <a:gd name="connsiteY230" fmla="*/ 1644954 h 2809236"/>
                <a:gd name="connsiteX231" fmla="*/ 3929469 w 4708662"/>
                <a:gd name="connsiteY231" fmla="*/ 1649549 h 2809236"/>
                <a:gd name="connsiteX232" fmla="*/ 4089248 w 4708662"/>
                <a:gd name="connsiteY232" fmla="*/ 1742113 h 2809236"/>
                <a:gd name="connsiteX233" fmla="*/ 4085973 w 4708662"/>
                <a:gd name="connsiteY233" fmla="*/ 1770998 h 2809236"/>
                <a:gd name="connsiteX234" fmla="*/ 3927504 w 4708662"/>
                <a:gd name="connsiteY234" fmla="*/ 1862905 h 2809236"/>
                <a:gd name="connsiteX235" fmla="*/ 3877737 w 4708662"/>
                <a:gd name="connsiteY235" fmla="*/ 1864874 h 2809236"/>
                <a:gd name="connsiteX236" fmla="*/ 3717959 w 4708662"/>
                <a:gd name="connsiteY236" fmla="*/ 1772311 h 2809236"/>
                <a:gd name="connsiteX237" fmla="*/ 3721233 w 4708662"/>
                <a:gd name="connsiteY237" fmla="*/ 1743426 h 2809236"/>
                <a:gd name="connsiteX238" fmla="*/ 3879702 w 4708662"/>
                <a:gd name="connsiteY238" fmla="*/ 1652175 h 2809236"/>
                <a:gd name="connsiteX239" fmla="*/ 3905568 w 4708662"/>
                <a:gd name="connsiteY239" fmla="*/ 1644954 h 2809236"/>
                <a:gd name="connsiteX240" fmla="*/ 2865062 w 4708662"/>
                <a:gd name="connsiteY240" fmla="*/ 1598541 h 2809236"/>
                <a:gd name="connsiteX241" fmla="*/ 2889073 w 4708662"/>
                <a:gd name="connsiteY241" fmla="*/ 1603464 h 2809236"/>
                <a:gd name="connsiteX242" fmla="*/ 3047305 w 4708662"/>
                <a:gd name="connsiteY242" fmla="*/ 1696028 h 2809236"/>
                <a:gd name="connsiteX243" fmla="*/ 3044049 w 4708662"/>
                <a:gd name="connsiteY243" fmla="*/ 1724913 h 2809236"/>
                <a:gd name="connsiteX244" fmla="*/ 2887120 w 4708662"/>
                <a:gd name="connsiteY244" fmla="*/ 1816163 h 2809236"/>
                <a:gd name="connsiteX245" fmla="*/ 2836981 w 4708662"/>
                <a:gd name="connsiteY245" fmla="*/ 1818133 h 2809236"/>
                <a:gd name="connsiteX246" fmla="*/ 2678749 w 4708662"/>
                <a:gd name="connsiteY246" fmla="*/ 1725569 h 2809236"/>
                <a:gd name="connsiteX247" fmla="*/ 2682656 w 4708662"/>
                <a:gd name="connsiteY247" fmla="*/ 1696684 h 2809236"/>
                <a:gd name="connsiteX248" fmla="*/ 2839585 w 4708662"/>
                <a:gd name="connsiteY248" fmla="*/ 1605434 h 2809236"/>
                <a:gd name="connsiteX249" fmla="*/ 2865062 w 4708662"/>
                <a:gd name="connsiteY249" fmla="*/ 1598541 h 2809236"/>
                <a:gd name="connsiteX250" fmla="*/ 3295268 w 4708662"/>
                <a:gd name="connsiteY250" fmla="*/ 1570066 h 2809236"/>
                <a:gd name="connsiteX251" fmla="*/ 3319130 w 4708662"/>
                <a:gd name="connsiteY251" fmla="*/ 1575318 h 2809236"/>
                <a:gd name="connsiteX252" fmla="*/ 3478646 w 4708662"/>
                <a:gd name="connsiteY252" fmla="*/ 1667225 h 2809236"/>
                <a:gd name="connsiteX253" fmla="*/ 3475377 w 4708662"/>
                <a:gd name="connsiteY253" fmla="*/ 1696110 h 2809236"/>
                <a:gd name="connsiteX254" fmla="*/ 3317169 w 4708662"/>
                <a:gd name="connsiteY254" fmla="*/ 1788017 h 2809236"/>
                <a:gd name="connsiteX255" fmla="*/ 3267484 w 4708662"/>
                <a:gd name="connsiteY255" fmla="*/ 1789986 h 2809236"/>
                <a:gd name="connsiteX256" fmla="*/ 3107968 w 4708662"/>
                <a:gd name="connsiteY256" fmla="*/ 1697423 h 2809236"/>
                <a:gd name="connsiteX257" fmla="*/ 3111891 w 4708662"/>
                <a:gd name="connsiteY257" fmla="*/ 1668538 h 2809236"/>
                <a:gd name="connsiteX258" fmla="*/ 3269445 w 4708662"/>
                <a:gd name="connsiteY258" fmla="*/ 1576631 h 2809236"/>
                <a:gd name="connsiteX259" fmla="*/ 3295268 w 4708662"/>
                <a:gd name="connsiteY259" fmla="*/ 1570066 h 2809236"/>
                <a:gd name="connsiteX260" fmla="*/ 4003909 w 4708662"/>
                <a:gd name="connsiteY260" fmla="*/ 1532301 h 2809236"/>
                <a:gd name="connsiteX261" fmla="*/ 4028343 w 4708662"/>
                <a:gd name="connsiteY261" fmla="*/ 1537241 h 2809236"/>
                <a:gd name="connsiteX262" fmla="*/ 4187200 w 4708662"/>
                <a:gd name="connsiteY262" fmla="*/ 1630115 h 2809236"/>
                <a:gd name="connsiteX263" fmla="*/ 4183931 w 4708662"/>
                <a:gd name="connsiteY263" fmla="*/ 1659097 h 2809236"/>
                <a:gd name="connsiteX264" fmla="*/ 4131632 w 4708662"/>
                <a:gd name="connsiteY264" fmla="*/ 1689396 h 2809236"/>
                <a:gd name="connsiteX265" fmla="*/ 4081949 w 4708662"/>
                <a:gd name="connsiteY265" fmla="*/ 1691372 h 2809236"/>
                <a:gd name="connsiteX266" fmla="*/ 3922438 w 4708662"/>
                <a:gd name="connsiteY266" fmla="*/ 1598499 h 2809236"/>
                <a:gd name="connsiteX267" fmla="*/ 3926360 w 4708662"/>
                <a:gd name="connsiteY267" fmla="*/ 1569517 h 2809236"/>
                <a:gd name="connsiteX268" fmla="*/ 3978005 w 4708662"/>
                <a:gd name="connsiteY268" fmla="*/ 1539217 h 2809236"/>
                <a:gd name="connsiteX269" fmla="*/ 4003909 w 4708662"/>
                <a:gd name="connsiteY269" fmla="*/ 1532301 h 2809236"/>
                <a:gd name="connsiteX270" fmla="*/ 2258198 w 4708662"/>
                <a:gd name="connsiteY270" fmla="*/ 1523654 h 2809236"/>
                <a:gd name="connsiteX271" fmla="*/ 2282591 w 4708662"/>
                <a:gd name="connsiteY271" fmla="*/ 1528577 h 2809236"/>
                <a:gd name="connsiteX272" fmla="*/ 2442369 w 4708662"/>
                <a:gd name="connsiteY272" fmla="*/ 1621141 h 2809236"/>
                <a:gd name="connsiteX273" fmla="*/ 2438440 w 4708662"/>
                <a:gd name="connsiteY273" fmla="*/ 1650026 h 2809236"/>
                <a:gd name="connsiteX274" fmla="*/ 2280626 w 4708662"/>
                <a:gd name="connsiteY274" fmla="*/ 1741933 h 2809236"/>
                <a:gd name="connsiteX275" fmla="*/ 2230204 w 4708662"/>
                <a:gd name="connsiteY275" fmla="*/ 1743902 h 2809236"/>
                <a:gd name="connsiteX276" fmla="*/ 2071081 w 4708662"/>
                <a:gd name="connsiteY276" fmla="*/ 1651339 h 2809236"/>
                <a:gd name="connsiteX277" fmla="*/ 2075010 w 4708662"/>
                <a:gd name="connsiteY277" fmla="*/ 1622454 h 2809236"/>
                <a:gd name="connsiteX278" fmla="*/ 2232824 w 4708662"/>
                <a:gd name="connsiteY278" fmla="*/ 1530547 h 2809236"/>
                <a:gd name="connsiteX279" fmla="*/ 2258198 w 4708662"/>
                <a:gd name="connsiteY279" fmla="*/ 1523654 h 2809236"/>
                <a:gd name="connsiteX280" fmla="*/ 3657944 w 4708662"/>
                <a:gd name="connsiteY280" fmla="*/ 1503819 h 2809236"/>
                <a:gd name="connsiteX281" fmla="*/ 3682418 w 4708662"/>
                <a:gd name="connsiteY281" fmla="*/ 1508414 h 2809236"/>
                <a:gd name="connsiteX282" fmla="*/ 3841542 w 4708662"/>
                <a:gd name="connsiteY282" fmla="*/ 1600978 h 2809236"/>
                <a:gd name="connsiteX283" fmla="*/ 3838267 w 4708662"/>
                <a:gd name="connsiteY283" fmla="*/ 1629863 h 2809236"/>
                <a:gd name="connsiteX284" fmla="*/ 3680453 w 4708662"/>
                <a:gd name="connsiteY284" fmla="*/ 1721113 h 2809236"/>
                <a:gd name="connsiteX285" fmla="*/ 3630031 w 4708662"/>
                <a:gd name="connsiteY285" fmla="*/ 1723739 h 2809236"/>
                <a:gd name="connsiteX286" fmla="*/ 3470908 w 4708662"/>
                <a:gd name="connsiteY286" fmla="*/ 1631176 h 2809236"/>
                <a:gd name="connsiteX287" fmla="*/ 3474182 w 4708662"/>
                <a:gd name="connsiteY287" fmla="*/ 1602291 h 2809236"/>
                <a:gd name="connsiteX288" fmla="*/ 3631996 w 4708662"/>
                <a:gd name="connsiteY288" fmla="*/ 1511040 h 2809236"/>
                <a:gd name="connsiteX289" fmla="*/ 3657944 w 4708662"/>
                <a:gd name="connsiteY289" fmla="*/ 1503819 h 2809236"/>
                <a:gd name="connsiteX290" fmla="*/ 2621035 w 4708662"/>
                <a:gd name="connsiteY290" fmla="*/ 1454526 h 2809236"/>
                <a:gd name="connsiteX291" fmla="*/ 2645509 w 4708662"/>
                <a:gd name="connsiteY291" fmla="*/ 1459449 h 2809236"/>
                <a:gd name="connsiteX292" fmla="*/ 2804633 w 4708662"/>
                <a:gd name="connsiteY292" fmla="*/ 1552013 h 2809236"/>
                <a:gd name="connsiteX293" fmla="*/ 2801358 w 4708662"/>
                <a:gd name="connsiteY293" fmla="*/ 1581554 h 2809236"/>
                <a:gd name="connsiteX294" fmla="*/ 2643544 w 4708662"/>
                <a:gd name="connsiteY294" fmla="*/ 1672805 h 2809236"/>
                <a:gd name="connsiteX295" fmla="*/ 2593122 w 4708662"/>
                <a:gd name="connsiteY295" fmla="*/ 1674774 h 2809236"/>
                <a:gd name="connsiteX296" fmla="*/ 2433999 w 4708662"/>
                <a:gd name="connsiteY296" fmla="*/ 1582211 h 2809236"/>
                <a:gd name="connsiteX297" fmla="*/ 2437273 w 4708662"/>
                <a:gd name="connsiteY297" fmla="*/ 1553326 h 2809236"/>
                <a:gd name="connsiteX298" fmla="*/ 2595087 w 4708662"/>
                <a:gd name="connsiteY298" fmla="*/ 1461419 h 2809236"/>
                <a:gd name="connsiteX299" fmla="*/ 2621035 w 4708662"/>
                <a:gd name="connsiteY299" fmla="*/ 1454526 h 2809236"/>
                <a:gd name="connsiteX300" fmla="*/ 3048424 w 4708662"/>
                <a:gd name="connsiteY300" fmla="*/ 1426125 h 2809236"/>
                <a:gd name="connsiteX301" fmla="*/ 3072761 w 4708662"/>
                <a:gd name="connsiteY301" fmla="*/ 1431280 h 2809236"/>
                <a:gd name="connsiteX302" fmla="*/ 3230993 w 4708662"/>
                <a:gd name="connsiteY302" fmla="*/ 1522926 h 2809236"/>
                <a:gd name="connsiteX303" fmla="*/ 3227737 w 4708662"/>
                <a:gd name="connsiteY303" fmla="*/ 1552384 h 2809236"/>
                <a:gd name="connsiteX304" fmla="*/ 3070808 w 4708662"/>
                <a:gd name="connsiteY304" fmla="*/ 1643375 h 2809236"/>
                <a:gd name="connsiteX305" fmla="*/ 3020669 w 4708662"/>
                <a:gd name="connsiteY305" fmla="*/ 1645339 h 2809236"/>
                <a:gd name="connsiteX306" fmla="*/ 2863088 w 4708662"/>
                <a:gd name="connsiteY306" fmla="*/ 1553039 h 2809236"/>
                <a:gd name="connsiteX307" fmla="*/ 2866344 w 4708662"/>
                <a:gd name="connsiteY307" fmla="*/ 1524235 h 2809236"/>
                <a:gd name="connsiteX308" fmla="*/ 3022622 w 4708662"/>
                <a:gd name="connsiteY308" fmla="*/ 1433244 h 2809236"/>
                <a:gd name="connsiteX309" fmla="*/ 3048424 w 4708662"/>
                <a:gd name="connsiteY309" fmla="*/ 1426125 h 2809236"/>
                <a:gd name="connsiteX310" fmla="*/ 3759084 w 4708662"/>
                <a:gd name="connsiteY310" fmla="*/ 1391578 h 2809236"/>
                <a:gd name="connsiteX311" fmla="*/ 3783517 w 4708662"/>
                <a:gd name="connsiteY311" fmla="*/ 1396765 h 2809236"/>
                <a:gd name="connsiteX312" fmla="*/ 3942374 w 4708662"/>
                <a:gd name="connsiteY312" fmla="*/ 1489638 h 2809236"/>
                <a:gd name="connsiteX313" fmla="*/ 3939105 w 4708662"/>
                <a:gd name="connsiteY313" fmla="*/ 1517960 h 2809236"/>
                <a:gd name="connsiteX314" fmla="*/ 3886807 w 4708662"/>
                <a:gd name="connsiteY314" fmla="*/ 1548259 h 2809236"/>
                <a:gd name="connsiteX315" fmla="*/ 3837123 w 4708662"/>
                <a:gd name="connsiteY315" fmla="*/ 1550894 h 2809236"/>
                <a:gd name="connsiteX316" fmla="*/ 3677613 w 4708662"/>
                <a:gd name="connsiteY316" fmla="*/ 1458021 h 2809236"/>
                <a:gd name="connsiteX317" fmla="*/ 3681535 w 4708662"/>
                <a:gd name="connsiteY317" fmla="*/ 1429040 h 2809236"/>
                <a:gd name="connsiteX318" fmla="*/ 3733180 w 4708662"/>
                <a:gd name="connsiteY318" fmla="*/ 1398741 h 2809236"/>
                <a:gd name="connsiteX319" fmla="*/ 3759084 w 4708662"/>
                <a:gd name="connsiteY319" fmla="*/ 1391578 h 2809236"/>
                <a:gd name="connsiteX320" fmla="*/ 2013371 w 4708662"/>
                <a:gd name="connsiteY320" fmla="*/ 1379638 h 2809236"/>
                <a:gd name="connsiteX321" fmla="*/ 2037764 w 4708662"/>
                <a:gd name="connsiteY321" fmla="*/ 1384561 h 2809236"/>
                <a:gd name="connsiteX322" fmla="*/ 2197542 w 4708662"/>
                <a:gd name="connsiteY322" fmla="*/ 1477125 h 2809236"/>
                <a:gd name="connsiteX323" fmla="*/ 2193613 w 4708662"/>
                <a:gd name="connsiteY323" fmla="*/ 1506010 h 2809236"/>
                <a:gd name="connsiteX324" fmla="*/ 2035144 w 4708662"/>
                <a:gd name="connsiteY324" fmla="*/ 1597260 h 2809236"/>
                <a:gd name="connsiteX325" fmla="*/ 1985377 w 4708662"/>
                <a:gd name="connsiteY325" fmla="*/ 1599886 h 2809236"/>
                <a:gd name="connsiteX326" fmla="*/ 1825599 w 4708662"/>
                <a:gd name="connsiteY326" fmla="*/ 1507323 h 2809236"/>
                <a:gd name="connsiteX327" fmla="*/ 1829528 w 4708662"/>
                <a:gd name="connsiteY327" fmla="*/ 1477781 h 2809236"/>
                <a:gd name="connsiteX328" fmla="*/ 1987997 w 4708662"/>
                <a:gd name="connsiteY328" fmla="*/ 1386531 h 2809236"/>
                <a:gd name="connsiteX329" fmla="*/ 2013371 w 4708662"/>
                <a:gd name="connsiteY329" fmla="*/ 1379638 h 2809236"/>
                <a:gd name="connsiteX330" fmla="*/ 3413117 w 4708662"/>
                <a:gd name="connsiteY330" fmla="*/ 1359475 h 2809236"/>
                <a:gd name="connsiteX331" fmla="*/ 3437591 w 4708662"/>
                <a:gd name="connsiteY331" fmla="*/ 1364398 h 2809236"/>
                <a:gd name="connsiteX332" fmla="*/ 3597369 w 4708662"/>
                <a:gd name="connsiteY332" fmla="*/ 1456962 h 2809236"/>
                <a:gd name="connsiteX333" fmla="*/ 3593440 w 4708662"/>
                <a:gd name="connsiteY333" fmla="*/ 1485847 h 2809236"/>
                <a:gd name="connsiteX334" fmla="*/ 3434971 w 4708662"/>
                <a:gd name="connsiteY334" fmla="*/ 1577097 h 2809236"/>
                <a:gd name="connsiteX335" fmla="*/ 3385204 w 4708662"/>
                <a:gd name="connsiteY335" fmla="*/ 1579067 h 2809236"/>
                <a:gd name="connsiteX336" fmla="*/ 3225426 w 4708662"/>
                <a:gd name="connsiteY336" fmla="*/ 1487160 h 2809236"/>
                <a:gd name="connsiteX337" fmla="*/ 3228700 w 4708662"/>
                <a:gd name="connsiteY337" fmla="*/ 1457618 h 2809236"/>
                <a:gd name="connsiteX338" fmla="*/ 3387169 w 4708662"/>
                <a:gd name="connsiteY338" fmla="*/ 1366368 h 2809236"/>
                <a:gd name="connsiteX339" fmla="*/ 3413117 w 4708662"/>
                <a:gd name="connsiteY339" fmla="*/ 1359475 h 2809236"/>
                <a:gd name="connsiteX340" fmla="*/ 2373571 w 4708662"/>
                <a:gd name="connsiteY340" fmla="*/ 1313390 h 2809236"/>
                <a:gd name="connsiteX341" fmla="*/ 2397433 w 4708662"/>
                <a:gd name="connsiteY341" fmla="*/ 1318313 h 2809236"/>
                <a:gd name="connsiteX342" fmla="*/ 2556949 w 4708662"/>
                <a:gd name="connsiteY342" fmla="*/ 1410877 h 2809236"/>
                <a:gd name="connsiteX343" fmla="*/ 2553680 w 4708662"/>
                <a:gd name="connsiteY343" fmla="*/ 1439762 h 2809236"/>
                <a:gd name="connsiteX344" fmla="*/ 2395472 w 4708662"/>
                <a:gd name="connsiteY344" fmla="*/ 1531012 h 2809236"/>
                <a:gd name="connsiteX345" fmla="*/ 2345787 w 4708662"/>
                <a:gd name="connsiteY345" fmla="*/ 1532982 h 2809236"/>
                <a:gd name="connsiteX346" fmla="*/ 2186271 w 4708662"/>
                <a:gd name="connsiteY346" fmla="*/ 1441075 h 2809236"/>
                <a:gd name="connsiteX347" fmla="*/ 2190194 w 4708662"/>
                <a:gd name="connsiteY347" fmla="*/ 1412190 h 2809236"/>
                <a:gd name="connsiteX348" fmla="*/ 2347748 w 4708662"/>
                <a:gd name="connsiteY348" fmla="*/ 1320283 h 2809236"/>
                <a:gd name="connsiteX349" fmla="*/ 2373571 w 4708662"/>
                <a:gd name="connsiteY349" fmla="*/ 1313390 h 2809236"/>
                <a:gd name="connsiteX350" fmla="*/ 2804170 w 4708662"/>
                <a:gd name="connsiteY350" fmla="*/ 1284997 h 2809236"/>
                <a:gd name="connsiteX351" fmla="*/ 2827937 w 4708662"/>
                <a:gd name="connsiteY351" fmla="*/ 1290167 h 2809236"/>
                <a:gd name="connsiteX352" fmla="*/ 2986168 w 4708662"/>
                <a:gd name="connsiteY352" fmla="*/ 1382074 h 2809236"/>
                <a:gd name="connsiteX353" fmla="*/ 2982912 w 4708662"/>
                <a:gd name="connsiteY353" fmla="*/ 1410959 h 2809236"/>
                <a:gd name="connsiteX354" fmla="*/ 2825983 w 4708662"/>
                <a:gd name="connsiteY354" fmla="*/ 1502866 h 2809236"/>
                <a:gd name="connsiteX355" fmla="*/ 2776495 w 4708662"/>
                <a:gd name="connsiteY355" fmla="*/ 1504835 h 2809236"/>
                <a:gd name="connsiteX356" fmla="*/ 2617613 w 4708662"/>
                <a:gd name="connsiteY356" fmla="*/ 1412272 h 2809236"/>
                <a:gd name="connsiteX357" fmla="*/ 2621520 w 4708662"/>
                <a:gd name="connsiteY357" fmla="*/ 1383387 h 2809236"/>
                <a:gd name="connsiteX358" fmla="*/ 2778449 w 4708662"/>
                <a:gd name="connsiteY358" fmla="*/ 1292136 h 2809236"/>
                <a:gd name="connsiteX359" fmla="*/ 2804170 w 4708662"/>
                <a:gd name="connsiteY359" fmla="*/ 1284997 h 2809236"/>
                <a:gd name="connsiteX360" fmla="*/ 1319915 w 4708662"/>
                <a:gd name="connsiteY360" fmla="*/ 1258658 h 2809236"/>
                <a:gd name="connsiteX361" fmla="*/ 1343701 w 4708662"/>
                <a:gd name="connsiteY361" fmla="*/ 1263568 h 2809236"/>
                <a:gd name="connsiteX362" fmla="*/ 1484904 w 4708662"/>
                <a:gd name="connsiteY362" fmla="*/ 1345400 h 2809236"/>
                <a:gd name="connsiteX363" fmla="*/ 2452619 w 4708662"/>
                <a:gd name="connsiteY363" fmla="*/ 1903856 h 2809236"/>
                <a:gd name="connsiteX364" fmla="*/ 2452619 w 4708662"/>
                <a:gd name="connsiteY364" fmla="*/ 1931915 h 2809236"/>
                <a:gd name="connsiteX365" fmla="*/ 2260605 w 4708662"/>
                <a:gd name="connsiteY365" fmla="*/ 2042849 h 2809236"/>
                <a:gd name="connsiteX366" fmla="*/ 2210968 w 4708662"/>
                <a:gd name="connsiteY366" fmla="*/ 2042849 h 2809236"/>
                <a:gd name="connsiteX367" fmla="*/ 1358287 w 4708662"/>
                <a:gd name="connsiteY367" fmla="*/ 1550486 h 2809236"/>
                <a:gd name="connsiteX368" fmla="*/ 1357386 w 4708662"/>
                <a:gd name="connsiteY368" fmla="*/ 1550288 h 2809236"/>
                <a:gd name="connsiteX369" fmla="*/ 1103235 w 4708662"/>
                <a:gd name="connsiteY369" fmla="*/ 1403655 h 2809236"/>
                <a:gd name="connsiteX370" fmla="*/ 1106494 w 4708662"/>
                <a:gd name="connsiteY370" fmla="*/ 1374852 h 2809236"/>
                <a:gd name="connsiteX371" fmla="*/ 1294174 w 4708662"/>
                <a:gd name="connsiteY371" fmla="*/ 1265532 h 2809236"/>
                <a:gd name="connsiteX372" fmla="*/ 1319915 w 4708662"/>
                <a:gd name="connsiteY372" fmla="*/ 1258658 h 2809236"/>
                <a:gd name="connsiteX373" fmla="*/ 1765908 w 4708662"/>
                <a:gd name="connsiteY373" fmla="*/ 1238479 h 2809236"/>
                <a:gd name="connsiteX374" fmla="*/ 1790342 w 4708662"/>
                <a:gd name="connsiteY374" fmla="*/ 1243355 h 2809236"/>
                <a:gd name="connsiteX375" fmla="*/ 1949204 w 4708662"/>
                <a:gd name="connsiteY375" fmla="*/ 1335024 h 2809236"/>
                <a:gd name="connsiteX376" fmla="*/ 1945935 w 4708662"/>
                <a:gd name="connsiteY376" fmla="*/ 1363629 h 2809236"/>
                <a:gd name="connsiteX377" fmla="*/ 1788381 w 4708662"/>
                <a:gd name="connsiteY377" fmla="*/ 1453997 h 2809236"/>
                <a:gd name="connsiteX378" fmla="*/ 1738042 w 4708662"/>
                <a:gd name="connsiteY378" fmla="*/ 1455947 h 2809236"/>
                <a:gd name="connsiteX379" fmla="*/ 1578526 w 4708662"/>
                <a:gd name="connsiteY379" fmla="*/ 1364279 h 2809236"/>
                <a:gd name="connsiteX380" fmla="*/ 1582449 w 4708662"/>
                <a:gd name="connsiteY380" fmla="*/ 1335674 h 2809236"/>
                <a:gd name="connsiteX381" fmla="*/ 1740003 w 4708662"/>
                <a:gd name="connsiteY381" fmla="*/ 1245306 h 2809236"/>
                <a:gd name="connsiteX382" fmla="*/ 1765908 w 4708662"/>
                <a:gd name="connsiteY382" fmla="*/ 1238479 h 2809236"/>
                <a:gd name="connsiteX383" fmla="*/ 3165163 w 4708662"/>
                <a:gd name="connsiteY383" fmla="*/ 1218751 h 2809236"/>
                <a:gd name="connsiteX384" fmla="*/ 3189515 w 4708662"/>
                <a:gd name="connsiteY384" fmla="*/ 1223921 h 2809236"/>
                <a:gd name="connsiteX385" fmla="*/ 3349031 w 4708662"/>
                <a:gd name="connsiteY385" fmla="*/ 1315828 h 2809236"/>
                <a:gd name="connsiteX386" fmla="*/ 3345109 w 4708662"/>
                <a:gd name="connsiteY386" fmla="*/ 1344713 h 2809236"/>
                <a:gd name="connsiteX387" fmla="*/ 3187554 w 4708662"/>
                <a:gd name="connsiteY387" fmla="*/ 1436620 h 2809236"/>
                <a:gd name="connsiteX388" fmla="*/ 3137869 w 4708662"/>
                <a:gd name="connsiteY388" fmla="*/ 1438589 h 2809236"/>
                <a:gd name="connsiteX389" fmla="*/ 2978353 w 4708662"/>
                <a:gd name="connsiteY389" fmla="*/ 1346026 h 2809236"/>
                <a:gd name="connsiteX390" fmla="*/ 2981622 w 4708662"/>
                <a:gd name="connsiteY390" fmla="*/ 1317141 h 2809236"/>
                <a:gd name="connsiteX391" fmla="*/ 3139830 w 4708662"/>
                <a:gd name="connsiteY391" fmla="*/ 1225890 h 2809236"/>
                <a:gd name="connsiteX392" fmla="*/ 3165163 w 4708662"/>
                <a:gd name="connsiteY392" fmla="*/ 1218751 h 2809236"/>
                <a:gd name="connsiteX393" fmla="*/ 2128092 w 4708662"/>
                <a:gd name="connsiteY393" fmla="*/ 1172256 h 2809236"/>
                <a:gd name="connsiteX394" fmla="*/ 2152321 w 4708662"/>
                <a:gd name="connsiteY394" fmla="*/ 1177179 h 2809236"/>
                <a:gd name="connsiteX395" fmla="*/ 2312100 w 4708662"/>
                <a:gd name="connsiteY395" fmla="*/ 1269743 h 2809236"/>
                <a:gd name="connsiteX396" fmla="*/ 2308171 w 4708662"/>
                <a:gd name="connsiteY396" fmla="*/ 1298628 h 2809236"/>
                <a:gd name="connsiteX397" fmla="*/ 2150356 w 4708662"/>
                <a:gd name="connsiteY397" fmla="*/ 1389878 h 2809236"/>
                <a:gd name="connsiteX398" fmla="*/ 2100589 w 4708662"/>
                <a:gd name="connsiteY398" fmla="*/ 1391848 h 2809236"/>
                <a:gd name="connsiteX399" fmla="*/ 1940811 w 4708662"/>
                <a:gd name="connsiteY399" fmla="*/ 1299941 h 2809236"/>
                <a:gd name="connsiteX400" fmla="*/ 1944085 w 4708662"/>
                <a:gd name="connsiteY400" fmla="*/ 1271056 h 2809236"/>
                <a:gd name="connsiteX401" fmla="*/ 2101899 w 4708662"/>
                <a:gd name="connsiteY401" fmla="*/ 1179149 h 2809236"/>
                <a:gd name="connsiteX402" fmla="*/ 2128092 w 4708662"/>
                <a:gd name="connsiteY402" fmla="*/ 1172256 h 2809236"/>
                <a:gd name="connsiteX403" fmla="*/ 2557747 w 4708662"/>
                <a:gd name="connsiteY403" fmla="*/ 1143534 h 2809236"/>
                <a:gd name="connsiteX404" fmla="*/ 2582426 w 4708662"/>
                <a:gd name="connsiteY404" fmla="*/ 1148376 h 2809236"/>
                <a:gd name="connsiteX405" fmla="*/ 2741288 w 4708662"/>
                <a:gd name="connsiteY405" fmla="*/ 1240940 h 2809236"/>
                <a:gd name="connsiteX406" fmla="*/ 2737366 w 4708662"/>
                <a:gd name="connsiteY406" fmla="*/ 1269825 h 2809236"/>
                <a:gd name="connsiteX407" fmla="*/ 2579811 w 4708662"/>
                <a:gd name="connsiteY407" fmla="*/ 1361732 h 2809236"/>
                <a:gd name="connsiteX408" fmla="*/ 2530126 w 4708662"/>
                <a:gd name="connsiteY408" fmla="*/ 1363701 h 2809236"/>
                <a:gd name="connsiteX409" fmla="*/ 2370610 w 4708662"/>
                <a:gd name="connsiteY409" fmla="*/ 1271138 h 2809236"/>
                <a:gd name="connsiteX410" fmla="*/ 2373879 w 4708662"/>
                <a:gd name="connsiteY410" fmla="*/ 1242253 h 2809236"/>
                <a:gd name="connsiteX411" fmla="*/ 2532087 w 4708662"/>
                <a:gd name="connsiteY411" fmla="*/ 1151002 h 2809236"/>
                <a:gd name="connsiteX412" fmla="*/ 2557747 w 4708662"/>
                <a:gd name="connsiteY412" fmla="*/ 1143534 h 2809236"/>
                <a:gd name="connsiteX413" fmla="*/ 1520756 w 4708662"/>
                <a:gd name="connsiteY413" fmla="*/ 1097368 h 2809236"/>
                <a:gd name="connsiteX414" fmla="*/ 1544863 w 4708662"/>
                <a:gd name="connsiteY414" fmla="*/ 1102291 h 2809236"/>
                <a:gd name="connsiteX415" fmla="*/ 1704379 w 4708662"/>
                <a:gd name="connsiteY415" fmla="*/ 1194855 h 2809236"/>
                <a:gd name="connsiteX416" fmla="*/ 1700457 w 4708662"/>
                <a:gd name="connsiteY416" fmla="*/ 1223740 h 2809236"/>
                <a:gd name="connsiteX417" fmla="*/ 1542902 w 4708662"/>
                <a:gd name="connsiteY417" fmla="*/ 1314990 h 2809236"/>
                <a:gd name="connsiteX418" fmla="*/ 1493217 w 4708662"/>
                <a:gd name="connsiteY418" fmla="*/ 1317616 h 2809236"/>
                <a:gd name="connsiteX419" fmla="*/ 1333701 w 4708662"/>
                <a:gd name="connsiteY419" fmla="*/ 1225053 h 2809236"/>
                <a:gd name="connsiteX420" fmla="*/ 1336970 w 4708662"/>
                <a:gd name="connsiteY420" fmla="*/ 1196168 h 2809236"/>
                <a:gd name="connsiteX421" fmla="*/ 1495178 w 4708662"/>
                <a:gd name="connsiteY421" fmla="*/ 1104261 h 2809236"/>
                <a:gd name="connsiteX422" fmla="*/ 1520756 w 4708662"/>
                <a:gd name="connsiteY422" fmla="*/ 1097368 h 2809236"/>
                <a:gd name="connsiteX423" fmla="*/ 2919137 w 4708662"/>
                <a:gd name="connsiteY423" fmla="*/ 1077534 h 2809236"/>
                <a:gd name="connsiteX424" fmla="*/ 2943149 w 4708662"/>
                <a:gd name="connsiteY424" fmla="*/ 1082129 h 2809236"/>
                <a:gd name="connsiteX425" fmla="*/ 3102031 w 4708662"/>
                <a:gd name="connsiteY425" fmla="*/ 1174693 h 2809236"/>
                <a:gd name="connsiteX426" fmla="*/ 3098124 w 4708662"/>
                <a:gd name="connsiteY426" fmla="*/ 1203578 h 2809236"/>
                <a:gd name="connsiteX427" fmla="*/ 2940544 w 4708662"/>
                <a:gd name="connsiteY427" fmla="*/ 1294828 h 2809236"/>
                <a:gd name="connsiteX428" fmla="*/ 2891707 w 4708662"/>
                <a:gd name="connsiteY428" fmla="*/ 1297454 h 2809236"/>
                <a:gd name="connsiteX429" fmla="*/ 2732825 w 4708662"/>
                <a:gd name="connsiteY429" fmla="*/ 1204891 h 2809236"/>
                <a:gd name="connsiteX430" fmla="*/ 2736732 w 4708662"/>
                <a:gd name="connsiteY430" fmla="*/ 1176006 h 2809236"/>
                <a:gd name="connsiteX431" fmla="*/ 2893661 w 4708662"/>
                <a:gd name="connsiteY431" fmla="*/ 1084755 h 2809236"/>
                <a:gd name="connsiteX432" fmla="*/ 2919137 w 4708662"/>
                <a:gd name="connsiteY432" fmla="*/ 1077534 h 2809236"/>
                <a:gd name="connsiteX433" fmla="*/ 962595 w 4708662"/>
                <a:gd name="connsiteY433" fmla="*/ 1054160 h 2809236"/>
                <a:gd name="connsiteX434" fmla="*/ 987195 w 4708662"/>
                <a:gd name="connsiteY434" fmla="*/ 1059080 h 2809236"/>
                <a:gd name="connsiteX435" fmla="*/ 1240694 w 4708662"/>
                <a:gd name="connsiteY435" fmla="*/ 1206689 h 2809236"/>
                <a:gd name="connsiteX436" fmla="*/ 1237436 w 4708662"/>
                <a:gd name="connsiteY436" fmla="*/ 1235554 h 2809236"/>
                <a:gd name="connsiteX437" fmla="*/ 1049755 w 4708662"/>
                <a:gd name="connsiteY437" fmla="*/ 1344456 h 2809236"/>
                <a:gd name="connsiteX438" fmla="*/ 1000229 w 4708662"/>
                <a:gd name="connsiteY438" fmla="*/ 1346425 h 2809236"/>
                <a:gd name="connsiteX439" fmla="*/ 746078 w 4708662"/>
                <a:gd name="connsiteY439" fmla="*/ 1198816 h 2809236"/>
                <a:gd name="connsiteX440" fmla="*/ 749337 w 4708662"/>
                <a:gd name="connsiteY440" fmla="*/ 1169951 h 2809236"/>
                <a:gd name="connsiteX441" fmla="*/ 937017 w 4708662"/>
                <a:gd name="connsiteY441" fmla="*/ 1061049 h 2809236"/>
                <a:gd name="connsiteX442" fmla="*/ 962595 w 4708662"/>
                <a:gd name="connsiteY442" fmla="*/ 1054160 h 2809236"/>
                <a:gd name="connsiteX443" fmla="*/ 1883758 w 4708662"/>
                <a:gd name="connsiteY443" fmla="*/ 1028241 h 2809236"/>
                <a:gd name="connsiteX444" fmla="*/ 1908151 w 4708662"/>
                <a:gd name="connsiteY444" fmla="*/ 1033164 h 2809236"/>
                <a:gd name="connsiteX445" fmla="*/ 2067275 w 4708662"/>
                <a:gd name="connsiteY445" fmla="*/ 1125728 h 2809236"/>
                <a:gd name="connsiteX446" fmla="*/ 2064000 w 4708662"/>
                <a:gd name="connsiteY446" fmla="*/ 1154613 h 2809236"/>
                <a:gd name="connsiteX447" fmla="*/ 1905531 w 4708662"/>
                <a:gd name="connsiteY447" fmla="*/ 1246520 h 2809236"/>
                <a:gd name="connsiteX448" fmla="*/ 1855764 w 4708662"/>
                <a:gd name="connsiteY448" fmla="*/ 1248489 h 2809236"/>
                <a:gd name="connsiteX449" fmla="*/ 1695986 w 4708662"/>
                <a:gd name="connsiteY449" fmla="*/ 1155926 h 2809236"/>
                <a:gd name="connsiteX450" fmla="*/ 1699915 w 4708662"/>
                <a:gd name="connsiteY450" fmla="*/ 1127041 h 2809236"/>
                <a:gd name="connsiteX451" fmla="*/ 1858384 w 4708662"/>
                <a:gd name="connsiteY451" fmla="*/ 1035134 h 2809236"/>
                <a:gd name="connsiteX452" fmla="*/ 1883758 w 4708662"/>
                <a:gd name="connsiteY452" fmla="*/ 1028241 h 2809236"/>
                <a:gd name="connsiteX453" fmla="*/ 2312923 w 4708662"/>
                <a:gd name="connsiteY453" fmla="*/ 1002295 h 2809236"/>
                <a:gd name="connsiteX454" fmla="*/ 2337316 w 4708662"/>
                <a:gd name="connsiteY454" fmla="*/ 1007171 h 2809236"/>
                <a:gd name="connsiteX455" fmla="*/ 2497094 w 4708662"/>
                <a:gd name="connsiteY455" fmla="*/ 1098840 h 2809236"/>
                <a:gd name="connsiteX456" fmla="*/ 2493165 w 4708662"/>
                <a:gd name="connsiteY456" fmla="*/ 1127445 h 2809236"/>
                <a:gd name="connsiteX457" fmla="*/ 2334696 w 4708662"/>
                <a:gd name="connsiteY457" fmla="*/ 1217813 h 2809236"/>
                <a:gd name="connsiteX458" fmla="*/ 2284929 w 4708662"/>
                <a:gd name="connsiteY458" fmla="*/ 1219763 h 2809236"/>
                <a:gd name="connsiteX459" fmla="*/ 2125151 w 4708662"/>
                <a:gd name="connsiteY459" fmla="*/ 1128095 h 2809236"/>
                <a:gd name="connsiteX460" fmla="*/ 2129080 w 4708662"/>
                <a:gd name="connsiteY460" fmla="*/ 1099490 h 2809236"/>
                <a:gd name="connsiteX461" fmla="*/ 2287549 w 4708662"/>
                <a:gd name="connsiteY461" fmla="*/ 1009122 h 2809236"/>
                <a:gd name="connsiteX462" fmla="*/ 2312923 w 4708662"/>
                <a:gd name="connsiteY462" fmla="*/ 1002295 h 2809236"/>
                <a:gd name="connsiteX463" fmla="*/ 1275851 w 4708662"/>
                <a:gd name="connsiteY463" fmla="*/ 953353 h 2809236"/>
                <a:gd name="connsiteX464" fmla="*/ 1299752 w 4708662"/>
                <a:gd name="connsiteY464" fmla="*/ 958276 h 2809236"/>
                <a:gd name="connsiteX465" fmla="*/ 1459531 w 4708662"/>
                <a:gd name="connsiteY465" fmla="*/ 1050840 h 2809236"/>
                <a:gd name="connsiteX466" fmla="*/ 1456256 w 4708662"/>
                <a:gd name="connsiteY466" fmla="*/ 1079725 h 2809236"/>
                <a:gd name="connsiteX467" fmla="*/ 1297787 w 4708662"/>
                <a:gd name="connsiteY467" fmla="*/ 1170975 h 2809236"/>
                <a:gd name="connsiteX468" fmla="*/ 1248020 w 4708662"/>
                <a:gd name="connsiteY468" fmla="*/ 1173601 h 2809236"/>
                <a:gd name="connsiteX469" fmla="*/ 1088242 w 4708662"/>
                <a:gd name="connsiteY469" fmla="*/ 1081038 h 2809236"/>
                <a:gd name="connsiteX470" fmla="*/ 1092171 w 4708662"/>
                <a:gd name="connsiteY470" fmla="*/ 1052153 h 2809236"/>
                <a:gd name="connsiteX471" fmla="*/ 1249985 w 4708662"/>
                <a:gd name="connsiteY471" fmla="*/ 960246 h 2809236"/>
                <a:gd name="connsiteX472" fmla="*/ 1275851 w 4708662"/>
                <a:gd name="connsiteY472" fmla="*/ 953353 h 2809236"/>
                <a:gd name="connsiteX473" fmla="*/ 2676333 w 4708662"/>
                <a:gd name="connsiteY473" fmla="*/ 933436 h 2809236"/>
                <a:gd name="connsiteX474" fmla="*/ 2700234 w 4708662"/>
                <a:gd name="connsiteY474" fmla="*/ 938113 h 2809236"/>
                <a:gd name="connsiteX475" fmla="*/ 2860012 w 4708662"/>
                <a:gd name="connsiteY475" fmla="*/ 1030677 h 2809236"/>
                <a:gd name="connsiteX476" fmla="*/ 2856738 w 4708662"/>
                <a:gd name="connsiteY476" fmla="*/ 1059562 h 2809236"/>
                <a:gd name="connsiteX477" fmla="*/ 2698269 w 4708662"/>
                <a:gd name="connsiteY477" fmla="*/ 1150812 h 2809236"/>
                <a:gd name="connsiteX478" fmla="*/ 2648502 w 4708662"/>
                <a:gd name="connsiteY478" fmla="*/ 1152782 h 2809236"/>
                <a:gd name="connsiteX479" fmla="*/ 2488724 w 4708662"/>
                <a:gd name="connsiteY479" fmla="*/ 1060218 h 2809236"/>
                <a:gd name="connsiteX480" fmla="*/ 2492653 w 4708662"/>
                <a:gd name="connsiteY480" fmla="*/ 1031990 h 2809236"/>
                <a:gd name="connsiteX481" fmla="*/ 2650467 w 4708662"/>
                <a:gd name="connsiteY481" fmla="*/ 940083 h 2809236"/>
                <a:gd name="connsiteX482" fmla="*/ 2676333 w 4708662"/>
                <a:gd name="connsiteY482" fmla="*/ 933436 h 2809236"/>
                <a:gd name="connsiteX483" fmla="*/ 718088 w 4708662"/>
                <a:gd name="connsiteY483" fmla="*/ 913106 h 2809236"/>
                <a:gd name="connsiteX484" fmla="*/ 742160 w 4708662"/>
                <a:gd name="connsiteY484" fmla="*/ 917939 h 2809236"/>
                <a:gd name="connsiteX485" fmla="*/ 901446 w 4708662"/>
                <a:gd name="connsiteY485" fmla="*/ 1010338 h 2809236"/>
                <a:gd name="connsiteX486" fmla="*/ 897529 w 4708662"/>
                <a:gd name="connsiteY486" fmla="*/ 1039171 h 2809236"/>
                <a:gd name="connsiteX487" fmla="*/ 710172 w 4708662"/>
                <a:gd name="connsiteY487" fmla="*/ 1148607 h 2809236"/>
                <a:gd name="connsiteX488" fmla="*/ 659906 w 4708662"/>
                <a:gd name="connsiteY488" fmla="*/ 1149918 h 2809236"/>
                <a:gd name="connsiteX489" fmla="*/ 501273 w 4708662"/>
                <a:gd name="connsiteY489" fmla="*/ 1058175 h 2809236"/>
                <a:gd name="connsiteX490" fmla="*/ 504537 w 4708662"/>
                <a:gd name="connsiteY490" fmla="*/ 1028686 h 2809236"/>
                <a:gd name="connsiteX491" fmla="*/ 692547 w 4708662"/>
                <a:gd name="connsiteY491" fmla="*/ 920561 h 2809236"/>
                <a:gd name="connsiteX492" fmla="*/ 718088 w 4708662"/>
                <a:gd name="connsiteY492" fmla="*/ 913106 h 2809236"/>
                <a:gd name="connsiteX493" fmla="*/ 1636298 w 4708662"/>
                <a:gd name="connsiteY493" fmla="*/ 887105 h 2809236"/>
                <a:gd name="connsiteX494" fmla="*/ 1660445 w 4708662"/>
                <a:gd name="connsiteY494" fmla="*/ 892028 h 2809236"/>
                <a:gd name="connsiteX495" fmla="*/ 1820223 w 4708662"/>
                <a:gd name="connsiteY495" fmla="*/ 984592 h 2809236"/>
                <a:gd name="connsiteX496" fmla="*/ 1816294 w 4708662"/>
                <a:gd name="connsiteY496" fmla="*/ 1013477 h 2809236"/>
                <a:gd name="connsiteX497" fmla="*/ 1658480 w 4708662"/>
                <a:gd name="connsiteY497" fmla="*/ 1105384 h 2809236"/>
                <a:gd name="connsiteX498" fmla="*/ 1608713 w 4708662"/>
                <a:gd name="connsiteY498" fmla="*/ 1106697 h 2809236"/>
                <a:gd name="connsiteX499" fmla="*/ 1448935 w 4708662"/>
                <a:gd name="connsiteY499" fmla="*/ 1014790 h 2809236"/>
                <a:gd name="connsiteX500" fmla="*/ 1452209 w 4708662"/>
                <a:gd name="connsiteY500" fmla="*/ 985905 h 2809236"/>
                <a:gd name="connsiteX501" fmla="*/ 1610678 w 4708662"/>
                <a:gd name="connsiteY501" fmla="*/ 893998 h 2809236"/>
                <a:gd name="connsiteX502" fmla="*/ 1636298 w 4708662"/>
                <a:gd name="connsiteY502" fmla="*/ 887105 h 2809236"/>
                <a:gd name="connsiteX503" fmla="*/ 2068014 w 4708662"/>
                <a:gd name="connsiteY503" fmla="*/ 858712 h 2809236"/>
                <a:gd name="connsiteX504" fmla="*/ 2092121 w 4708662"/>
                <a:gd name="connsiteY504" fmla="*/ 863882 h 2809236"/>
                <a:gd name="connsiteX505" fmla="*/ 2251637 w 4708662"/>
                <a:gd name="connsiteY505" fmla="*/ 955789 h 2809236"/>
                <a:gd name="connsiteX506" fmla="*/ 2248368 w 4708662"/>
                <a:gd name="connsiteY506" fmla="*/ 984674 h 2809236"/>
                <a:gd name="connsiteX507" fmla="*/ 2090160 w 4708662"/>
                <a:gd name="connsiteY507" fmla="*/ 1076581 h 2809236"/>
                <a:gd name="connsiteX508" fmla="*/ 2040475 w 4708662"/>
                <a:gd name="connsiteY508" fmla="*/ 1078550 h 2809236"/>
                <a:gd name="connsiteX509" fmla="*/ 1880959 w 4708662"/>
                <a:gd name="connsiteY509" fmla="*/ 985987 h 2809236"/>
                <a:gd name="connsiteX510" fmla="*/ 1884882 w 4708662"/>
                <a:gd name="connsiteY510" fmla="*/ 957102 h 2809236"/>
                <a:gd name="connsiteX511" fmla="*/ 2042436 w 4708662"/>
                <a:gd name="connsiteY511" fmla="*/ 865851 h 2809236"/>
                <a:gd name="connsiteX512" fmla="*/ 2068014 w 4708662"/>
                <a:gd name="connsiteY512" fmla="*/ 858712 h 2809236"/>
                <a:gd name="connsiteX513" fmla="*/ 1028145 w 4708662"/>
                <a:gd name="connsiteY513" fmla="*/ 812619 h 2809236"/>
                <a:gd name="connsiteX514" fmla="*/ 1052046 w 4708662"/>
                <a:gd name="connsiteY514" fmla="*/ 817774 h 2809236"/>
                <a:gd name="connsiteX515" fmla="*/ 1211825 w 4708662"/>
                <a:gd name="connsiteY515" fmla="*/ 909420 h 2809236"/>
                <a:gd name="connsiteX516" fmla="*/ 1208550 w 4708662"/>
                <a:gd name="connsiteY516" fmla="*/ 938878 h 2809236"/>
                <a:gd name="connsiteX517" fmla="*/ 1050081 w 4708662"/>
                <a:gd name="connsiteY517" fmla="*/ 1029869 h 2809236"/>
                <a:gd name="connsiteX518" fmla="*/ 1000314 w 4708662"/>
                <a:gd name="connsiteY518" fmla="*/ 1032488 h 2809236"/>
                <a:gd name="connsiteX519" fmla="*/ 840536 w 4708662"/>
                <a:gd name="connsiteY519" fmla="*/ 940187 h 2809236"/>
                <a:gd name="connsiteX520" fmla="*/ 843810 w 4708662"/>
                <a:gd name="connsiteY520" fmla="*/ 910730 h 2809236"/>
                <a:gd name="connsiteX521" fmla="*/ 1002279 w 4708662"/>
                <a:gd name="connsiteY521" fmla="*/ 819738 h 2809236"/>
                <a:gd name="connsiteX522" fmla="*/ 1028145 w 4708662"/>
                <a:gd name="connsiteY522" fmla="*/ 812619 h 2809236"/>
                <a:gd name="connsiteX523" fmla="*/ 2431262 w 4708662"/>
                <a:gd name="connsiteY523" fmla="*/ 792376 h 2809236"/>
                <a:gd name="connsiteX524" fmla="*/ 2455409 w 4708662"/>
                <a:gd name="connsiteY524" fmla="*/ 796959 h 2809236"/>
                <a:gd name="connsiteX525" fmla="*/ 2615187 w 4708662"/>
                <a:gd name="connsiteY525" fmla="*/ 889259 h 2809236"/>
                <a:gd name="connsiteX526" fmla="*/ 2611258 w 4708662"/>
                <a:gd name="connsiteY526" fmla="*/ 918717 h 2809236"/>
                <a:gd name="connsiteX527" fmla="*/ 2453444 w 4708662"/>
                <a:gd name="connsiteY527" fmla="*/ 1009708 h 2809236"/>
                <a:gd name="connsiteX528" fmla="*/ 2403022 w 4708662"/>
                <a:gd name="connsiteY528" fmla="*/ 1011672 h 2809236"/>
                <a:gd name="connsiteX529" fmla="*/ 2243899 w 4708662"/>
                <a:gd name="connsiteY529" fmla="*/ 919372 h 2809236"/>
                <a:gd name="connsiteX530" fmla="*/ 2247173 w 4708662"/>
                <a:gd name="connsiteY530" fmla="*/ 890568 h 2809236"/>
                <a:gd name="connsiteX531" fmla="*/ 2405642 w 4708662"/>
                <a:gd name="connsiteY531" fmla="*/ 799577 h 2809236"/>
                <a:gd name="connsiteX532" fmla="*/ 2431262 w 4708662"/>
                <a:gd name="connsiteY532" fmla="*/ 792376 h 2809236"/>
                <a:gd name="connsiteX533" fmla="*/ 472855 w 4708662"/>
                <a:gd name="connsiteY533" fmla="*/ 771867 h 2809236"/>
                <a:gd name="connsiteX534" fmla="*/ 496682 w 4708662"/>
                <a:gd name="connsiteY534" fmla="*/ 776737 h 2809236"/>
                <a:gd name="connsiteX535" fmla="*/ 655968 w 4708662"/>
                <a:gd name="connsiteY535" fmla="*/ 868304 h 2809236"/>
                <a:gd name="connsiteX536" fmla="*/ 652704 w 4708662"/>
                <a:gd name="connsiteY536" fmla="*/ 896878 h 2809236"/>
                <a:gd name="connsiteX537" fmla="*/ 464695 w 4708662"/>
                <a:gd name="connsiteY537" fmla="*/ 1004680 h 2809236"/>
                <a:gd name="connsiteX538" fmla="*/ 415081 w 4708662"/>
                <a:gd name="connsiteY538" fmla="*/ 1006628 h 2809236"/>
                <a:gd name="connsiteX539" fmla="*/ 255795 w 4708662"/>
                <a:gd name="connsiteY539" fmla="*/ 915062 h 2809236"/>
                <a:gd name="connsiteX540" fmla="*/ 259059 w 4708662"/>
                <a:gd name="connsiteY540" fmla="*/ 886488 h 2809236"/>
                <a:gd name="connsiteX541" fmla="*/ 447069 w 4708662"/>
                <a:gd name="connsiteY541" fmla="*/ 778686 h 2809236"/>
                <a:gd name="connsiteX542" fmla="*/ 472855 w 4708662"/>
                <a:gd name="connsiteY542" fmla="*/ 771867 h 2809236"/>
                <a:gd name="connsiteX543" fmla="*/ 1391226 w 4708662"/>
                <a:gd name="connsiteY543" fmla="*/ 745971 h 2809236"/>
                <a:gd name="connsiteX544" fmla="*/ 1415619 w 4708662"/>
                <a:gd name="connsiteY544" fmla="*/ 750894 h 2809236"/>
                <a:gd name="connsiteX545" fmla="*/ 1575397 w 4708662"/>
                <a:gd name="connsiteY545" fmla="*/ 843458 h 2809236"/>
                <a:gd name="connsiteX546" fmla="*/ 1571468 w 4708662"/>
                <a:gd name="connsiteY546" fmla="*/ 872343 h 2809236"/>
                <a:gd name="connsiteX547" fmla="*/ 1413654 w 4708662"/>
                <a:gd name="connsiteY547" fmla="*/ 963593 h 2809236"/>
                <a:gd name="connsiteX548" fmla="*/ 1363232 w 4708662"/>
                <a:gd name="connsiteY548" fmla="*/ 965563 h 2809236"/>
                <a:gd name="connsiteX549" fmla="*/ 1203454 w 4708662"/>
                <a:gd name="connsiteY549" fmla="*/ 873656 h 2809236"/>
                <a:gd name="connsiteX550" fmla="*/ 1207383 w 4708662"/>
                <a:gd name="connsiteY550" fmla="*/ 844114 h 2809236"/>
                <a:gd name="connsiteX551" fmla="*/ 1365852 w 4708662"/>
                <a:gd name="connsiteY551" fmla="*/ 752864 h 2809236"/>
                <a:gd name="connsiteX552" fmla="*/ 1391226 w 4708662"/>
                <a:gd name="connsiteY552" fmla="*/ 745971 h 2809236"/>
                <a:gd name="connsiteX553" fmla="*/ 1814468 w 4708662"/>
                <a:gd name="connsiteY553" fmla="*/ 714689 h 2809236"/>
                <a:gd name="connsiteX554" fmla="*/ 1838369 w 4708662"/>
                <a:gd name="connsiteY554" fmla="*/ 719844 h 2809236"/>
                <a:gd name="connsiteX555" fmla="*/ 1998148 w 4708662"/>
                <a:gd name="connsiteY555" fmla="*/ 812145 h 2809236"/>
                <a:gd name="connsiteX556" fmla="*/ 1994873 w 4708662"/>
                <a:gd name="connsiteY556" fmla="*/ 840948 h 2809236"/>
                <a:gd name="connsiteX557" fmla="*/ 1837059 w 4708662"/>
                <a:gd name="connsiteY557" fmla="*/ 931939 h 2809236"/>
                <a:gd name="connsiteX558" fmla="*/ 1786637 w 4708662"/>
                <a:gd name="connsiteY558" fmla="*/ 934558 h 2809236"/>
                <a:gd name="connsiteX559" fmla="*/ 1626859 w 4708662"/>
                <a:gd name="connsiteY559" fmla="*/ 842257 h 2809236"/>
                <a:gd name="connsiteX560" fmla="*/ 1630788 w 4708662"/>
                <a:gd name="connsiteY560" fmla="*/ 812800 h 2809236"/>
                <a:gd name="connsiteX561" fmla="*/ 1788602 w 4708662"/>
                <a:gd name="connsiteY561" fmla="*/ 721808 h 2809236"/>
                <a:gd name="connsiteX562" fmla="*/ 1814468 w 4708662"/>
                <a:gd name="connsiteY562" fmla="*/ 714689 h 2809236"/>
                <a:gd name="connsiteX563" fmla="*/ 2183147 w 4708662"/>
                <a:gd name="connsiteY563" fmla="*/ 651248 h 2809236"/>
                <a:gd name="connsiteX564" fmla="*/ 2207048 w 4708662"/>
                <a:gd name="connsiteY564" fmla="*/ 655843 h 2809236"/>
                <a:gd name="connsiteX565" fmla="*/ 2366827 w 4708662"/>
                <a:gd name="connsiteY565" fmla="*/ 748407 h 2809236"/>
                <a:gd name="connsiteX566" fmla="*/ 2363552 w 4708662"/>
                <a:gd name="connsiteY566" fmla="*/ 777292 h 2809236"/>
                <a:gd name="connsiteX567" fmla="*/ 2205738 w 4708662"/>
                <a:gd name="connsiteY567" fmla="*/ 868542 h 2809236"/>
                <a:gd name="connsiteX568" fmla="*/ 2155316 w 4708662"/>
                <a:gd name="connsiteY568" fmla="*/ 871168 h 2809236"/>
                <a:gd name="connsiteX569" fmla="*/ 1995538 w 4708662"/>
                <a:gd name="connsiteY569" fmla="*/ 778605 h 2809236"/>
                <a:gd name="connsiteX570" fmla="*/ 1999467 w 4708662"/>
                <a:gd name="connsiteY570" fmla="*/ 749720 h 2809236"/>
                <a:gd name="connsiteX571" fmla="*/ 2157281 w 4708662"/>
                <a:gd name="connsiteY571" fmla="*/ 658469 h 2809236"/>
                <a:gd name="connsiteX572" fmla="*/ 2183147 w 4708662"/>
                <a:gd name="connsiteY572" fmla="*/ 651248 h 2809236"/>
                <a:gd name="connsiteX573" fmla="*/ 225802 w 4708662"/>
                <a:gd name="connsiteY573" fmla="*/ 627852 h 2809236"/>
                <a:gd name="connsiteX574" fmla="*/ 249629 w 4708662"/>
                <a:gd name="connsiteY574" fmla="*/ 632722 h 2809236"/>
                <a:gd name="connsiteX575" fmla="*/ 408915 w 4708662"/>
                <a:gd name="connsiteY575" fmla="*/ 724289 h 2809236"/>
                <a:gd name="connsiteX576" fmla="*/ 405651 w 4708662"/>
                <a:gd name="connsiteY576" fmla="*/ 752863 h 2809236"/>
                <a:gd name="connsiteX577" fmla="*/ 217641 w 4708662"/>
                <a:gd name="connsiteY577" fmla="*/ 860665 h 2809236"/>
                <a:gd name="connsiteX578" fmla="*/ 168028 w 4708662"/>
                <a:gd name="connsiteY578" fmla="*/ 862613 h 2809236"/>
                <a:gd name="connsiteX579" fmla="*/ 8742 w 4708662"/>
                <a:gd name="connsiteY579" fmla="*/ 771046 h 2809236"/>
                <a:gd name="connsiteX580" fmla="*/ 12006 w 4708662"/>
                <a:gd name="connsiteY580" fmla="*/ 742473 h 2809236"/>
                <a:gd name="connsiteX581" fmla="*/ 200016 w 4708662"/>
                <a:gd name="connsiteY581" fmla="*/ 634671 h 2809236"/>
                <a:gd name="connsiteX582" fmla="*/ 225802 w 4708662"/>
                <a:gd name="connsiteY582" fmla="*/ 627852 h 2809236"/>
                <a:gd name="connsiteX583" fmla="*/ 2399582 w 4708662"/>
                <a:gd name="connsiteY583" fmla="*/ 608135 h 2809236"/>
                <a:gd name="connsiteX584" fmla="*/ 2424015 w 4708662"/>
                <a:gd name="connsiteY584" fmla="*/ 613322 h 2809236"/>
                <a:gd name="connsiteX585" fmla="*/ 2583525 w 4708662"/>
                <a:gd name="connsiteY585" fmla="*/ 705536 h 2809236"/>
                <a:gd name="connsiteX586" fmla="*/ 2579603 w 4708662"/>
                <a:gd name="connsiteY586" fmla="*/ 734517 h 2809236"/>
                <a:gd name="connsiteX587" fmla="*/ 2527305 w 4708662"/>
                <a:gd name="connsiteY587" fmla="*/ 765475 h 2809236"/>
                <a:gd name="connsiteX588" fmla="*/ 2477621 w 4708662"/>
                <a:gd name="connsiteY588" fmla="*/ 767451 h 2809236"/>
                <a:gd name="connsiteX589" fmla="*/ 2318111 w 4708662"/>
                <a:gd name="connsiteY589" fmla="*/ 674578 h 2809236"/>
                <a:gd name="connsiteX590" fmla="*/ 2321380 w 4708662"/>
                <a:gd name="connsiteY590" fmla="*/ 645597 h 2809236"/>
                <a:gd name="connsiteX591" fmla="*/ 2373678 w 4708662"/>
                <a:gd name="connsiteY591" fmla="*/ 615298 h 2809236"/>
                <a:gd name="connsiteX592" fmla="*/ 2399582 w 4708662"/>
                <a:gd name="connsiteY592" fmla="*/ 608135 h 2809236"/>
                <a:gd name="connsiteX593" fmla="*/ 1140559 w 4708662"/>
                <a:gd name="connsiteY593" fmla="*/ 602284 h 2809236"/>
                <a:gd name="connsiteX594" fmla="*/ 1165033 w 4708662"/>
                <a:gd name="connsiteY594" fmla="*/ 606879 h 2809236"/>
                <a:gd name="connsiteX595" fmla="*/ 1324157 w 4708662"/>
                <a:gd name="connsiteY595" fmla="*/ 699443 h 2809236"/>
                <a:gd name="connsiteX596" fmla="*/ 1320882 w 4708662"/>
                <a:gd name="connsiteY596" fmla="*/ 728328 h 2809236"/>
                <a:gd name="connsiteX597" fmla="*/ 1163068 w 4708662"/>
                <a:gd name="connsiteY597" fmla="*/ 819578 h 2809236"/>
                <a:gd name="connsiteX598" fmla="*/ 1112646 w 4708662"/>
                <a:gd name="connsiteY598" fmla="*/ 822204 h 2809236"/>
                <a:gd name="connsiteX599" fmla="*/ 953523 w 4708662"/>
                <a:gd name="connsiteY599" fmla="*/ 729641 h 2809236"/>
                <a:gd name="connsiteX600" fmla="*/ 956797 w 4708662"/>
                <a:gd name="connsiteY600" fmla="*/ 700756 h 2809236"/>
                <a:gd name="connsiteX601" fmla="*/ 1114611 w 4708662"/>
                <a:gd name="connsiteY601" fmla="*/ 609505 h 2809236"/>
                <a:gd name="connsiteX602" fmla="*/ 1140559 w 4708662"/>
                <a:gd name="connsiteY602" fmla="*/ 602284 h 2809236"/>
                <a:gd name="connsiteX603" fmla="*/ 1563962 w 4708662"/>
                <a:gd name="connsiteY603" fmla="*/ 567473 h 2809236"/>
                <a:gd name="connsiteX604" fmla="*/ 1588436 w 4708662"/>
                <a:gd name="connsiteY604" fmla="*/ 572315 h 2809236"/>
                <a:gd name="connsiteX605" fmla="*/ 1747560 w 4708662"/>
                <a:gd name="connsiteY605" fmla="*/ 664879 h 2809236"/>
                <a:gd name="connsiteX606" fmla="*/ 1744285 w 4708662"/>
                <a:gd name="connsiteY606" fmla="*/ 693764 h 2809236"/>
                <a:gd name="connsiteX607" fmla="*/ 1586471 w 4708662"/>
                <a:gd name="connsiteY607" fmla="*/ 785014 h 2809236"/>
                <a:gd name="connsiteX608" fmla="*/ 1536049 w 4708662"/>
                <a:gd name="connsiteY608" fmla="*/ 787640 h 2809236"/>
                <a:gd name="connsiteX609" fmla="*/ 1376926 w 4708662"/>
                <a:gd name="connsiteY609" fmla="*/ 695077 h 2809236"/>
                <a:gd name="connsiteX610" fmla="*/ 1380200 w 4708662"/>
                <a:gd name="connsiteY610" fmla="*/ 666192 h 2809236"/>
                <a:gd name="connsiteX611" fmla="*/ 1538014 w 4708662"/>
                <a:gd name="connsiteY611" fmla="*/ 574941 h 2809236"/>
                <a:gd name="connsiteX612" fmla="*/ 1563962 w 4708662"/>
                <a:gd name="connsiteY612" fmla="*/ 567473 h 2809236"/>
                <a:gd name="connsiteX613" fmla="*/ 1937991 w 4708662"/>
                <a:gd name="connsiteY613" fmla="*/ 509868 h 2809236"/>
                <a:gd name="connsiteX614" fmla="*/ 1962220 w 4708662"/>
                <a:gd name="connsiteY614" fmla="*/ 514709 h 2809236"/>
                <a:gd name="connsiteX615" fmla="*/ 2121999 w 4708662"/>
                <a:gd name="connsiteY615" fmla="*/ 607273 h 2809236"/>
                <a:gd name="connsiteX616" fmla="*/ 2118070 w 4708662"/>
                <a:gd name="connsiteY616" fmla="*/ 636158 h 2809236"/>
                <a:gd name="connsiteX617" fmla="*/ 1960255 w 4708662"/>
                <a:gd name="connsiteY617" fmla="*/ 727408 h 2809236"/>
                <a:gd name="connsiteX618" fmla="*/ 1910488 w 4708662"/>
                <a:gd name="connsiteY618" fmla="*/ 730034 h 2809236"/>
                <a:gd name="connsiteX619" fmla="*/ 1750710 w 4708662"/>
                <a:gd name="connsiteY619" fmla="*/ 637471 h 2809236"/>
                <a:gd name="connsiteX620" fmla="*/ 1753984 w 4708662"/>
                <a:gd name="connsiteY620" fmla="*/ 608586 h 2809236"/>
                <a:gd name="connsiteX621" fmla="*/ 1911798 w 4708662"/>
                <a:gd name="connsiteY621" fmla="*/ 517335 h 2809236"/>
                <a:gd name="connsiteX622" fmla="*/ 1937991 w 4708662"/>
                <a:gd name="connsiteY622" fmla="*/ 509868 h 2809236"/>
                <a:gd name="connsiteX623" fmla="*/ 468825 w 4708662"/>
                <a:gd name="connsiteY623" fmla="*/ 490026 h 2809236"/>
                <a:gd name="connsiteX624" fmla="*/ 493223 w 4708662"/>
                <a:gd name="connsiteY624" fmla="*/ 495179 h 2809236"/>
                <a:gd name="connsiteX625" fmla="*/ 961279 w 4708662"/>
                <a:gd name="connsiteY625" fmla="*/ 766102 h 2809236"/>
                <a:gd name="connsiteX626" fmla="*/ 958015 w 4708662"/>
                <a:gd name="connsiteY626" fmla="*/ 794896 h 2809236"/>
                <a:gd name="connsiteX627" fmla="*/ 800691 w 4708662"/>
                <a:gd name="connsiteY627" fmla="*/ 885859 h 2809236"/>
                <a:gd name="connsiteX628" fmla="*/ 750425 w 4708662"/>
                <a:gd name="connsiteY628" fmla="*/ 887822 h 2809236"/>
                <a:gd name="connsiteX629" fmla="*/ 282369 w 4708662"/>
                <a:gd name="connsiteY629" fmla="*/ 616898 h 2809236"/>
                <a:gd name="connsiteX630" fmla="*/ 285633 w 4708662"/>
                <a:gd name="connsiteY630" fmla="*/ 588104 h 2809236"/>
                <a:gd name="connsiteX631" fmla="*/ 442957 w 4708662"/>
                <a:gd name="connsiteY631" fmla="*/ 497142 h 2809236"/>
                <a:gd name="connsiteX632" fmla="*/ 468825 w 4708662"/>
                <a:gd name="connsiteY632" fmla="*/ 490026 h 2809236"/>
                <a:gd name="connsiteX633" fmla="*/ 2154754 w 4708662"/>
                <a:gd name="connsiteY633" fmla="*/ 466588 h 2809236"/>
                <a:gd name="connsiteX634" fmla="*/ 2179188 w 4708662"/>
                <a:gd name="connsiteY634" fmla="*/ 471528 h 2809236"/>
                <a:gd name="connsiteX635" fmla="*/ 2338698 w 4708662"/>
                <a:gd name="connsiteY635" fmla="*/ 564402 h 2809236"/>
                <a:gd name="connsiteX636" fmla="*/ 2334776 w 4708662"/>
                <a:gd name="connsiteY636" fmla="*/ 593384 h 2809236"/>
                <a:gd name="connsiteX637" fmla="*/ 2282477 w 4708662"/>
                <a:gd name="connsiteY637" fmla="*/ 623683 h 2809236"/>
                <a:gd name="connsiteX638" fmla="*/ 2232794 w 4708662"/>
                <a:gd name="connsiteY638" fmla="*/ 625659 h 2809236"/>
                <a:gd name="connsiteX639" fmla="*/ 2073283 w 4708662"/>
                <a:gd name="connsiteY639" fmla="*/ 533444 h 2809236"/>
                <a:gd name="connsiteX640" fmla="*/ 2076552 w 4708662"/>
                <a:gd name="connsiteY640" fmla="*/ 504462 h 2809236"/>
                <a:gd name="connsiteX641" fmla="*/ 2128850 w 4708662"/>
                <a:gd name="connsiteY641" fmla="*/ 473504 h 2809236"/>
                <a:gd name="connsiteX642" fmla="*/ 2154754 w 4708662"/>
                <a:gd name="connsiteY642" fmla="*/ 466588 h 2809236"/>
                <a:gd name="connsiteX643" fmla="*/ 1310492 w 4708662"/>
                <a:gd name="connsiteY643" fmla="*/ 423787 h 2809236"/>
                <a:gd name="connsiteX644" fmla="*/ 1334599 w 4708662"/>
                <a:gd name="connsiteY644" fmla="*/ 428957 h 2809236"/>
                <a:gd name="connsiteX645" fmla="*/ 1494115 w 4708662"/>
                <a:gd name="connsiteY645" fmla="*/ 520864 h 2809236"/>
                <a:gd name="connsiteX646" fmla="*/ 1490193 w 4708662"/>
                <a:gd name="connsiteY646" fmla="*/ 550405 h 2809236"/>
                <a:gd name="connsiteX647" fmla="*/ 1332638 w 4708662"/>
                <a:gd name="connsiteY647" fmla="*/ 641656 h 2809236"/>
                <a:gd name="connsiteX648" fmla="*/ 1282299 w 4708662"/>
                <a:gd name="connsiteY648" fmla="*/ 643625 h 2809236"/>
                <a:gd name="connsiteX649" fmla="*/ 1123437 w 4708662"/>
                <a:gd name="connsiteY649" fmla="*/ 551062 h 2809236"/>
                <a:gd name="connsiteX650" fmla="*/ 1126706 w 4708662"/>
                <a:gd name="connsiteY650" fmla="*/ 522177 h 2809236"/>
                <a:gd name="connsiteX651" fmla="*/ 1284914 w 4708662"/>
                <a:gd name="connsiteY651" fmla="*/ 430926 h 2809236"/>
                <a:gd name="connsiteX652" fmla="*/ 1310492 w 4708662"/>
                <a:gd name="connsiteY652" fmla="*/ 423787 h 2809236"/>
                <a:gd name="connsiteX653" fmla="*/ 1693576 w 4708662"/>
                <a:gd name="connsiteY653" fmla="*/ 368650 h 2809236"/>
                <a:gd name="connsiteX654" fmla="*/ 1718050 w 4708662"/>
                <a:gd name="connsiteY654" fmla="*/ 373573 h 2809236"/>
                <a:gd name="connsiteX655" fmla="*/ 1877828 w 4708662"/>
                <a:gd name="connsiteY655" fmla="*/ 466137 h 2809236"/>
                <a:gd name="connsiteX656" fmla="*/ 1873899 w 4708662"/>
                <a:gd name="connsiteY656" fmla="*/ 495022 h 2809236"/>
                <a:gd name="connsiteX657" fmla="*/ 1715430 w 4708662"/>
                <a:gd name="connsiteY657" fmla="*/ 586272 h 2809236"/>
                <a:gd name="connsiteX658" fmla="*/ 1665663 w 4708662"/>
                <a:gd name="connsiteY658" fmla="*/ 588242 h 2809236"/>
                <a:gd name="connsiteX659" fmla="*/ 1505885 w 4708662"/>
                <a:gd name="connsiteY659" fmla="*/ 496335 h 2809236"/>
                <a:gd name="connsiteX660" fmla="*/ 1509814 w 4708662"/>
                <a:gd name="connsiteY660" fmla="*/ 466793 h 2809236"/>
                <a:gd name="connsiteX661" fmla="*/ 1667628 w 4708662"/>
                <a:gd name="connsiteY661" fmla="*/ 375543 h 2809236"/>
                <a:gd name="connsiteX662" fmla="*/ 1693576 w 4708662"/>
                <a:gd name="connsiteY662" fmla="*/ 368650 h 2809236"/>
                <a:gd name="connsiteX663" fmla="*/ 708205 w 4708662"/>
                <a:gd name="connsiteY663" fmla="*/ 351349 h 2809236"/>
                <a:gd name="connsiteX664" fmla="*/ 732002 w 4708662"/>
                <a:gd name="connsiteY664" fmla="*/ 356234 h 2809236"/>
                <a:gd name="connsiteX665" fmla="*/ 1074281 w 4708662"/>
                <a:gd name="connsiteY665" fmla="*/ 553577 h 2809236"/>
                <a:gd name="connsiteX666" fmla="*/ 1071021 w 4708662"/>
                <a:gd name="connsiteY666" fmla="*/ 582234 h 2809236"/>
                <a:gd name="connsiteX667" fmla="*/ 913247 w 4708662"/>
                <a:gd name="connsiteY667" fmla="*/ 672764 h 2809236"/>
                <a:gd name="connsiteX668" fmla="*/ 863698 w 4708662"/>
                <a:gd name="connsiteY668" fmla="*/ 675369 h 2809236"/>
                <a:gd name="connsiteX669" fmla="*/ 521419 w 4708662"/>
                <a:gd name="connsiteY669" fmla="*/ 478027 h 2809236"/>
                <a:gd name="connsiteX670" fmla="*/ 524679 w 4708662"/>
                <a:gd name="connsiteY670" fmla="*/ 449370 h 2809236"/>
                <a:gd name="connsiteX671" fmla="*/ 682453 w 4708662"/>
                <a:gd name="connsiteY671" fmla="*/ 358188 h 2809236"/>
                <a:gd name="connsiteX672" fmla="*/ 708205 w 4708662"/>
                <a:gd name="connsiteY672" fmla="*/ 351349 h 2809236"/>
                <a:gd name="connsiteX673" fmla="*/ 1912808 w 4708662"/>
                <a:gd name="connsiteY673" fmla="*/ 325424 h 2809236"/>
                <a:gd name="connsiteX674" fmla="*/ 1937242 w 4708662"/>
                <a:gd name="connsiteY674" fmla="*/ 330299 h 2809236"/>
                <a:gd name="connsiteX675" fmla="*/ 2096099 w 4708662"/>
                <a:gd name="connsiteY675" fmla="*/ 421954 h 2809236"/>
                <a:gd name="connsiteX676" fmla="*/ 2092830 w 4708662"/>
                <a:gd name="connsiteY676" fmla="*/ 450555 h 2809236"/>
                <a:gd name="connsiteX677" fmla="*/ 2040531 w 4708662"/>
                <a:gd name="connsiteY677" fmla="*/ 480457 h 2809236"/>
                <a:gd name="connsiteX678" fmla="*/ 1990848 w 4708662"/>
                <a:gd name="connsiteY678" fmla="*/ 482407 h 2809236"/>
                <a:gd name="connsiteX679" fmla="*/ 1831337 w 4708662"/>
                <a:gd name="connsiteY679" fmla="*/ 390752 h 2809236"/>
                <a:gd name="connsiteX680" fmla="*/ 1835259 w 4708662"/>
                <a:gd name="connsiteY680" fmla="*/ 362151 h 2809236"/>
                <a:gd name="connsiteX681" fmla="*/ 1886904 w 4708662"/>
                <a:gd name="connsiteY681" fmla="*/ 332249 h 2809236"/>
                <a:gd name="connsiteX682" fmla="*/ 1912808 w 4708662"/>
                <a:gd name="connsiteY682" fmla="*/ 325424 h 2809236"/>
                <a:gd name="connsiteX683" fmla="*/ 1449323 w 4708662"/>
                <a:gd name="connsiteY683" fmla="*/ 227493 h 2809236"/>
                <a:gd name="connsiteX684" fmla="*/ 1473224 w 4708662"/>
                <a:gd name="connsiteY684" fmla="*/ 232369 h 2809236"/>
                <a:gd name="connsiteX685" fmla="*/ 1633002 w 4708662"/>
                <a:gd name="connsiteY685" fmla="*/ 324037 h 2809236"/>
                <a:gd name="connsiteX686" fmla="*/ 1629073 w 4708662"/>
                <a:gd name="connsiteY686" fmla="*/ 352642 h 2809236"/>
                <a:gd name="connsiteX687" fmla="*/ 1471259 w 4708662"/>
                <a:gd name="connsiteY687" fmla="*/ 443009 h 2809236"/>
                <a:gd name="connsiteX688" fmla="*/ 1421492 w 4708662"/>
                <a:gd name="connsiteY688" fmla="*/ 444960 h 2809236"/>
                <a:gd name="connsiteX689" fmla="*/ 1261714 w 4708662"/>
                <a:gd name="connsiteY689" fmla="*/ 353292 h 2809236"/>
                <a:gd name="connsiteX690" fmla="*/ 1264988 w 4708662"/>
                <a:gd name="connsiteY690" fmla="*/ 324687 h 2809236"/>
                <a:gd name="connsiteX691" fmla="*/ 1423457 w 4708662"/>
                <a:gd name="connsiteY691" fmla="*/ 234320 h 2809236"/>
                <a:gd name="connsiteX692" fmla="*/ 1449323 w 4708662"/>
                <a:gd name="connsiteY692" fmla="*/ 227493 h 2809236"/>
                <a:gd name="connsiteX693" fmla="*/ 947556 w 4708662"/>
                <a:gd name="connsiteY693" fmla="*/ 213501 h 2809236"/>
                <a:gd name="connsiteX694" fmla="*/ 971948 w 4708662"/>
                <a:gd name="connsiteY694" fmla="*/ 218624 h 2809236"/>
                <a:gd name="connsiteX695" fmla="*/ 1249314 w 4708662"/>
                <a:gd name="connsiteY695" fmla="*/ 378020 h 2809236"/>
                <a:gd name="connsiteX696" fmla="*/ 1246051 w 4708662"/>
                <a:gd name="connsiteY696" fmla="*/ 406647 h 2809236"/>
                <a:gd name="connsiteX697" fmla="*/ 1088768 w 4708662"/>
                <a:gd name="connsiteY697" fmla="*/ 497730 h 2809236"/>
                <a:gd name="connsiteX698" fmla="*/ 1038515 w 4708662"/>
                <a:gd name="connsiteY698" fmla="*/ 499682 h 2809236"/>
                <a:gd name="connsiteX699" fmla="*/ 760497 w 4708662"/>
                <a:gd name="connsiteY699" fmla="*/ 339635 h 2809236"/>
                <a:gd name="connsiteX700" fmla="*/ 764412 w 4708662"/>
                <a:gd name="connsiteY700" fmla="*/ 311009 h 2809236"/>
                <a:gd name="connsiteX701" fmla="*/ 921695 w 4708662"/>
                <a:gd name="connsiteY701" fmla="*/ 220576 h 2809236"/>
                <a:gd name="connsiteX702" fmla="*/ 947556 w 4708662"/>
                <a:gd name="connsiteY702" fmla="*/ 213501 h 2809236"/>
                <a:gd name="connsiteX703" fmla="*/ 1668066 w 4708662"/>
                <a:gd name="connsiteY703" fmla="*/ 184731 h 2809236"/>
                <a:gd name="connsiteX704" fmla="*/ 1692417 w 4708662"/>
                <a:gd name="connsiteY704" fmla="*/ 189918 h 2809236"/>
                <a:gd name="connsiteX705" fmla="*/ 1851274 w 4708662"/>
                <a:gd name="connsiteY705" fmla="*/ 282133 h 2809236"/>
                <a:gd name="connsiteX706" fmla="*/ 1848005 w 4708662"/>
                <a:gd name="connsiteY706" fmla="*/ 311115 h 2809236"/>
                <a:gd name="connsiteX707" fmla="*/ 1796360 w 4708662"/>
                <a:gd name="connsiteY707" fmla="*/ 341414 h 2809236"/>
                <a:gd name="connsiteX708" fmla="*/ 1746023 w 4708662"/>
                <a:gd name="connsiteY708" fmla="*/ 344049 h 2809236"/>
                <a:gd name="connsiteX709" fmla="*/ 1586513 w 4708662"/>
                <a:gd name="connsiteY709" fmla="*/ 251175 h 2809236"/>
                <a:gd name="connsiteX710" fmla="*/ 1590435 w 4708662"/>
                <a:gd name="connsiteY710" fmla="*/ 222193 h 2809236"/>
                <a:gd name="connsiteX711" fmla="*/ 1642734 w 4708662"/>
                <a:gd name="connsiteY711" fmla="*/ 191894 h 2809236"/>
                <a:gd name="connsiteX712" fmla="*/ 1668066 w 4708662"/>
                <a:gd name="connsiteY712" fmla="*/ 184731 h 2809236"/>
                <a:gd name="connsiteX713" fmla="*/ 1203925 w 4708662"/>
                <a:gd name="connsiteY713" fmla="*/ 83583 h 2809236"/>
                <a:gd name="connsiteX714" fmla="*/ 1228399 w 4708662"/>
                <a:gd name="connsiteY714" fmla="*/ 88424 h 2809236"/>
                <a:gd name="connsiteX715" fmla="*/ 1387523 w 4708662"/>
                <a:gd name="connsiteY715" fmla="*/ 180988 h 2809236"/>
                <a:gd name="connsiteX716" fmla="*/ 1384248 w 4708662"/>
                <a:gd name="connsiteY716" fmla="*/ 210529 h 2809236"/>
                <a:gd name="connsiteX717" fmla="*/ 1225779 w 4708662"/>
                <a:gd name="connsiteY717" fmla="*/ 301780 h 2809236"/>
                <a:gd name="connsiteX718" fmla="*/ 1176012 w 4708662"/>
                <a:gd name="connsiteY718" fmla="*/ 303749 h 2809236"/>
                <a:gd name="connsiteX719" fmla="*/ 1016234 w 4708662"/>
                <a:gd name="connsiteY719" fmla="*/ 211186 h 2809236"/>
                <a:gd name="connsiteX720" fmla="*/ 1020163 w 4708662"/>
                <a:gd name="connsiteY720" fmla="*/ 182301 h 2809236"/>
                <a:gd name="connsiteX721" fmla="*/ 1177977 w 4708662"/>
                <a:gd name="connsiteY721" fmla="*/ 91050 h 2809236"/>
                <a:gd name="connsiteX722" fmla="*/ 1203925 w 4708662"/>
                <a:gd name="connsiteY722" fmla="*/ 83583 h 2809236"/>
                <a:gd name="connsiteX723" fmla="*/ 1348596 w 4708662"/>
                <a:gd name="connsiteY723" fmla="*/ 61 h 2809236"/>
                <a:gd name="connsiteX724" fmla="*/ 1372703 w 4708662"/>
                <a:gd name="connsiteY724" fmla="*/ 4919 h 2809236"/>
                <a:gd name="connsiteX725" fmla="*/ 1532213 w 4708662"/>
                <a:gd name="connsiteY725" fmla="*/ 97793 h 2809236"/>
                <a:gd name="connsiteX726" fmla="*/ 1528945 w 4708662"/>
                <a:gd name="connsiteY726" fmla="*/ 126775 h 2809236"/>
                <a:gd name="connsiteX727" fmla="*/ 1476646 w 4708662"/>
                <a:gd name="connsiteY727" fmla="*/ 157074 h 2809236"/>
                <a:gd name="connsiteX728" fmla="*/ 1426309 w 4708662"/>
                <a:gd name="connsiteY728" fmla="*/ 159709 h 2809236"/>
                <a:gd name="connsiteX729" fmla="*/ 1267452 w 4708662"/>
                <a:gd name="connsiteY729" fmla="*/ 66835 h 2809236"/>
                <a:gd name="connsiteX730" fmla="*/ 1270720 w 4708662"/>
                <a:gd name="connsiteY730" fmla="*/ 37853 h 2809236"/>
                <a:gd name="connsiteX731" fmla="*/ 1323019 w 4708662"/>
                <a:gd name="connsiteY731" fmla="*/ 7554 h 2809236"/>
                <a:gd name="connsiteX732" fmla="*/ 1348596 w 4708662"/>
                <a:gd name="connsiteY732" fmla="*/ 61 h 280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</a:cxnLst>
              <a:rect l="l" t="t" r="r" b="b"/>
              <a:pathLst>
                <a:path w="4708662" h="2809236">
                  <a:moveTo>
                    <a:pt x="3453928" y="2629347"/>
                  </a:moveTo>
                  <a:cubicBezTo>
                    <a:pt x="3461350" y="2629021"/>
                    <a:pt x="3468527" y="2630324"/>
                    <a:pt x="3473747" y="2633255"/>
                  </a:cubicBezTo>
                  <a:lnTo>
                    <a:pt x="3650567" y="2735521"/>
                  </a:lnTo>
                  <a:cubicBezTo>
                    <a:pt x="3661660" y="2741384"/>
                    <a:pt x="3659702" y="2752457"/>
                    <a:pt x="3647958" y="2758971"/>
                  </a:cubicBezTo>
                  <a:lnTo>
                    <a:pt x="3570965" y="2803916"/>
                  </a:lnTo>
                  <a:cubicBezTo>
                    <a:pt x="3559221" y="2810429"/>
                    <a:pt x="3540952" y="2811081"/>
                    <a:pt x="3530512" y="2805218"/>
                  </a:cubicBezTo>
                  <a:lnTo>
                    <a:pt x="3353039" y="2702952"/>
                  </a:lnTo>
                  <a:cubicBezTo>
                    <a:pt x="3342599" y="2697090"/>
                    <a:pt x="3343904" y="2686668"/>
                    <a:pt x="3356301" y="2679503"/>
                  </a:cubicBezTo>
                  <a:lnTo>
                    <a:pt x="3432641" y="2635209"/>
                  </a:lnTo>
                  <a:cubicBezTo>
                    <a:pt x="3438839" y="2631626"/>
                    <a:pt x="3446506" y="2629672"/>
                    <a:pt x="3453928" y="2629347"/>
                  </a:cubicBezTo>
                  <a:close/>
                  <a:moveTo>
                    <a:pt x="3206302" y="2485331"/>
                  </a:moveTo>
                  <a:cubicBezTo>
                    <a:pt x="3213643" y="2485005"/>
                    <a:pt x="3220820" y="2486308"/>
                    <a:pt x="3226040" y="2489239"/>
                  </a:cubicBezTo>
                  <a:lnTo>
                    <a:pt x="3403513" y="2591505"/>
                  </a:lnTo>
                  <a:cubicBezTo>
                    <a:pt x="3413953" y="2597368"/>
                    <a:pt x="3412648" y="2608441"/>
                    <a:pt x="3400903" y="2614955"/>
                  </a:cubicBezTo>
                  <a:lnTo>
                    <a:pt x="3323911" y="2659248"/>
                  </a:lnTo>
                  <a:cubicBezTo>
                    <a:pt x="3311514" y="2666413"/>
                    <a:pt x="3293245" y="2667065"/>
                    <a:pt x="3282805" y="2661202"/>
                  </a:cubicBezTo>
                  <a:lnTo>
                    <a:pt x="3105332" y="2558936"/>
                  </a:lnTo>
                  <a:cubicBezTo>
                    <a:pt x="3094892" y="2553074"/>
                    <a:pt x="3096849" y="2542652"/>
                    <a:pt x="3108594" y="2534836"/>
                  </a:cubicBezTo>
                  <a:lnTo>
                    <a:pt x="3185586" y="2491193"/>
                  </a:lnTo>
                  <a:cubicBezTo>
                    <a:pt x="3191459" y="2487611"/>
                    <a:pt x="3198962" y="2485657"/>
                    <a:pt x="3206302" y="2485331"/>
                  </a:cubicBezTo>
                  <a:close/>
                  <a:moveTo>
                    <a:pt x="3341169" y="2407562"/>
                  </a:moveTo>
                  <a:cubicBezTo>
                    <a:pt x="3348606" y="2407236"/>
                    <a:pt x="3355798" y="2408539"/>
                    <a:pt x="3361028" y="2411470"/>
                  </a:cubicBezTo>
                  <a:lnTo>
                    <a:pt x="3538865" y="2513736"/>
                  </a:lnTo>
                  <a:cubicBezTo>
                    <a:pt x="3549326" y="2519599"/>
                    <a:pt x="3548019" y="2530021"/>
                    <a:pt x="3535596" y="2537186"/>
                  </a:cubicBezTo>
                  <a:lnTo>
                    <a:pt x="3458446" y="2581479"/>
                  </a:lnTo>
                  <a:cubicBezTo>
                    <a:pt x="3446678" y="2587993"/>
                    <a:pt x="3428371" y="2589296"/>
                    <a:pt x="3417910" y="2583433"/>
                  </a:cubicBezTo>
                  <a:lnTo>
                    <a:pt x="3240073" y="2481167"/>
                  </a:lnTo>
                  <a:cubicBezTo>
                    <a:pt x="3230266" y="2475305"/>
                    <a:pt x="3230920" y="2464232"/>
                    <a:pt x="3243342" y="2457718"/>
                  </a:cubicBezTo>
                  <a:lnTo>
                    <a:pt x="3319838" y="2413424"/>
                  </a:lnTo>
                  <a:cubicBezTo>
                    <a:pt x="3326050" y="2409841"/>
                    <a:pt x="3333732" y="2407887"/>
                    <a:pt x="3341169" y="2407562"/>
                  </a:cubicBezTo>
                  <a:close/>
                  <a:moveTo>
                    <a:pt x="2961051" y="2344195"/>
                  </a:moveTo>
                  <a:cubicBezTo>
                    <a:pt x="2968406" y="2343869"/>
                    <a:pt x="2975598" y="2345172"/>
                    <a:pt x="2980828" y="2348103"/>
                  </a:cubicBezTo>
                  <a:lnTo>
                    <a:pt x="3158011" y="2449718"/>
                  </a:lnTo>
                  <a:cubicBezTo>
                    <a:pt x="3169126" y="2456232"/>
                    <a:pt x="3167165" y="2466654"/>
                    <a:pt x="3155396" y="2473819"/>
                  </a:cubicBezTo>
                  <a:lnTo>
                    <a:pt x="3078246" y="2518112"/>
                  </a:lnTo>
                  <a:cubicBezTo>
                    <a:pt x="3066478" y="2525277"/>
                    <a:pt x="3048171" y="2525929"/>
                    <a:pt x="3037710" y="2519415"/>
                  </a:cubicBezTo>
                  <a:lnTo>
                    <a:pt x="2861181" y="2417800"/>
                  </a:lnTo>
                  <a:cubicBezTo>
                    <a:pt x="2850066" y="2411287"/>
                    <a:pt x="2851374" y="2400865"/>
                    <a:pt x="2863796" y="2393700"/>
                  </a:cubicBezTo>
                  <a:lnTo>
                    <a:pt x="2940292" y="2350057"/>
                  </a:lnTo>
                  <a:cubicBezTo>
                    <a:pt x="2946177" y="2346475"/>
                    <a:pt x="2953695" y="2344521"/>
                    <a:pt x="2961051" y="2344195"/>
                  </a:cubicBezTo>
                  <a:close/>
                  <a:moveTo>
                    <a:pt x="3487301" y="2232201"/>
                  </a:moveTo>
                  <a:cubicBezTo>
                    <a:pt x="3496277" y="2231874"/>
                    <a:pt x="3504927" y="2233510"/>
                    <a:pt x="3511128" y="2237109"/>
                  </a:cubicBezTo>
                  <a:lnTo>
                    <a:pt x="3980490" y="2508687"/>
                  </a:lnTo>
                  <a:cubicBezTo>
                    <a:pt x="3992893" y="2515886"/>
                    <a:pt x="3991588" y="2528974"/>
                    <a:pt x="3976573" y="2537481"/>
                  </a:cubicBezTo>
                  <a:lnTo>
                    <a:pt x="3819249" y="2628444"/>
                  </a:lnTo>
                  <a:cubicBezTo>
                    <a:pt x="3804234" y="2636951"/>
                    <a:pt x="3781387" y="2638260"/>
                    <a:pt x="3768983" y="2630407"/>
                  </a:cubicBezTo>
                  <a:lnTo>
                    <a:pt x="3300274" y="2359483"/>
                  </a:lnTo>
                  <a:cubicBezTo>
                    <a:pt x="3287871" y="2352285"/>
                    <a:pt x="3289829" y="2339197"/>
                    <a:pt x="3304191" y="2330689"/>
                  </a:cubicBezTo>
                  <a:lnTo>
                    <a:pt x="3461515" y="2239073"/>
                  </a:lnTo>
                  <a:cubicBezTo>
                    <a:pt x="3469023" y="2234819"/>
                    <a:pt x="3478325" y="2232529"/>
                    <a:pt x="3487301" y="2232201"/>
                  </a:cubicBezTo>
                  <a:close/>
                  <a:moveTo>
                    <a:pt x="3850372" y="2166346"/>
                  </a:moveTo>
                  <a:cubicBezTo>
                    <a:pt x="3859355" y="2165939"/>
                    <a:pt x="3868011" y="2167566"/>
                    <a:pt x="3874218" y="2171469"/>
                  </a:cubicBezTo>
                  <a:lnTo>
                    <a:pt x="4221773" y="2370544"/>
                  </a:lnTo>
                  <a:cubicBezTo>
                    <a:pt x="4234839" y="2378351"/>
                    <a:pt x="4232879" y="2391362"/>
                    <a:pt x="4217853" y="2399819"/>
                  </a:cubicBezTo>
                  <a:lnTo>
                    <a:pt x="4060408" y="2490249"/>
                  </a:lnTo>
                  <a:cubicBezTo>
                    <a:pt x="4046035" y="2498706"/>
                    <a:pt x="4023823" y="2500007"/>
                    <a:pt x="4010757" y="2492201"/>
                  </a:cubicBezTo>
                  <a:lnTo>
                    <a:pt x="3663203" y="2292475"/>
                  </a:lnTo>
                  <a:cubicBezTo>
                    <a:pt x="3650790" y="2285319"/>
                    <a:pt x="3652097" y="2272958"/>
                    <a:pt x="3667122" y="2263850"/>
                  </a:cubicBezTo>
                  <a:lnTo>
                    <a:pt x="3824567" y="2173421"/>
                  </a:lnTo>
                  <a:cubicBezTo>
                    <a:pt x="3832080" y="2169192"/>
                    <a:pt x="3841389" y="2166752"/>
                    <a:pt x="3850372" y="2166346"/>
                  </a:cubicBezTo>
                  <a:close/>
                  <a:moveTo>
                    <a:pt x="2846658" y="2140034"/>
                  </a:moveTo>
                  <a:cubicBezTo>
                    <a:pt x="2855730" y="2139707"/>
                    <a:pt x="2864557" y="2141345"/>
                    <a:pt x="2871095" y="2144949"/>
                  </a:cubicBezTo>
                  <a:lnTo>
                    <a:pt x="3029317" y="2237348"/>
                  </a:lnTo>
                  <a:cubicBezTo>
                    <a:pt x="3042393" y="2244556"/>
                    <a:pt x="3040432" y="2257662"/>
                    <a:pt x="3026048" y="2266181"/>
                  </a:cubicBezTo>
                  <a:lnTo>
                    <a:pt x="2838404" y="2374962"/>
                  </a:lnTo>
                  <a:cubicBezTo>
                    <a:pt x="2824020" y="2383481"/>
                    <a:pt x="2801137" y="2384792"/>
                    <a:pt x="2788714" y="2377583"/>
                  </a:cubicBezTo>
                  <a:lnTo>
                    <a:pt x="2629184" y="2285185"/>
                  </a:lnTo>
                  <a:cubicBezTo>
                    <a:pt x="2616762" y="2277321"/>
                    <a:pt x="2618070" y="2264215"/>
                    <a:pt x="2632453" y="2256352"/>
                  </a:cubicBezTo>
                  <a:lnTo>
                    <a:pt x="2820751" y="2146915"/>
                  </a:lnTo>
                  <a:cubicBezTo>
                    <a:pt x="2828270" y="2142656"/>
                    <a:pt x="2837587" y="2140362"/>
                    <a:pt x="2846658" y="2140034"/>
                  </a:cubicBezTo>
                  <a:close/>
                  <a:moveTo>
                    <a:pt x="4280170" y="2137567"/>
                  </a:moveTo>
                  <a:cubicBezTo>
                    <a:pt x="4289174" y="2137157"/>
                    <a:pt x="4298014" y="2138798"/>
                    <a:pt x="4304563" y="2142737"/>
                  </a:cubicBezTo>
                  <a:lnTo>
                    <a:pt x="4464341" y="2234644"/>
                  </a:lnTo>
                  <a:cubicBezTo>
                    <a:pt x="4476783" y="2241865"/>
                    <a:pt x="4475473" y="2254995"/>
                    <a:pt x="4460412" y="2263529"/>
                  </a:cubicBezTo>
                  <a:lnTo>
                    <a:pt x="4302598" y="2355436"/>
                  </a:lnTo>
                  <a:cubicBezTo>
                    <a:pt x="4287537" y="2363970"/>
                    <a:pt x="4265273" y="2364627"/>
                    <a:pt x="4252176" y="2357405"/>
                  </a:cubicBezTo>
                  <a:lnTo>
                    <a:pt x="4092398" y="2264842"/>
                  </a:lnTo>
                  <a:cubicBezTo>
                    <a:pt x="4079956" y="2257621"/>
                    <a:pt x="4081266" y="2244491"/>
                    <a:pt x="4096327" y="2235957"/>
                  </a:cubicBezTo>
                  <a:lnTo>
                    <a:pt x="4254796" y="2144706"/>
                  </a:lnTo>
                  <a:cubicBezTo>
                    <a:pt x="4261999" y="2140439"/>
                    <a:pt x="4271167" y="2137977"/>
                    <a:pt x="4280170" y="2137567"/>
                  </a:cubicBezTo>
                  <a:close/>
                  <a:moveTo>
                    <a:pt x="3240299" y="2091154"/>
                  </a:moveTo>
                  <a:cubicBezTo>
                    <a:pt x="3249384" y="2090743"/>
                    <a:pt x="3258224" y="2092385"/>
                    <a:pt x="3264773" y="2095995"/>
                  </a:cubicBezTo>
                  <a:lnTo>
                    <a:pt x="3423897" y="2188559"/>
                  </a:lnTo>
                  <a:cubicBezTo>
                    <a:pt x="3436993" y="2196436"/>
                    <a:pt x="3435683" y="2209566"/>
                    <a:pt x="3420622" y="2218100"/>
                  </a:cubicBezTo>
                  <a:lnTo>
                    <a:pt x="3262808" y="2309351"/>
                  </a:lnTo>
                  <a:cubicBezTo>
                    <a:pt x="3247747" y="2317885"/>
                    <a:pt x="3225483" y="2318542"/>
                    <a:pt x="3212386" y="2311320"/>
                  </a:cubicBezTo>
                  <a:lnTo>
                    <a:pt x="3053263" y="2218757"/>
                  </a:lnTo>
                  <a:cubicBezTo>
                    <a:pt x="3040166" y="2211536"/>
                    <a:pt x="3041476" y="2198406"/>
                    <a:pt x="3056537" y="2189872"/>
                  </a:cubicBezTo>
                  <a:lnTo>
                    <a:pt x="3214351" y="2098621"/>
                  </a:lnTo>
                  <a:cubicBezTo>
                    <a:pt x="3221882" y="2094026"/>
                    <a:pt x="3231213" y="2091564"/>
                    <a:pt x="3240299" y="2091154"/>
                  </a:cubicBezTo>
                  <a:close/>
                  <a:moveTo>
                    <a:pt x="3603217" y="2022347"/>
                  </a:moveTo>
                  <a:cubicBezTo>
                    <a:pt x="3612302" y="2021938"/>
                    <a:pt x="3621143" y="2023575"/>
                    <a:pt x="3627691" y="2027502"/>
                  </a:cubicBezTo>
                  <a:lnTo>
                    <a:pt x="3786815" y="2119803"/>
                  </a:lnTo>
                  <a:cubicBezTo>
                    <a:pt x="3799911" y="2127004"/>
                    <a:pt x="3797947" y="2139441"/>
                    <a:pt x="3782886" y="2148606"/>
                  </a:cubicBezTo>
                  <a:lnTo>
                    <a:pt x="3625071" y="2239597"/>
                  </a:lnTo>
                  <a:cubicBezTo>
                    <a:pt x="3610665" y="2248107"/>
                    <a:pt x="3587746" y="2249416"/>
                    <a:pt x="3575304" y="2241561"/>
                  </a:cubicBezTo>
                  <a:lnTo>
                    <a:pt x="3415526" y="2149915"/>
                  </a:lnTo>
                  <a:cubicBezTo>
                    <a:pt x="3403084" y="2142060"/>
                    <a:pt x="3404394" y="2128967"/>
                    <a:pt x="3418800" y="2120457"/>
                  </a:cubicBezTo>
                  <a:lnTo>
                    <a:pt x="3577269" y="2029466"/>
                  </a:lnTo>
                  <a:cubicBezTo>
                    <a:pt x="3584799" y="2025211"/>
                    <a:pt x="3594131" y="2022756"/>
                    <a:pt x="3603217" y="2022347"/>
                  </a:cubicBezTo>
                  <a:close/>
                  <a:moveTo>
                    <a:pt x="4032382" y="1996023"/>
                  </a:moveTo>
                  <a:cubicBezTo>
                    <a:pt x="4041468" y="1995694"/>
                    <a:pt x="4050309" y="1997336"/>
                    <a:pt x="4056857" y="2000946"/>
                  </a:cubicBezTo>
                  <a:lnTo>
                    <a:pt x="4215981" y="2093510"/>
                  </a:lnTo>
                  <a:cubicBezTo>
                    <a:pt x="4229077" y="2100731"/>
                    <a:pt x="4227113" y="2113861"/>
                    <a:pt x="4212052" y="2122395"/>
                  </a:cubicBezTo>
                  <a:lnTo>
                    <a:pt x="4054237" y="2214302"/>
                  </a:lnTo>
                  <a:cubicBezTo>
                    <a:pt x="4039831" y="2222180"/>
                    <a:pt x="4017567" y="2223493"/>
                    <a:pt x="4004470" y="2216271"/>
                  </a:cubicBezTo>
                  <a:lnTo>
                    <a:pt x="3844692" y="2123708"/>
                  </a:lnTo>
                  <a:cubicBezTo>
                    <a:pt x="3832250" y="2115830"/>
                    <a:pt x="3833560" y="2103357"/>
                    <a:pt x="3848621" y="2094166"/>
                  </a:cubicBezTo>
                  <a:lnTo>
                    <a:pt x="4006435" y="2002916"/>
                  </a:lnTo>
                  <a:cubicBezTo>
                    <a:pt x="4013965" y="1998649"/>
                    <a:pt x="4023297" y="1996351"/>
                    <a:pt x="4032382" y="1996023"/>
                  </a:cubicBezTo>
                  <a:close/>
                  <a:moveTo>
                    <a:pt x="2512321" y="1947459"/>
                  </a:moveTo>
                  <a:cubicBezTo>
                    <a:pt x="2521456" y="1947050"/>
                    <a:pt x="2530265" y="1948687"/>
                    <a:pt x="2536463" y="1952614"/>
                  </a:cubicBezTo>
                  <a:lnTo>
                    <a:pt x="2790931" y="2099903"/>
                  </a:lnTo>
                  <a:cubicBezTo>
                    <a:pt x="2803329" y="2107104"/>
                    <a:pt x="2802024" y="2120196"/>
                    <a:pt x="2787016" y="2128706"/>
                  </a:cubicBezTo>
                  <a:lnTo>
                    <a:pt x="2599754" y="2237373"/>
                  </a:lnTo>
                  <a:cubicBezTo>
                    <a:pt x="2584747" y="2245883"/>
                    <a:pt x="2562562" y="2246537"/>
                    <a:pt x="2550165" y="2239337"/>
                  </a:cubicBezTo>
                  <a:lnTo>
                    <a:pt x="2295044" y="2092048"/>
                  </a:lnTo>
                  <a:cubicBezTo>
                    <a:pt x="2282647" y="2084847"/>
                    <a:pt x="2284604" y="2071755"/>
                    <a:pt x="2298959" y="2063245"/>
                  </a:cubicBezTo>
                  <a:lnTo>
                    <a:pt x="2486222" y="1954578"/>
                  </a:lnTo>
                  <a:cubicBezTo>
                    <a:pt x="2493726" y="1950323"/>
                    <a:pt x="2503187" y="1947868"/>
                    <a:pt x="2512321" y="1947459"/>
                  </a:cubicBezTo>
                  <a:close/>
                  <a:moveTo>
                    <a:pt x="2993618" y="1947057"/>
                  </a:moveTo>
                  <a:cubicBezTo>
                    <a:pt x="3002571" y="1946728"/>
                    <a:pt x="3011199" y="1948370"/>
                    <a:pt x="3017385" y="1951980"/>
                  </a:cubicBezTo>
                  <a:lnTo>
                    <a:pt x="3176268" y="2044544"/>
                  </a:lnTo>
                  <a:cubicBezTo>
                    <a:pt x="3189291" y="2051765"/>
                    <a:pt x="3187989" y="2064895"/>
                    <a:pt x="3172361" y="2073429"/>
                  </a:cubicBezTo>
                  <a:lnTo>
                    <a:pt x="3015432" y="2164679"/>
                  </a:lnTo>
                  <a:cubicBezTo>
                    <a:pt x="3000455" y="2173214"/>
                    <a:pt x="2978316" y="2174527"/>
                    <a:pt x="2965944" y="2167305"/>
                  </a:cubicBezTo>
                  <a:lnTo>
                    <a:pt x="2807713" y="2074742"/>
                  </a:lnTo>
                  <a:cubicBezTo>
                    <a:pt x="2795341" y="2067521"/>
                    <a:pt x="2796643" y="2054391"/>
                    <a:pt x="2810969" y="2045857"/>
                  </a:cubicBezTo>
                  <a:lnTo>
                    <a:pt x="2967898" y="1953950"/>
                  </a:lnTo>
                  <a:cubicBezTo>
                    <a:pt x="2975386" y="1949683"/>
                    <a:pt x="2984665" y="1947385"/>
                    <a:pt x="2993618" y="1947057"/>
                  </a:cubicBezTo>
                  <a:close/>
                  <a:moveTo>
                    <a:pt x="4383446" y="1921460"/>
                  </a:moveTo>
                  <a:cubicBezTo>
                    <a:pt x="4392410" y="1921132"/>
                    <a:pt x="4401047" y="1922772"/>
                    <a:pt x="4407240" y="1926706"/>
                  </a:cubicBezTo>
                  <a:lnTo>
                    <a:pt x="4699933" y="2096539"/>
                  </a:lnTo>
                  <a:cubicBezTo>
                    <a:pt x="4712970" y="2103752"/>
                    <a:pt x="4711015" y="2116866"/>
                    <a:pt x="4696673" y="2125391"/>
                  </a:cubicBezTo>
                  <a:lnTo>
                    <a:pt x="4538919" y="2216536"/>
                  </a:lnTo>
                  <a:cubicBezTo>
                    <a:pt x="4523926" y="2225061"/>
                    <a:pt x="4501762" y="2226372"/>
                    <a:pt x="4489376" y="2218504"/>
                  </a:cubicBezTo>
                  <a:lnTo>
                    <a:pt x="4196684" y="2048671"/>
                  </a:lnTo>
                  <a:cubicBezTo>
                    <a:pt x="4183646" y="2041458"/>
                    <a:pt x="4185602" y="2028343"/>
                    <a:pt x="4199943" y="2019819"/>
                  </a:cubicBezTo>
                  <a:lnTo>
                    <a:pt x="4357697" y="1928017"/>
                  </a:lnTo>
                  <a:cubicBezTo>
                    <a:pt x="4365194" y="1924083"/>
                    <a:pt x="4374483" y="1921788"/>
                    <a:pt x="4383446" y="1921460"/>
                  </a:cubicBezTo>
                  <a:close/>
                  <a:moveTo>
                    <a:pt x="3358473" y="1880811"/>
                  </a:moveTo>
                  <a:cubicBezTo>
                    <a:pt x="3367477" y="1880482"/>
                    <a:pt x="3376318" y="1882124"/>
                    <a:pt x="3382866" y="1885734"/>
                  </a:cubicBezTo>
                  <a:lnTo>
                    <a:pt x="3542644" y="1978298"/>
                  </a:lnTo>
                  <a:cubicBezTo>
                    <a:pt x="3555086" y="1986175"/>
                    <a:pt x="3553777" y="1998649"/>
                    <a:pt x="3538715" y="2007183"/>
                  </a:cubicBezTo>
                  <a:lnTo>
                    <a:pt x="3380901" y="2099090"/>
                  </a:lnTo>
                  <a:cubicBezTo>
                    <a:pt x="3365840" y="2106968"/>
                    <a:pt x="3343576" y="2108281"/>
                    <a:pt x="3330479" y="2100403"/>
                  </a:cubicBezTo>
                  <a:lnTo>
                    <a:pt x="3171356" y="2008496"/>
                  </a:lnTo>
                  <a:cubicBezTo>
                    <a:pt x="3158259" y="2001275"/>
                    <a:pt x="3160223" y="1988145"/>
                    <a:pt x="3174630" y="1979611"/>
                  </a:cubicBezTo>
                  <a:lnTo>
                    <a:pt x="3333099" y="1887704"/>
                  </a:lnTo>
                  <a:cubicBezTo>
                    <a:pt x="3340302" y="1883437"/>
                    <a:pt x="3349470" y="1881139"/>
                    <a:pt x="3358473" y="1880811"/>
                  </a:cubicBezTo>
                  <a:close/>
                  <a:moveTo>
                    <a:pt x="3787883" y="1852418"/>
                  </a:moveTo>
                  <a:cubicBezTo>
                    <a:pt x="3796969" y="1852008"/>
                    <a:pt x="3805809" y="1853649"/>
                    <a:pt x="3812030" y="1857588"/>
                  </a:cubicBezTo>
                  <a:lnTo>
                    <a:pt x="3971808" y="1949495"/>
                  </a:lnTo>
                  <a:cubicBezTo>
                    <a:pt x="3984250" y="1957372"/>
                    <a:pt x="3982941" y="1970502"/>
                    <a:pt x="3968534" y="1979036"/>
                  </a:cubicBezTo>
                  <a:lnTo>
                    <a:pt x="3810065" y="2070287"/>
                  </a:lnTo>
                  <a:cubicBezTo>
                    <a:pt x="3795004" y="2078821"/>
                    <a:pt x="3772740" y="2079478"/>
                    <a:pt x="3759643" y="2072256"/>
                  </a:cubicBezTo>
                  <a:lnTo>
                    <a:pt x="3600520" y="1979693"/>
                  </a:lnTo>
                  <a:cubicBezTo>
                    <a:pt x="3587423" y="1972472"/>
                    <a:pt x="3589387" y="1959998"/>
                    <a:pt x="3603794" y="1950808"/>
                  </a:cubicBezTo>
                  <a:lnTo>
                    <a:pt x="3762263" y="1859557"/>
                  </a:lnTo>
                  <a:cubicBezTo>
                    <a:pt x="3769466" y="1855290"/>
                    <a:pt x="3778797" y="1852828"/>
                    <a:pt x="3787883" y="1852418"/>
                  </a:cubicBezTo>
                  <a:close/>
                  <a:moveTo>
                    <a:pt x="4490681" y="1814541"/>
                  </a:moveTo>
                  <a:cubicBezTo>
                    <a:pt x="4499752" y="1814216"/>
                    <a:pt x="4508577" y="1815841"/>
                    <a:pt x="4515114" y="1819416"/>
                  </a:cubicBezTo>
                  <a:lnTo>
                    <a:pt x="4673971" y="1911071"/>
                  </a:lnTo>
                  <a:cubicBezTo>
                    <a:pt x="4687045" y="1918221"/>
                    <a:pt x="4685084" y="1931222"/>
                    <a:pt x="4670702" y="1939672"/>
                  </a:cubicBezTo>
                  <a:lnTo>
                    <a:pt x="4618404" y="1968923"/>
                  </a:lnTo>
                  <a:cubicBezTo>
                    <a:pt x="4604022" y="1978024"/>
                    <a:pt x="4581141" y="1978674"/>
                    <a:pt x="4568720" y="1971524"/>
                  </a:cubicBezTo>
                  <a:lnTo>
                    <a:pt x="4409210" y="1879869"/>
                  </a:lnTo>
                  <a:cubicBezTo>
                    <a:pt x="4396789" y="1872719"/>
                    <a:pt x="4398096" y="1859718"/>
                    <a:pt x="4412479" y="1851268"/>
                  </a:cubicBezTo>
                  <a:lnTo>
                    <a:pt x="4464777" y="1821366"/>
                  </a:lnTo>
                  <a:cubicBezTo>
                    <a:pt x="4472295" y="1817141"/>
                    <a:pt x="4481611" y="1814866"/>
                    <a:pt x="4490681" y="1814541"/>
                  </a:cubicBezTo>
                  <a:close/>
                  <a:moveTo>
                    <a:pt x="2749606" y="1805923"/>
                  </a:moveTo>
                  <a:cubicBezTo>
                    <a:pt x="2758559" y="1805594"/>
                    <a:pt x="2767350" y="1807236"/>
                    <a:pt x="2773861" y="1810846"/>
                  </a:cubicBezTo>
                  <a:lnTo>
                    <a:pt x="2932093" y="1903410"/>
                  </a:lnTo>
                  <a:cubicBezTo>
                    <a:pt x="2944465" y="1910631"/>
                    <a:pt x="2943163" y="1923761"/>
                    <a:pt x="2928186" y="1932295"/>
                  </a:cubicBezTo>
                  <a:lnTo>
                    <a:pt x="2771908" y="2023545"/>
                  </a:lnTo>
                  <a:cubicBezTo>
                    <a:pt x="2756931" y="2032080"/>
                    <a:pt x="2734792" y="2033393"/>
                    <a:pt x="2722420" y="2026171"/>
                  </a:cubicBezTo>
                  <a:lnTo>
                    <a:pt x="2563537" y="1933608"/>
                  </a:lnTo>
                  <a:cubicBezTo>
                    <a:pt x="2550514" y="1925730"/>
                    <a:pt x="2552467" y="1913257"/>
                    <a:pt x="2566793" y="1904723"/>
                  </a:cubicBezTo>
                  <a:lnTo>
                    <a:pt x="2724373" y="1812816"/>
                  </a:lnTo>
                  <a:cubicBezTo>
                    <a:pt x="2731536" y="1808549"/>
                    <a:pt x="2740652" y="1806251"/>
                    <a:pt x="2749606" y="1805923"/>
                  </a:cubicBezTo>
                  <a:close/>
                  <a:moveTo>
                    <a:pt x="4150474" y="1786162"/>
                  </a:moveTo>
                  <a:cubicBezTo>
                    <a:pt x="4159559" y="1785753"/>
                    <a:pt x="4168399" y="1787390"/>
                    <a:pt x="4174948" y="1791317"/>
                  </a:cubicBezTo>
                  <a:lnTo>
                    <a:pt x="4334072" y="1883618"/>
                  </a:lnTo>
                  <a:cubicBezTo>
                    <a:pt x="4347168" y="1890819"/>
                    <a:pt x="4345204" y="1903911"/>
                    <a:pt x="4330797" y="1912421"/>
                  </a:cubicBezTo>
                  <a:lnTo>
                    <a:pt x="4172983" y="2003412"/>
                  </a:lnTo>
                  <a:cubicBezTo>
                    <a:pt x="4157922" y="2012577"/>
                    <a:pt x="4135658" y="2013231"/>
                    <a:pt x="4122561" y="2006031"/>
                  </a:cubicBezTo>
                  <a:lnTo>
                    <a:pt x="3963438" y="1913730"/>
                  </a:lnTo>
                  <a:cubicBezTo>
                    <a:pt x="3950341" y="1905875"/>
                    <a:pt x="3952305" y="1892782"/>
                    <a:pt x="3966712" y="1884273"/>
                  </a:cubicBezTo>
                  <a:lnTo>
                    <a:pt x="4124526" y="1793281"/>
                  </a:lnTo>
                  <a:cubicBezTo>
                    <a:pt x="4132057" y="1789026"/>
                    <a:pt x="4141388" y="1786571"/>
                    <a:pt x="4150474" y="1786162"/>
                  </a:cubicBezTo>
                  <a:close/>
                  <a:moveTo>
                    <a:pt x="3110685" y="1739675"/>
                  </a:moveTo>
                  <a:cubicBezTo>
                    <a:pt x="3119771" y="1739346"/>
                    <a:pt x="3128612" y="1740988"/>
                    <a:pt x="3135160" y="1744598"/>
                  </a:cubicBezTo>
                  <a:lnTo>
                    <a:pt x="3294284" y="1837162"/>
                  </a:lnTo>
                  <a:cubicBezTo>
                    <a:pt x="3307380" y="1844383"/>
                    <a:pt x="3305416" y="1856856"/>
                    <a:pt x="3291009" y="1866047"/>
                  </a:cubicBezTo>
                  <a:lnTo>
                    <a:pt x="3132540" y="1957297"/>
                  </a:lnTo>
                  <a:cubicBezTo>
                    <a:pt x="3118134" y="1965832"/>
                    <a:pt x="3095870" y="1967145"/>
                    <a:pt x="3082773" y="1959267"/>
                  </a:cubicBezTo>
                  <a:lnTo>
                    <a:pt x="2922995" y="1867360"/>
                  </a:lnTo>
                  <a:cubicBezTo>
                    <a:pt x="2910553" y="1860139"/>
                    <a:pt x="2911863" y="1847009"/>
                    <a:pt x="2926924" y="1838475"/>
                  </a:cubicBezTo>
                  <a:lnTo>
                    <a:pt x="3084738" y="1746568"/>
                  </a:lnTo>
                  <a:cubicBezTo>
                    <a:pt x="3092268" y="1742301"/>
                    <a:pt x="3101600" y="1740003"/>
                    <a:pt x="3110685" y="1739675"/>
                  </a:cubicBezTo>
                  <a:close/>
                  <a:moveTo>
                    <a:pt x="3542732" y="1711282"/>
                  </a:moveTo>
                  <a:cubicBezTo>
                    <a:pt x="3551817" y="1710872"/>
                    <a:pt x="3560658" y="1712513"/>
                    <a:pt x="3567206" y="1716452"/>
                  </a:cubicBezTo>
                  <a:lnTo>
                    <a:pt x="3726330" y="1808359"/>
                  </a:lnTo>
                  <a:cubicBezTo>
                    <a:pt x="3739426" y="1815580"/>
                    <a:pt x="3737462" y="1828710"/>
                    <a:pt x="3723055" y="1837244"/>
                  </a:cubicBezTo>
                  <a:lnTo>
                    <a:pt x="3565241" y="1929151"/>
                  </a:lnTo>
                  <a:cubicBezTo>
                    <a:pt x="3550180" y="1937685"/>
                    <a:pt x="3527916" y="1938342"/>
                    <a:pt x="3514819" y="1931120"/>
                  </a:cubicBezTo>
                  <a:lnTo>
                    <a:pt x="3355696" y="1838557"/>
                  </a:lnTo>
                  <a:cubicBezTo>
                    <a:pt x="3342599" y="1831336"/>
                    <a:pt x="3343909" y="1818206"/>
                    <a:pt x="3358970" y="1809672"/>
                  </a:cubicBezTo>
                  <a:lnTo>
                    <a:pt x="3516784" y="1718421"/>
                  </a:lnTo>
                  <a:cubicBezTo>
                    <a:pt x="3524315" y="1714154"/>
                    <a:pt x="3533646" y="1711692"/>
                    <a:pt x="3542732" y="1711282"/>
                  </a:cubicBezTo>
                  <a:close/>
                  <a:moveTo>
                    <a:pt x="4245854" y="1673848"/>
                  </a:moveTo>
                  <a:cubicBezTo>
                    <a:pt x="4254925" y="1673436"/>
                    <a:pt x="4263750" y="1675083"/>
                    <a:pt x="4270288" y="1679035"/>
                  </a:cubicBezTo>
                  <a:lnTo>
                    <a:pt x="4429145" y="1771249"/>
                  </a:lnTo>
                  <a:cubicBezTo>
                    <a:pt x="4442219" y="1778494"/>
                    <a:pt x="4440258" y="1791668"/>
                    <a:pt x="4425876" y="1800230"/>
                  </a:cubicBezTo>
                  <a:lnTo>
                    <a:pt x="4373577" y="1830529"/>
                  </a:lnTo>
                  <a:cubicBezTo>
                    <a:pt x="4359195" y="1839092"/>
                    <a:pt x="4336315" y="1840409"/>
                    <a:pt x="4323894" y="1832505"/>
                  </a:cubicBezTo>
                  <a:lnTo>
                    <a:pt x="4164383" y="1740291"/>
                  </a:lnTo>
                  <a:cubicBezTo>
                    <a:pt x="4151962" y="1732387"/>
                    <a:pt x="4153269" y="1719873"/>
                    <a:pt x="4167652" y="1710651"/>
                  </a:cubicBezTo>
                  <a:lnTo>
                    <a:pt x="4219950" y="1681011"/>
                  </a:lnTo>
                  <a:cubicBezTo>
                    <a:pt x="4227468" y="1676730"/>
                    <a:pt x="4236784" y="1674260"/>
                    <a:pt x="4245854" y="1673848"/>
                  </a:cubicBezTo>
                  <a:close/>
                  <a:moveTo>
                    <a:pt x="2503023" y="1664786"/>
                  </a:moveTo>
                  <a:cubicBezTo>
                    <a:pt x="2512027" y="1664458"/>
                    <a:pt x="2520868" y="1666100"/>
                    <a:pt x="2527416" y="1669710"/>
                  </a:cubicBezTo>
                  <a:lnTo>
                    <a:pt x="2687194" y="1762274"/>
                  </a:lnTo>
                  <a:cubicBezTo>
                    <a:pt x="2699636" y="1770151"/>
                    <a:pt x="2698327" y="1783281"/>
                    <a:pt x="2683265" y="1791159"/>
                  </a:cubicBezTo>
                  <a:lnTo>
                    <a:pt x="2524796" y="1883066"/>
                  </a:lnTo>
                  <a:cubicBezTo>
                    <a:pt x="2510390" y="1891600"/>
                    <a:pt x="2487471" y="1892257"/>
                    <a:pt x="2475029" y="1885035"/>
                  </a:cubicBezTo>
                  <a:lnTo>
                    <a:pt x="2315251" y="1792472"/>
                  </a:lnTo>
                  <a:cubicBezTo>
                    <a:pt x="2302809" y="1785251"/>
                    <a:pt x="2304119" y="1772121"/>
                    <a:pt x="2319180" y="1763587"/>
                  </a:cubicBezTo>
                  <a:lnTo>
                    <a:pt x="2477649" y="1671680"/>
                  </a:lnTo>
                  <a:cubicBezTo>
                    <a:pt x="2484852" y="1667413"/>
                    <a:pt x="2494020" y="1665115"/>
                    <a:pt x="2503023" y="1664786"/>
                  </a:cubicBezTo>
                  <a:close/>
                  <a:moveTo>
                    <a:pt x="3905568" y="1644954"/>
                  </a:moveTo>
                  <a:cubicBezTo>
                    <a:pt x="3914571" y="1644461"/>
                    <a:pt x="3923248" y="1645938"/>
                    <a:pt x="3929469" y="1649549"/>
                  </a:cubicBezTo>
                  <a:lnTo>
                    <a:pt x="4089248" y="1742113"/>
                  </a:lnTo>
                  <a:cubicBezTo>
                    <a:pt x="4102344" y="1749334"/>
                    <a:pt x="4100380" y="1762464"/>
                    <a:pt x="4085973" y="1770998"/>
                  </a:cubicBezTo>
                  <a:lnTo>
                    <a:pt x="3927504" y="1862905"/>
                  </a:lnTo>
                  <a:cubicBezTo>
                    <a:pt x="3912443" y="1871439"/>
                    <a:pt x="3890179" y="1872096"/>
                    <a:pt x="3877737" y="1864874"/>
                  </a:cubicBezTo>
                  <a:lnTo>
                    <a:pt x="3717959" y="1772311"/>
                  </a:lnTo>
                  <a:cubicBezTo>
                    <a:pt x="3705517" y="1765090"/>
                    <a:pt x="3706827" y="1751960"/>
                    <a:pt x="3721233" y="1743426"/>
                  </a:cubicBezTo>
                  <a:lnTo>
                    <a:pt x="3879702" y="1652175"/>
                  </a:lnTo>
                  <a:cubicBezTo>
                    <a:pt x="3887232" y="1647908"/>
                    <a:pt x="3896564" y="1645446"/>
                    <a:pt x="3905568" y="1644954"/>
                  </a:cubicBezTo>
                  <a:close/>
                  <a:moveTo>
                    <a:pt x="2865062" y="1598541"/>
                  </a:moveTo>
                  <a:cubicBezTo>
                    <a:pt x="2874097" y="1598212"/>
                    <a:pt x="2882887" y="1599854"/>
                    <a:pt x="2889073" y="1603464"/>
                  </a:cubicBezTo>
                  <a:lnTo>
                    <a:pt x="3047305" y="1696028"/>
                  </a:lnTo>
                  <a:cubicBezTo>
                    <a:pt x="3059677" y="1703249"/>
                    <a:pt x="3058375" y="1715722"/>
                    <a:pt x="3044049" y="1724913"/>
                  </a:cubicBezTo>
                  <a:lnTo>
                    <a:pt x="2887120" y="1816163"/>
                  </a:lnTo>
                  <a:cubicBezTo>
                    <a:pt x="2872143" y="1824698"/>
                    <a:pt x="2850004" y="1826011"/>
                    <a:pt x="2836981" y="1818133"/>
                  </a:cubicBezTo>
                  <a:lnTo>
                    <a:pt x="2678749" y="1725569"/>
                  </a:lnTo>
                  <a:cubicBezTo>
                    <a:pt x="2665726" y="1718348"/>
                    <a:pt x="2667679" y="1705218"/>
                    <a:pt x="2682656" y="1696684"/>
                  </a:cubicBezTo>
                  <a:lnTo>
                    <a:pt x="2839585" y="1605434"/>
                  </a:lnTo>
                  <a:cubicBezTo>
                    <a:pt x="2846748" y="1601167"/>
                    <a:pt x="2856027" y="1598869"/>
                    <a:pt x="2865062" y="1598541"/>
                  </a:cubicBezTo>
                  <a:close/>
                  <a:moveTo>
                    <a:pt x="3295268" y="1570066"/>
                  </a:moveTo>
                  <a:cubicBezTo>
                    <a:pt x="3304257" y="1569738"/>
                    <a:pt x="3312920" y="1571379"/>
                    <a:pt x="3319130" y="1575318"/>
                  </a:cubicBezTo>
                  <a:lnTo>
                    <a:pt x="3478646" y="1667225"/>
                  </a:lnTo>
                  <a:cubicBezTo>
                    <a:pt x="3491721" y="1674446"/>
                    <a:pt x="3489760" y="1687576"/>
                    <a:pt x="3475377" y="1696110"/>
                  </a:cubicBezTo>
                  <a:lnTo>
                    <a:pt x="3317169" y="1788017"/>
                  </a:lnTo>
                  <a:cubicBezTo>
                    <a:pt x="3302787" y="1796551"/>
                    <a:pt x="3279905" y="1797208"/>
                    <a:pt x="3267484" y="1789986"/>
                  </a:cubicBezTo>
                  <a:lnTo>
                    <a:pt x="3107968" y="1697423"/>
                  </a:lnTo>
                  <a:cubicBezTo>
                    <a:pt x="3094893" y="1689545"/>
                    <a:pt x="3096854" y="1677072"/>
                    <a:pt x="3111891" y="1668538"/>
                  </a:cubicBezTo>
                  <a:lnTo>
                    <a:pt x="3269445" y="1576631"/>
                  </a:lnTo>
                  <a:cubicBezTo>
                    <a:pt x="3276963" y="1572692"/>
                    <a:pt x="3286279" y="1570394"/>
                    <a:pt x="3295268" y="1570066"/>
                  </a:cubicBezTo>
                  <a:close/>
                  <a:moveTo>
                    <a:pt x="4003909" y="1532301"/>
                  </a:moveTo>
                  <a:cubicBezTo>
                    <a:pt x="4012980" y="1531972"/>
                    <a:pt x="4021805" y="1533619"/>
                    <a:pt x="4028343" y="1537241"/>
                  </a:cubicBezTo>
                  <a:lnTo>
                    <a:pt x="4187200" y="1630115"/>
                  </a:lnTo>
                  <a:cubicBezTo>
                    <a:pt x="4200274" y="1637361"/>
                    <a:pt x="4198313" y="1649875"/>
                    <a:pt x="4183931" y="1659097"/>
                  </a:cubicBezTo>
                  <a:lnTo>
                    <a:pt x="4131632" y="1689396"/>
                  </a:lnTo>
                  <a:cubicBezTo>
                    <a:pt x="4117250" y="1697959"/>
                    <a:pt x="4094370" y="1699276"/>
                    <a:pt x="4081949" y="1691372"/>
                  </a:cubicBezTo>
                  <a:lnTo>
                    <a:pt x="3922438" y="1598499"/>
                  </a:lnTo>
                  <a:cubicBezTo>
                    <a:pt x="3910017" y="1591253"/>
                    <a:pt x="3911324" y="1578080"/>
                    <a:pt x="3926360" y="1569517"/>
                  </a:cubicBezTo>
                  <a:lnTo>
                    <a:pt x="3978005" y="1539217"/>
                  </a:lnTo>
                  <a:cubicBezTo>
                    <a:pt x="3985523" y="1534936"/>
                    <a:pt x="3994839" y="1532631"/>
                    <a:pt x="4003909" y="1532301"/>
                  </a:cubicBezTo>
                  <a:close/>
                  <a:moveTo>
                    <a:pt x="2258198" y="1523654"/>
                  </a:moveTo>
                  <a:cubicBezTo>
                    <a:pt x="2267202" y="1523325"/>
                    <a:pt x="2276043" y="1524967"/>
                    <a:pt x="2282591" y="1528577"/>
                  </a:cubicBezTo>
                  <a:lnTo>
                    <a:pt x="2442369" y="1621141"/>
                  </a:lnTo>
                  <a:cubicBezTo>
                    <a:pt x="2454811" y="1628362"/>
                    <a:pt x="2453501" y="1641492"/>
                    <a:pt x="2438440" y="1650026"/>
                  </a:cubicBezTo>
                  <a:lnTo>
                    <a:pt x="2280626" y="1741933"/>
                  </a:lnTo>
                  <a:cubicBezTo>
                    <a:pt x="2266220" y="1749811"/>
                    <a:pt x="2243301" y="1751124"/>
                    <a:pt x="2230204" y="1743902"/>
                  </a:cubicBezTo>
                  <a:lnTo>
                    <a:pt x="2071081" y="1651339"/>
                  </a:lnTo>
                  <a:cubicBezTo>
                    <a:pt x="2057984" y="1644118"/>
                    <a:pt x="2059948" y="1630988"/>
                    <a:pt x="2075010" y="1622454"/>
                  </a:cubicBezTo>
                  <a:lnTo>
                    <a:pt x="2232824" y="1530547"/>
                  </a:lnTo>
                  <a:cubicBezTo>
                    <a:pt x="2240027" y="1526280"/>
                    <a:pt x="2249195" y="1523982"/>
                    <a:pt x="2258198" y="1523654"/>
                  </a:cubicBezTo>
                  <a:close/>
                  <a:moveTo>
                    <a:pt x="3657944" y="1503819"/>
                  </a:moveTo>
                  <a:cubicBezTo>
                    <a:pt x="3667029" y="1503327"/>
                    <a:pt x="3675870" y="1504804"/>
                    <a:pt x="3682418" y="1508414"/>
                  </a:cubicBezTo>
                  <a:lnTo>
                    <a:pt x="3841542" y="1600978"/>
                  </a:lnTo>
                  <a:cubicBezTo>
                    <a:pt x="3854638" y="1608199"/>
                    <a:pt x="3853329" y="1621329"/>
                    <a:pt x="3838267" y="1629863"/>
                  </a:cubicBezTo>
                  <a:lnTo>
                    <a:pt x="3680453" y="1721113"/>
                  </a:lnTo>
                  <a:cubicBezTo>
                    <a:pt x="3665392" y="1730304"/>
                    <a:pt x="3643128" y="1730961"/>
                    <a:pt x="3630031" y="1723739"/>
                  </a:cubicBezTo>
                  <a:lnTo>
                    <a:pt x="3470908" y="1631176"/>
                  </a:lnTo>
                  <a:cubicBezTo>
                    <a:pt x="3457811" y="1623955"/>
                    <a:pt x="3459775" y="1610825"/>
                    <a:pt x="3474182" y="1602291"/>
                  </a:cubicBezTo>
                  <a:lnTo>
                    <a:pt x="3631996" y="1511040"/>
                  </a:lnTo>
                  <a:cubicBezTo>
                    <a:pt x="3639526" y="1506773"/>
                    <a:pt x="3648858" y="1504311"/>
                    <a:pt x="3657944" y="1503819"/>
                  </a:cubicBezTo>
                  <a:close/>
                  <a:moveTo>
                    <a:pt x="2621035" y="1454526"/>
                  </a:moveTo>
                  <a:cubicBezTo>
                    <a:pt x="2630120" y="1454197"/>
                    <a:pt x="2638961" y="1455839"/>
                    <a:pt x="2645509" y="1459449"/>
                  </a:cubicBezTo>
                  <a:lnTo>
                    <a:pt x="2804633" y="1552013"/>
                  </a:lnTo>
                  <a:cubicBezTo>
                    <a:pt x="2817729" y="1559890"/>
                    <a:pt x="2816419" y="1572364"/>
                    <a:pt x="2801358" y="1581554"/>
                  </a:cubicBezTo>
                  <a:lnTo>
                    <a:pt x="2643544" y="1672805"/>
                  </a:lnTo>
                  <a:cubicBezTo>
                    <a:pt x="2628483" y="1681339"/>
                    <a:pt x="2606219" y="1681996"/>
                    <a:pt x="2593122" y="1674774"/>
                  </a:cubicBezTo>
                  <a:lnTo>
                    <a:pt x="2433999" y="1582211"/>
                  </a:lnTo>
                  <a:cubicBezTo>
                    <a:pt x="2420902" y="1574990"/>
                    <a:pt x="2422212" y="1561860"/>
                    <a:pt x="2437273" y="1553326"/>
                  </a:cubicBezTo>
                  <a:lnTo>
                    <a:pt x="2595087" y="1461419"/>
                  </a:lnTo>
                  <a:cubicBezTo>
                    <a:pt x="2602618" y="1457152"/>
                    <a:pt x="2611949" y="1454854"/>
                    <a:pt x="2621035" y="1454526"/>
                  </a:cubicBezTo>
                  <a:close/>
                  <a:moveTo>
                    <a:pt x="3048424" y="1426125"/>
                  </a:moveTo>
                  <a:cubicBezTo>
                    <a:pt x="3057459" y="1425716"/>
                    <a:pt x="3066250" y="1427353"/>
                    <a:pt x="3072761" y="1431280"/>
                  </a:cubicBezTo>
                  <a:lnTo>
                    <a:pt x="3230993" y="1522926"/>
                  </a:lnTo>
                  <a:cubicBezTo>
                    <a:pt x="3244016" y="1530782"/>
                    <a:pt x="3242714" y="1543874"/>
                    <a:pt x="3227737" y="1552384"/>
                  </a:cubicBezTo>
                  <a:lnTo>
                    <a:pt x="3070808" y="1643375"/>
                  </a:lnTo>
                  <a:cubicBezTo>
                    <a:pt x="3055831" y="1651885"/>
                    <a:pt x="3033692" y="1653194"/>
                    <a:pt x="3020669" y="1645339"/>
                  </a:cubicBezTo>
                  <a:lnTo>
                    <a:pt x="2863088" y="1553039"/>
                  </a:lnTo>
                  <a:cubicBezTo>
                    <a:pt x="2850065" y="1545838"/>
                    <a:pt x="2852018" y="1533400"/>
                    <a:pt x="2866344" y="1524235"/>
                  </a:cubicBezTo>
                  <a:lnTo>
                    <a:pt x="3022622" y="1433244"/>
                  </a:lnTo>
                  <a:cubicBezTo>
                    <a:pt x="3030111" y="1428989"/>
                    <a:pt x="3039390" y="1426534"/>
                    <a:pt x="3048424" y="1426125"/>
                  </a:cubicBezTo>
                  <a:close/>
                  <a:moveTo>
                    <a:pt x="3759084" y="1391578"/>
                  </a:moveTo>
                  <a:cubicBezTo>
                    <a:pt x="3768155" y="1391166"/>
                    <a:pt x="3776980" y="1392813"/>
                    <a:pt x="3783517" y="1396765"/>
                  </a:cubicBezTo>
                  <a:lnTo>
                    <a:pt x="3942374" y="1489638"/>
                  </a:lnTo>
                  <a:cubicBezTo>
                    <a:pt x="3955448" y="1496883"/>
                    <a:pt x="3953487" y="1510056"/>
                    <a:pt x="3939105" y="1517960"/>
                  </a:cubicBezTo>
                  <a:lnTo>
                    <a:pt x="3886807" y="1548259"/>
                  </a:lnTo>
                  <a:cubicBezTo>
                    <a:pt x="3872425" y="1557481"/>
                    <a:pt x="3849544" y="1558139"/>
                    <a:pt x="3837123" y="1550894"/>
                  </a:cubicBezTo>
                  <a:lnTo>
                    <a:pt x="3677613" y="1458021"/>
                  </a:lnTo>
                  <a:cubicBezTo>
                    <a:pt x="3665192" y="1450776"/>
                    <a:pt x="3666499" y="1437603"/>
                    <a:pt x="3681535" y="1429040"/>
                  </a:cubicBezTo>
                  <a:lnTo>
                    <a:pt x="3733180" y="1398741"/>
                  </a:lnTo>
                  <a:cubicBezTo>
                    <a:pt x="3740698" y="1394460"/>
                    <a:pt x="3750014" y="1391990"/>
                    <a:pt x="3759084" y="1391578"/>
                  </a:cubicBezTo>
                  <a:close/>
                  <a:moveTo>
                    <a:pt x="2013371" y="1379638"/>
                  </a:moveTo>
                  <a:cubicBezTo>
                    <a:pt x="2022375" y="1379309"/>
                    <a:pt x="2031216" y="1380951"/>
                    <a:pt x="2037764" y="1384561"/>
                  </a:cubicBezTo>
                  <a:lnTo>
                    <a:pt x="2197542" y="1477125"/>
                  </a:lnTo>
                  <a:cubicBezTo>
                    <a:pt x="2209984" y="1484346"/>
                    <a:pt x="2208675" y="1497476"/>
                    <a:pt x="2193613" y="1506010"/>
                  </a:cubicBezTo>
                  <a:lnTo>
                    <a:pt x="2035144" y="1597260"/>
                  </a:lnTo>
                  <a:cubicBezTo>
                    <a:pt x="2020738" y="1605795"/>
                    <a:pt x="1998474" y="1607108"/>
                    <a:pt x="1985377" y="1599886"/>
                  </a:cubicBezTo>
                  <a:lnTo>
                    <a:pt x="1825599" y="1507323"/>
                  </a:lnTo>
                  <a:cubicBezTo>
                    <a:pt x="1813157" y="1500102"/>
                    <a:pt x="1814467" y="1486972"/>
                    <a:pt x="1829528" y="1477781"/>
                  </a:cubicBezTo>
                  <a:lnTo>
                    <a:pt x="1987997" y="1386531"/>
                  </a:lnTo>
                  <a:cubicBezTo>
                    <a:pt x="1995200" y="1382264"/>
                    <a:pt x="2004368" y="1379966"/>
                    <a:pt x="2013371" y="1379638"/>
                  </a:cubicBezTo>
                  <a:close/>
                  <a:moveTo>
                    <a:pt x="3413117" y="1359475"/>
                  </a:moveTo>
                  <a:cubicBezTo>
                    <a:pt x="3422202" y="1359146"/>
                    <a:pt x="3431042" y="1360788"/>
                    <a:pt x="3437591" y="1364398"/>
                  </a:cubicBezTo>
                  <a:lnTo>
                    <a:pt x="3597369" y="1456962"/>
                  </a:lnTo>
                  <a:cubicBezTo>
                    <a:pt x="3609811" y="1464183"/>
                    <a:pt x="3608501" y="1477313"/>
                    <a:pt x="3593440" y="1485847"/>
                  </a:cubicBezTo>
                  <a:lnTo>
                    <a:pt x="3434971" y="1577097"/>
                  </a:lnTo>
                  <a:cubicBezTo>
                    <a:pt x="3420565" y="1585632"/>
                    <a:pt x="3397646" y="1586945"/>
                    <a:pt x="3385204" y="1579067"/>
                  </a:cubicBezTo>
                  <a:lnTo>
                    <a:pt x="3225426" y="1487160"/>
                  </a:lnTo>
                  <a:cubicBezTo>
                    <a:pt x="3212984" y="1479282"/>
                    <a:pt x="3214294" y="1466152"/>
                    <a:pt x="3228700" y="1457618"/>
                  </a:cubicBezTo>
                  <a:lnTo>
                    <a:pt x="3387169" y="1366368"/>
                  </a:lnTo>
                  <a:cubicBezTo>
                    <a:pt x="3394700" y="1362101"/>
                    <a:pt x="3404031" y="1359803"/>
                    <a:pt x="3413117" y="1359475"/>
                  </a:cubicBezTo>
                  <a:close/>
                  <a:moveTo>
                    <a:pt x="2373571" y="1313390"/>
                  </a:moveTo>
                  <a:cubicBezTo>
                    <a:pt x="2382560" y="1313061"/>
                    <a:pt x="2391222" y="1314702"/>
                    <a:pt x="2397433" y="1318313"/>
                  </a:cubicBezTo>
                  <a:lnTo>
                    <a:pt x="2556949" y="1410877"/>
                  </a:lnTo>
                  <a:cubicBezTo>
                    <a:pt x="2570024" y="1418098"/>
                    <a:pt x="2568063" y="1431228"/>
                    <a:pt x="2553680" y="1439762"/>
                  </a:cubicBezTo>
                  <a:lnTo>
                    <a:pt x="2395472" y="1531012"/>
                  </a:lnTo>
                  <a:cubicBezTo>
                    <a:pt x="2380436" y="1539547"/>
                    <a:pt x="2358208" y="1540860"/>
                    <a:pt x="2345787" y="1532982"/>
                  </a:cubicBezTo>
                  <a:lnTo>
                    <a:pt x="2186271" y="1441075"/>
                  </a:lnTo>
                  <a:cubicBezTo>
                    <a:pt x="2173196" y="1433854"/>
                    <a:pt x="2175157" y="1420724"/>
                    <a:pt x="2190194" y="1412190"/>
                  </a:cubicBezTo>
                  <a:lnTo>
                    <a:pt x="2347748" y="1320283"/>
                  </a:lnTo>
                  <a:cubicBezTo>
                    <a:pt x="2355266" y="1316016"/>
                    <a:pt x="2364582" y="1313718"/>
                    <a:pt x="2373571" y="1313390"/>
                  </a:cubicBezTo>
                  <a:close/>
                  <a:moveTo>
                    <a:pt x="2804170" y="1284997"/>
                  </a:moveTo>
                  <a:cubicBezTo>
                    <a:pt x="2813123" y="1284587"/>
                    <a:pt x="2821751" y="1286228"/>
                    <a:pt x="2827937" y="1290167"/>
                  </a:cubicBezTo>
                  <a:lnTo>
                    <a:pt x="2986168" y="1382074"/>
                  </a:lnTo>
                  <a:cubicBezTo>
                    <a:pt x="2999191" y="1389295"/>
                    <a:pt x="2997889" y="1402425"/>
                    <a:pt x="2982912" y="1410959"/>
                  </a:cubicBezTo>
                  <a:lnTo>
                    <a:pt x="2825983" y="1502866"/>
                  </a:lnTo>
                  <a:cubicBezTo>
                    <a:pt x="2811007" y="1511400"/>
                    <a:pt x="2788867" y="1512057"/>
                    <a:pt x="2776495" y="1504835"/>
                  </a:cubicBezTo>
                  <a:lnTo>
                    <a:pt x="2617613" y="1412272"/>
                  </a:lnTo>
                  <a:cubicBezTo>
                    <a:pt x="2605241" y="1405051"/>
                    <a:pt x="2606543" y="1391921"/>
                    <a:pt x="2621520" y="1383387"/>
                  </a:cubicBezTo>
                  <a:lnTo>
                    <a:pt x="2778449" y="1292136"/>
                  </a:lnTo>
                  <a:cubicBezTo>
                    <a:pt x="2785937" y="1287869"/>
                    <a:pt x="2795216" y="1285407"/>
                    <a:pt x="2804170" y="1284997"/>
                  </a:cubicBezTo>
                  <a:close/>
                  <a:moveTo>
                    <a:pt x="1319915" y="1258658"/>
                  </a:moveTo>
                  <a:cubicBezTo>
                    <a:pt x="1328875" y="1258331"/>
                    <a:pt x="1337510" y="1259967"/>
                    <a:pt x="1343701" y="1263568"/>
                  </a:cubicBezTo>
                  <a:lnTo>
                    <a:pt x="1484904" y="1345400"/>
                  </a:lnTo>
                  <a:lnTo>
                    <a:pt x="2452619" y="1903856"/>
                  </a:lnTo>
                  <a:cubicBezTo>
                    <a:pt x="2466334" y="1911034"/>
                    <a:pt x="2466334" y="1924085"/>
                    <a:pt x="2452619" y="1931915"/>
                  </a:cubicBezTo>
                  <a:lnTo>
                    <a:pt x="2260605" y="2042849"/>
                  </a:lnTo>
                  <a:cubicBezTo>
                    <a:pt x="2246890" y="2050679"/>
                    <a:pt x="2224684" y="2050679"/>
                    <a:pt x="2210968" y="2042849"/>
                  </a:cubicBezTo>
                  <a:lnTo>
                    <a:pt x="1358287" y="1550486"/>
                  </a:lnTo>
                  <a:lnTo>
                    <a:pt x="1357386" y="1550288"/>
                  </a:lnTo>
                  <a:lnTo>
                    <a:pt x="1103235" y="1403655"/>
                  </a:lnTo>
                  <a:cubicBezTo>
                    <a:pt x="1090202" y="1395799"/>
                    <a:pt x="1092157" y="1382707"/>
                    <a:pt x="1106494" y="1374852"/>
                  </a:cubicBezTo>
                  <a:lnTo>
                    <a:pt x="1294174" y="1265532"/>
                  </a:lnTo>
                  <a:cubicBezTo>
                    <a:pt x="1301668" y="1261277"/>
                    <a:pt x="1310954" y="1258986"/>
                    <a:pt x="1319915" y="1258658"/>
                  </a:cubicBezTo>
                  <a:close/>
                  <a:moveTo>
                    <a:pt x="1765908" y="1238479"/>
                  </a:moveTo>
                  <a:cubicBezTo>
                    <a:pt x="1774979" y="1238154"/>
                    <a:pt x="1783805" y="1239780"/>
                    <a:pt x="1790342" y="1243355"/>
                  </a:cubicBezTo>
                  <a:lnTo>
                    <a:pt x="1949204" y="1335024"/>
                  </a:lnTo>
                  <a:cubicBezTo>
                    <a:pt x="1962279" y="1342175"/>
                    <a:pt x="1960318" y="1355178"/>
                    <a:pt x="1945935" y="1363629"/>
                  </a:cubicBezTo>
                  <a:lnTo>
                    <a:pt x="1788381" y="1453997"/>
                  </a:lnTo>
                  <a:cubicBezTo>
                    <a:pt x="1772691" y="1462449"/>
                    <a:pt x="1751117" y="1463099"/>
                    <a:pt x="1738042" y="1455947"/>
                  </a:cubicBezTo>
                  <a:lnTo>
                    <a:pt x="1578526" y="1364279"/>
                  </a:lnTo>
                  <a:cubicBezTo>
                    <a:pt x="1565451" y="1357128"/>
                    <a:pt x="1567412" y="1344125"/>
                    <a:pt x="1582449" y="1335674"/>
                  </a:cubicBezTo>
                  <a:lnTo>
                    <a:pt x="1740003" y="1245306"/>
                  </a:lnTo>
                  <a:cubicBezTo>
                    <a:pt x="1747521" y="1241080"/>
                    <a:pt x="1756837" y="1238804"/>
                    <a:pt x="1765908" y="1238479"/>
                  </a:cubicBezTo>
                  <a:close/>
                  <a:moveTo>
                    <a:pt x="3165163" y="1218751"/>
                  </a:moveTo>
                  <a:cubicBezTo>
                    <a:pt x="3174152" y="1218341"/>
                    <a:pt x="3182977" y="1219982"/>
                    <a:pt x="3189515" y="1223921"/>
                  </a:cubicBezTo>
                  <a:lnTo>
                    <a:pt x="3349031" y="1315828"/>
                  </a:lnTo>
                  <a:cubicBezTo>
                    <a:pt x="3362106" y="1323705"/>
                    <a:pt x="3360145" y="1336835"/>
                    <a:pt x="3345109" y="1344713"/>
                  </a:cubicBezTo>
                  <a:lnTo>
                    <a:pt x="3187554" y="1436620"/>
                  </a:lnTo>
                  <a:cubicBezTo>
                    <a:pt x="3172518" y="1445154"/>
                    <a:pt x="3150290" y="1445811"/>
                    <a:pt x="3137869" y="1438589"/>
                  </a:cubicBezTo>
                  <a:lnTo>
                    <a:pt x="2978353" y="1346026"/>
                  </a:lnTo>
                  <a:cubicBezTo>
                    <a:pt x="2965278" y="1338805"/>
                    <a:pt x="2967239" y="1325675"/>
                    <a:pt x="2981622" y="1317141"/>
                  </a:cubicBezTo>
                  <a:lnTo>
                    <a:pt x="3139830" y="1225890"/>
                  </a:lnTo>
                  <a:cubicBezTo>
                    <a:pt x="3147021" y="1221623"/>
                    <a:pt x="3156174" y="1219161"/>
                    <a:pt x="3165163" y="1218751"/>
                  </a:cubicBezTo>
                  <a:close/>
                  <a:moveTo>
                    <a:pt x="2128092" y="1172256"/>
                  </a:moveTo>
                  <a:cubicBezTo>
                    <a:pt x="2137260" y="1171927"/>
                    <a:pt x="2146100" y="1173569"/>
                    <a:pt x="2152321" y="1177179"/>
                  </a:cubicBezTo>
                  <a:lnTo>
                    <a:pt x="2312100" y="1269743"/>
                  </a:lnTo>
                  <a:cubicBezTo>
                    <a:pt x="2325196" y="1276964"/>
                    <a:pt x="2323232" y="1289437"/>
                    <a:pt x="2308171" y="1298628"/>
                  </a:cubicBezTo>
                  <a:lnTo>
                    <a:pt x="2150356" y="1389878"/>
                  </a:lnTo>
                  <a:cubicBezTo>
                    <a:pt x="2135295" y="1398413"/>
                    <a:pt x="2113031" y="1399726"/>
                    <a:pt x="2100589" y="1391848"/>
                  </a:cubicBezTo>
                  <a:lnTo>
                    <a:pt x="1940811" y="1299941"/>
                  </a:lnTo>
                  <a:cubicBezTo>
                    <a:pt x="1928369" y="1292063"/>
                    <a:pt x="1929679" y="1278933"/>
                    <a:pt x="1944085" y="1271056"/>
                  </a:cubicBezTo>
                  <a:lnTo>
                    <a:pt x="2101899" y="1179149"/>
                  </a:lnTo>
                  <a:cubicBezTo>
                    <a:pt x="2109430" y="1174881"/>
                    <a:pt x="2118925" y="1172584"/>
                    <a:pt x="2128092" y="1172256"/>
                  </a:cubicBezTo>
                  <a:close/>
                  <a:moveTo>
                    <a:pt x="2557747" y="1143534"/>
                  </a:moveTo>
                  <a:cubicBezTo>
                    <a:pt x="2566900" y="1143124"/>
                    <a:pt x="2575889" y="1144766"/>
                    <a:pt x="2582426" y="1148376"/>
                  </a:cubicBezTo>
                  <a:lnTo>
                    <a:pt x="2741288" y="1240940"/>
                  </a:lnTo>
                  <a:cubicBezTo>
                    <a:pt x="2754363" y="1248161"/>
                    <a:pt x="2752402" y="1261291"/>
                    <a:pt x="2737366" y="1269825"/>
                  </a:cubicBezTo>
                  <a:lnTo>
                    <a:pt x="2579811" y="1361732"/>
                  </a:lnTo>
                  <a:cubicBezTo>
                    <a:pt x="2564775" y="1370266"/>
                    <a:pt x="2542547" y="1370923"/>
                    <a:pt x="2530126" y="1363701"/>
                  </a:cubicBezTo>
                  <a:lnTo>
                    <a:pt x="2370610" y="1271138"/>
                  </a:lnTo>
                  <a:cubicBezTo>
                    <a:pt x="2357535" y="1263917"/>
                    <a:pt x="2359496" y="1250787"/>
                    <a:pt x="2373879" y="1242253"/>
                  </a:cubicBezTo>
                  <a:lnTo>
                    <a:pt x="2532087" y="1151002"/>
                  </a:lnTo>
                  <a:cubicBezTo>
                    <a:pt x="2539279" y="1146406"/>
                    <a:pt x="2548595" y="1143945"/>
                    <a:pt x="2557747" y="1143534"/>
                  </a:cubicBezTo>
                  <a:close/>
                  <a:moveTo>
                    <a:pt x="1520756" y="1097368"/>
                  </a:moveTo>
                  <a:cubicBezTo>
                    <a:pt x="1529827" y="1097039"/>
                    <a:pt x="1538652" y="1098681"/>
                    <a:pt x="1544863" y="1102291"/>
                  </a:cubicBezTo>
                  <a:lnTo>
                    <a:pt x="1704379" y="1194855"/>
                  </a:lnTo>
                  <a:cubicBezTo>
                    <a:pt x="1717454" y="1202076"/>
                    <a:pt x="1715493" y="1215206"/>
                    <a:pt x="1700457" y="1223740"/>
                  </a:cubicBezTo>
                  <a:lnTo>
                    <a:pt x="1542902" y="1314990"/>
                  </a:lnTo>
                  <a:cubicBezTo>
                    <a:pt x="1527866" y="1323525"/>
                    <a:pt x="1505638" y="1324838"/>
                    <a:pt x="1493217" y="1317616"/>
                  </a:cubicBezTo>
                  <a:lnTo>
                    <a:pt x="1333701" y="1225053"/>
                  </a:lnTo>
                  <a:cubicBezTo>
                    <a:pt x="1320626" y="1217832"/>
                    <a:pt x="1322587" y="1204702"/>
                    <a:pt x="1336970" y="1196168"/>
                  </a:cubicBezTo>
                  <a:lnTo>
                    <a:pt x="1495178" y="1104261"/>
                  </a:lnTo>
                  <a:cubicBezTo>
                    <a:pt x="1502369" y="1099993"/>
                    <a:pt x="1511685" y="1097696"/>
                    <a:pt x="1520756" y="1097368"/>
                  </a:cubicBezTo>
                  <a:close/>
                  <a:moveTo>
                    <a:pt x="2919137" y="1077534"/>
                  </a:moveTo>
                  <a:cubicBezTo>
                    <a:pt x="2928172" y="1077042"/>
                    <a:pt x="2936963" y="1078519"/>
                    <a:pt x="2943149" y="1082129"/>
                  </a:cubicBezTo>
                  <a:lnTo>
                    <a:pt x="3102031" y="1174693"/>
                  </a:lnTo>
                  <a:cubicBezTo>
                    <a:pt x="3114403" y="1181914"/>
                    <a:pt x="3112449" y="1195044"/>
                    <a:pt x="3098124" y="1203578"/>
                  </a:cubicBezTo>
                  <a:lnTo>
                    <a:pt x="2940544" y="1294828"/>
                  </a:lnTo>
                  <a:cubicBezTo>
                    <a:pt x="2926219" y="1304019"/>
                    <a:pt x="2904079" y="1304676"/>
                    <a:pt x="2891707" y="1297454"/>
                  </a:cubicBezTo>
                  <a:lnTo>
                    <a:pt x="2732825" y="1204891"/>
                  </a:lnTo>
                  <a:cubicBezTo>
                    <a:pt x="2720453" y="1197670"/>
                    <a:pt x="2721755" y="1184540"/>
                    <a:pt x="2736732" y="1176006"/>
                  </a:cubicBezTo>
                  <a:lnTo>
                    <a:pt x="2893661" y="1084755"/>
                  </a:lnTo>
                  <a:cubicBezTo>
                    <a:pt x="2900824" y="1080488"/>
                    <a:pt x="2910103" y="1078026"/>
                    <a:pt x="2919137" y="1077534"/>
                  </a:cubicBezTo>
                  <a:close/>
                  <a:moveTo>
                    <a:pt x="962595" y="1054160"/>
                  </a:moveTo>
                  <a:cubicBezTo>
                    <a:pt x="971718" y="1053832"/>
                    <a:pt x="980679" y="1055472"/>
                    <a:pt x="987195" y="1059080"/>
                  </a:cubicBezTo>
                  <a:lnTo>
                    <a:pt x="1240694" y="1206689"/>
                  </a:lnTo>
                  <a:cubicBezTo>
                    <a:pt x="1253727" y="1213905"/>
                    <a:pt x="1252424" y="1227026"/>
                    <a:pt x="1237436" y="1235554"/>
                  </a:cubicBezTo>
                  <a:lnTo>
                    <a:pt x="1049755" y="1344456"/>
                  </a:lnTo>
                  <a:cubicBezTo>
                    <a:pt x="1035419" y="1352985"/>
                    <a:pt x="1013262" y="1353641"/>
                    <a:pt x="1000229" y="1346425"/>
                  </a:cubicBezTo>
                  <a:lnTo>
                    <a:pt x="746078" y="1198816"/>
                  </a:lnTo>
                  <a:cubicBezTo>
                    <a:pt x="733045" y="1191600"/>
                    <a:pt x="734348" y="1178479"/>
                    <a:pt x="749337" y="1169951"/>
                  </a:cubicBezTo>
                  <a:lnTo>
                    <a:pt x="937017" y="1061049"/>
                  </a:lnTo>
                  <a:cubicBezTo>
                    <a:pt x="944186" y="1056785"/>
                    <a:pt x="953472" y="1054488"/>
                    <a:pt x="962595" y="1054160"/>
                  </a:cubicBezTo>
                  <a:close/>
                  <a:moveTo>
                    <a:pt x="1883758" y="1028241"/>
                  </a:moveTo>
                  <a:cubicBezTo>
                    <a:pt x="1892762" y="1027912"/>
                    <a:pt x="1901602" y="1029554"/>
                    <a:pt x="1908151" y="1033164"/>
                  </a:cubicBezTo>
                  <a:lnTo>
                    <a:pt x="2067275" y="1125728"/>
                  </a:lnTo>
                  <a:cubicBezTo>
                    <a:pt x="2080371" y="1133605"/>
                    <a:pt x="2079061" y="1146079"/>
                    <a:pt x="2064000" y="1154613"/>
                  </a:cubicBezTo>
                  <a:lnTo>
                    <a:pt x="1905531" y="1246520"/>
                  </a:lnTo>
                  <a:cubicBezTo>
                    <a:pt x="1891125" y="1255054"/>
                    <a:pt x="1868206" y="1255711"/>
                    <a:pt x="1855764" y="1248489"/>
                  </a:cubicBezTo>
                  <a:lnTo>
                    <a:pt x="1695986" y="1155926"/>
                  </a:lnTo>
                  <a:cubicBezTo>
                    <a:pt x="1683544" y="1148705"/>
                    <a:pt x="1684854" y="1135575"/>
                    <a:pt x="1699915" y="1127041"/>
                  </a:cubicBezTo>
                  <a:lnTo>
                    <a:pt x="1858384" y="1035134"/>
                  </a:lnTo>
                  <a:cubicBezTo>
                    <a:pt x="1865587" y="1030867"/>
                    <a:pt x="1874754" y="1028569"/>
                    <a:pt x="1883758" y="1028241"/>
                  </a:cubicBezTo>
                  <a:close/>
                  <a:moveTo>
                    <a:pt x="2312923" y="1002295"/>
                  </a:moveTo>
                  <a:cubicBezTo>
                    <a:pt x="2321927" y="1001970"/>
                    <a:pt x="2330768" y="1003596"/>
                    <a:pt x="2337316" y="1007171"/>
                  </a:cubicBezTo>
                  <a:lnTo>
                    <a:pt x="2497094" y="1098840"/>
                  </a:lnTo>
                  <a:cubicBezTo>
                    <a:pt x="2509536" y="1105991"/>
                    <a:pt x="2508227" y="1118994"/>
                    <a:pt x="2493165" y="1127445"/>
                  </a:cubicBezTo>
                  <a:lnTo>
                    <a:pt x="2334696" y="1217813"/>
                  </a:lnTo>
                  <a:cubicBezTo>
                    <a:pt x="2320290" y="1226265"/>
                    <a:pt x="2298026" y="1226915"/>
                    <a:pt x="2284929" y="1219763"/>
                  </a:cubicBezTo>
                  <a:lnTo>
                    <a:pt x="2125151" y="1128095"/>
                  </a:lnTo>
                  <a:cubicBezTo>
                    <a:pt x="2112709" y="1120944"/>
                    <a:pt x="2114019" y="1108591"/>
                    <a:pt x="2129080" y="1099490"/>
                  </a:cubicBezTo>
                  <a:lnTo>
                    <a:pt x="2287549" y="1009122"/>
                  </a:lnTo>
                  <a:cubicBezTo>
                    <a:pt x="2294752" y="1004896"/>
                    <a:pt x="2303919" y="1002621"/>
                    <a:pt x="2312923" y="1002295"/>
                  </a:cubicBezTo>
                  <a:close/>
                  <a:moveTo>
                    <a:pt x="1275851" y="953353"/>
                  </a:moveTo>
                  <a:cubicBezTo>
                    <a:pt x="1284855" y="953024"/>
                    <a:pt x="1293531" y="954666"/>
                    <a:pt x="1299752" y="958276"/>
                  </a:cubicBezTo>
                  <a:lnTo>
                    <a:pt x="1459531" y="1050840"/>
                  </a:lnTo>
                  <a:cubicBezTo>
                    <a:pt x="1472627" y="1058061"/>
                    <a:pt x="1471317" y="1071191"/>
                    <a:pt x="1456256" y="1079725"/>
                  </a:cubicBezTo>
                  <a:lnTo>
                    <a:pt x="1297787" y="1170975"/>
                  </a:lnTo>
                  <a:cubicBezTo>
                    <a:pt x="1283381" y="1179510"/>
                    <a:pt x="1261117" y="1180823"/>
                    <a:pt x="1248020" y="1173601"/>
                  </a:cubicBezTo>
                  <a:lnTo>
                    <a:pt x="1088242" y="1081038"/>
                  </a:lnTo>
                  <a:cubicBezTo>
                    <a:pt x="1075800" y="1073160"/>
                    <a:pt x="1077764" y="1060030"/>
                    <a:pt x="1092171" y="1052153"/>
                  </a:cubicBezTo>
                  <a:lnTo>
                    <a:pt x="1249985" y="960246"/>
                  </a:lnTo>
                  <a:cubicBezTo>
                    <a:pt x="1257516" y="955979"/>
                    <a:pt x="1266847" y="953681"/>
                    <a:pt x="1275851" y="953353"/>
                  </a:cubicBezTo>
                  <a:close/>
                  <a:moveTo>
                    <a:pt x="2676333" y="933436"/>
                  </a:moveTo>
                  <a:cubicBezTo>
                    <a:pt x="2685337" y="933026"/>
                    <a:pt x="2694013" y="934503"/>
                    <a:pt x="2700234" y="938113"/>
                  </a:cubicBezTo>
                  <a:lnTo>
                    <a:pt x="2860012" y="1030677"/>
                  </a:lnTo>
                  <a:cubicBezTo>
                    <a:pt x="2872454" y="1037898"/>
                    <a:pt x="2871145" y="1051028"/>
                    <a:pt x="2856738" y="1059562"/>
                  </a:cubicBezTo>
                  <a:lnTo>
                    <a:pt x="2698269" y="1150812"/>
                  </a:lnTo>
                  <a:cubicBezTo>
                    <a:pt x="2683863" y="1159347"/>
                    <a:pt x="2660944" y="1160660"/>
                    <a:pt x="2648502" y="1152782"/>
                  </a:cubicBezTo>
                  <a:lnTo>
                    <a:pt x="2488724" y="1060218"/>
                  </a:lnTo>
                  <a:cubicBezTo>
                    <a:pt x="2475627" y="1052997"/>
                    <a:pt x="2477591" y="1039867"/>
                    <a:pt x="2492653" y="1031990"/>
                  </a:cubicBezTo>
                  <a:lnTo>
                    <a:pt x="2650467" y="940083"/>
                  </a:lnTo>
                  <a:cubicBezTo>
                    <a:pt x="2657997" y="936144"/>
                    <a:pt x="2667329" y="933846"/>
                    <a:pt x="2676333" y="933436"/>
                  </a:cubicBezTo>
                  <a:close/>
                  <a:moveTo>
                    <a:pt x="718088" y="913106"/>
                  </a:moveTo>
                  <a:cubicBezTo>
                    <a:pt x="727146" y="912697"/>
                    <a:pt x="735959" y="914335"/>
                    <a:pt x="742160" y="917939"/>
                  </a:cubicBezTo>
                  <a:lnTo>
                    <a:pt x="901446" y="1010338"/>
                  </a:lnTo>
                  <a:cubicBezTo>
                    <a:pt x="913849" y="1017546"/>
                    <a:pt x="912544" y="1030652"/>
                    <a:pt x="897529" y="1039171"/>
                  </a:cubicBezTo>
                  <a:lnTo>
                    <a:pt x="710172" y="1148607"/>
                  </a:lnTo>
                  <a:cubicBezTo>
                    <a:pt x="695158" y="1156471"/>
                    <a:pt x="672962" y="1157782"/>
                    <a:pt x="659906" y="1149918"/>
                  </a:cubicBezTo>
                  <a:lnTo>
                    <a:pt x="501273" y="1058175"/>
                  </a:lnTo>
                  <a:cubicBezTo>
                    <a:pt x="488217" y="1050311"/>
                    <a:pt x="489523" y="1037861"/>
                    <a:pt x="504537" y="1028686"/>
                  </a:cubicBezTo>
                  <a:lnTo>
                    <a:pt x="692547" y="920561"/>
                  </a:lnTo>
                  <a:cubicBezTo>
                    <a:pt x="699728" y="915974"/>
                    <a:pt x="709030" y="913516"/>
                    <a:pt x="718088" y="913106"/>
                  </a:cubicBezTo>
                  <a:close/>
                  <a:moveTo>
                    <a:pt x="1636298" y="887105"/>
                  </a:moveTo>
                  <a:cubicBezTo>
                    <a:pt x="1645220" y="886776"/>
                    <a:pt x="1653897" y="888418"/>
                    <a:pt x="1660445" y="892028"/>
                  </a:cubicBezTo>
                  <a:lnTo>
                    <a:pt x="1820223" y="984592"/>
                  </a:lnTo>
                  <a:cubicBezTo>
                    <a:pt x="1832665" y="991813"/>
                    <a:pt x="1831355" y="1004943"/>
                    <a:pt x="1816294" y="1013477"/>
                  </a:cubicBezTo>
                  <a:lnTo>
                    <a:pt x="1658480" y="1105384"/>
                  </a:lnTo>
                  <a:cubicBezTo>
                    <a:pt x="1644074" y="1113262"/>
                    <a:pt x="1621155" y="1114575"/>
                    <a:pt x="1608713" y="1106697"/>
                  </a:cubicBezTo>
                  <a:lnTo>
                    <a:pt x="1448935" y="1014790"/>
                  </a:lnTo>
                  <a:cubicBezTo>
                    <a:pt x="1435838" y="1007569"/>
                    <a:pt x="1437802" y="994439"/>
                    <a:pt x="1452209" y="985905"/>
                  </a:cubicBezTo>
                  <a:lnTo>
                    <a:pt x="1610678" y="893998"/>
                  </a:lnTo>
                  <a:cubicBezTo>
                    <a:pt x="1618208" y="889731"/>
                    <a:pt x="1627376" y="887433"/>
                    <a:pt x="1636298" y="887105"/>
                  </a:cubicBezTo>
                  <a:close/>
                  <a:moveTo>
                    <a:pt x="2068014" y="858712"/>
                  </a:moveTo>
                  <a:cubicBezTo>
                    <a:pt x="2077085" y="858302"/>
                    <a:pt x="2085910" y="859943"/>
                    <a:pt x="2092121" y="863882"/>
                  </a:cubicBezTo>
                  <a:lnTo>
                    <a:pt x="2251637" y="955789"/>
                  </a:lnTo>
                  <a:cubicBezTo>
                    <a:pt x="2264712" y="963010"/>
                    <a:pt x="2262751" y="976140"/>
                    <a:pt x="2248368" y="984674"/>
                  </a:cubicBezTo>
                  <a:lnTo>
                    <a:pt x="2090160" y="1076581"/>
                  </a:lnTo>
                  <a:cubicBezTo>
                    <a:pt x="2075778" y="1085115"/>
                    <a:pt x="2053550" y="1085772"/>
                    <a:pt x="2040475" y="1078550"/>
                  </a:cubicBezTo>
                  <a:lnTo>
                    <a:pt x="1880959" y="985987"/>
                  </a:lnTo>
                  <a:cubicBezTo>
                    <a:pt x="1867884" y="978766"/>
                    <a:pt x="1869845" y="966292"/>
                    <a:pt x="1884882" y="957102"/>
                  </a:cubicBezTo>
                  <a:lnTo>
                    <a:pt x="2042436" y="865851"/>
                  </a:lnTo>
                  <a:cubicBezTo>
                    <a:pt x="2049628" y="861584"/>
                    <a:pt x="2058943" y="859122"/>
                    <a:pt x="2068014" y="858712"/>
                  </a:cubicBezTo>
                  <a:close/>
                  <a:moveTo>
                    <a:pt x="1028145" y="812619"/>
                  </a:moveTo>
                  <a:cubicBezTo>
                    <a:pt x="1037148" y="812210"/>
                    <a:pt x="1045825" y="813847"/>
                    <a:pt x="1052046" y="817774"/>
                  </a:cubicBezTo>
                  <a:lnTo>
                    <a:pt x="1211825" y="909420"/>
                  </a:lnTo>
                  <a:cubicBezTo>
                    <a:pt x="1224921" y="917276"/>
                    <a:pt x="1222957" y="930368"/>
                    <a:pt x="1208550" y="938878"/>
                  </a:cubicBezTo>
                  <a:lnTo>
                    <a:pt x="1050081" y="1029869"/>
                  </a:lnTo>
                  <a:cubicBezTo>
                    <a:pt x="1035675" y="1038379"/>
                    <a:pt x="1012756" y="1039688"/>
                    <a:pt x="1000314" y="1032488"/>
                  </a:cubicBezTo>
                  <a:lnTo>
                    <a:pt x="840536" y="940187"/>
                  </a:lnTo>
                  <a:cubicBezTo>
                    <a:pt x="828094" y="932332"/>
                    <a:pt x="829404" y="919239"/>
                    <a:pt x="843810" y="910730"/>
                  </a:cubicBezTo>
                  <a:lnTo>
                    <a:pt x="1002279" y="819738"/>
                  </a:lnTo>
                  <a:cubicBezTo>
                    <a:pt x="1009809" y="815483"/>
                    <a:pt x="1019141" y="813028"/>
                    <a:pt x="1028145" y="812619"/>
                  </a:cubicBezTo>
                  <a:close/>
                  <a:moveTo>
                    <a:pt x="2431262" y="792376"/>
                  </a:moveTo>
                  <a:cubicBezTo>
                    <a:pt x="2440184" y="791886"/>
                    <a:pt x="2448860" y="793359"/>
                    <a:pt x="2455409" y="796959"/>
                  </a:cubicBezTo>
                  <a:lnTo>
                    <a:pt x="2615187" y="889259"/>
                  </a:lnTo>
                  <a:cubicBezTo>
                    <a:pt x="2627629" y="897115"/>
                    <a:pt x="2626319" y="909552"/>
                    <a:pt x="2611258" y="918717"/>
                  </a:cubicBezTo>
                  <a:lnTo>
                    <a:pt x="2453444" y="1009708"/>
                  </a:lnTo>
                  <a:cubicBezTo>
                    <a:pt x="2438383" y="1018218"/>
                    <a:pt x="2416119" y="1019527"/>
                    <a:pt x="2403022" y="1011672"/>
                  </a:cubicBezTo>
                  <a:lnTo>
                    <a:pt x="2243899" y="919372"/>
                  </a:lnTo>
                  <a:cubicBezTo>
                    <a:pt x="2230802" y="912171"/>
                    <a:pt x="2232766" y="899078"/>
                    <a:pt x="2247173" y="890568"/>
                  </a:cubicBezTo>
                  <a:lnTo>
                    <a:pt x="2405642" y="799577"/>
                  </a:lnTo>
                  <a:cubicBezTo>
                    <a:pt x="2413173" y="795322"/>
                    <a:pt x="2422340" y="792867"/>
                    <a:pt x="2431262" y="792376"/>
                  </a:cubicBezTo>
                  <a:close/>
                  <a:moveTo>
                    <a:pt x="472855" y="771867"/>
                  </a:moveTo>
                  <a:cubicBezTo>
                    <a:pt x="481831" y="771542"/>
                    <a:pt x="490481" y="773166"/>
                    <a:pt x="496682" y="776737"/>
                  </a:cubicBezTo>
                  <a:lnTo>
                    <a:pt x="655968" y="868304"/>
                  </a:lnTo>
                  <a:cubicBezTo>
                    <a:pt x="669024" y="875448"/>
                    <a:pt x="667066" y="888436"/>
                    <a:pt x="652704" y="896878"/>
                  </a:cubicBezTo>
                  <a:lnTo>
                    <a:pt x="464695" y="1004680"/>
                  </a:lnTo>
                  <a:cubicBezTo>
                    <a:pt x="449680" y="1013122"/>
                    <a:pt x="427484" y="1013772"/>
                    <a:pt x="415081" y="1006628"/>
                  </a:cubicBezTo>
                  <a:lnTo>
                    <a:pt x="255795" y="915062"/>
                  </a:lnTo>
                  <a:cubicBezTo>
                    <a:pt x="243392" y="907918"/>
                    <a:pt x="244698" y="895579"/>
                    <a:pt x="259059" y="886488"/>
                  </a:cubicBezTo>
                  <a:lnTo>
                    <a:pt x="447069" y="778686"/>
                  </a:lnTo>
                  <a:cubicBezTo>
                    <a:pt x="454576" y="774465"/>
                    <a:pt x="463879" y="772192"/>
                    <a:pt x="472855" y="771867"/>
                  </a:cubicBezTo>
                  <a:close/>
                  <a:moveTo>
                    <a:pt x="1391226" y="745971"/>
                  </a:moveTo>
                  <a:cubicBezTo>
                    <a:pt x="1400230" y="745642"/>
                    <a:pt x="1409070" y="747284"/>
                    <a:pt x="1415619" y="750894"/>
                  </a:cubicBezTo>
                  <a:lnTo>
                    <a:pt x="1575397" y="843458"/>
                  </a:lnTo>
                  <a:cubicBezTo>
                    <a:pt x="1587839" y="850679"/>
                    <a:pt x="1586529" y="863152"/>
                    <a:pt x="1571468" y="872343"/>
                  </a:cubicBezTo>
                  <a:lnTo>
                    <a:pt x="1413654" y="963593"/>
                  </a:lnTo>
                  <a:cubicBezTo>
                    <a:pt x="1398593" y="972128"/>
                    <a:pt x="1376329" y="973441"/>
                    <a:pt x="1363232" y="965563"/>
                  </a:cubicBezTo>
                  <a:lnTo>
                    <a:pt x="1203454" y="873656"/>
                  </a:lnTo>
                  <a:cubicBezTo>
                    <a:pt x="1191012" y="866435"/>
                    <a:pt x="1192322" y="853305"/>
                    <a:pt x="1207383" y="844114"/>
                  </a:cubicBezTo>
                  <a:lnTo>
                    <a:pt x="1365852" y="752864"/>
                  </a:lnTo>
                  <a:cubicBezTo>
                    <a:pt x="1373055" y="748597"/>
                    <a:pt x="1382222" y="746299"/>
                    <a:pt x="1391226" y="745971"/>
                  </a:cubicBezTo>
                  <a:close/>
                  <a:moveTo>
                    <a:pt x="1814468" y="714689"/>
                  </a:moveTo>
                  <a:cubicBezTo>
                    <a:pt x="1823472" y="714280"/>
                    <a:pt x="1832148" y="715917"/>
                    <a:pt x="1838369" y="719844"/>
                  </a:cubicBezTo>
                  <a:lnTo>
                    <a:pt x="1998148" y="812145"/>
                  </a:lnTo>
                  <a:cubicBezTo>
                    <a:pt x="2011244" y="819346"/>
                    <a:pt x="2009280" y="832438"/>
                    <a:pt x="1994873" y="840948"/>
                  </a:cubicBezTo>
                  <a:lnTo>
                    <a:pt x="1837059" y="931939"/>
                  </a:lnTo>
                  <a:cubicBezTo>
                    <a:pt x="1821998" y="941104"/>
                    <a:pt x="1799734" y="941758"/>
                    <a:pt x="1786637" y="934558"/>
                  </a:cubicBezTo>
                  <a:lnTo>
                    <a:pt x="1626859" y="842257"/>
                  </a:lnTo>
                  <a:cubicBezTo>
                    <a:pt x="1614417" y="834402"/>
                    <a:pt x="1615727" y="821309"/>
                    <a:pt x="1630788" y="812800"/>
                  </a:cubicBezTo>
                  <a:lnTo>
                    <a:pt x="1788602" y="721808"/>
                  </a:lnTo>
                  <a:cubicBezTo>
                    <a:pt x="1796133" y="717553"/>
                    <a:pt x="1805464" y="715098"/>
                    <a:pt x="1814468" y="714689"/>
                  </a:cubicBezTo>
                  <a:close/>
                  <a:moveTo>
                    <a:pt x="2183147" y="651248"/>
                  </a:moveTo>
                  <a:cubicBezTo>
                    <a:pt x="2192150" y="650756"/>
                    <a:pt x="2200827" y="652233"/>
                    <a:pt x="2207048" y="655843"/>
                  </a:cubicBezTo>
                  <a:lnTo>
                    <a:pt x="2366827" y="748407"/>
                  </a:lnTo>
                  <a:cubicBezTo>
                    <a:pt x="2379923" y="755628"/>
                    <a:pt x="2377959" y="768758"/>
                    <a:pt x="2363552" y="777292"/>
                  </a:cubicBezTo>
                  <a:lnTo>
                    <a:pt x="2205738" y="868542"/>
                  </a:lnTo>
                  <a:cubicBezTo>
                    <a:pt x="2190677" y="877733"/>
                    <a:pt x="2168413" y="878390"/>
                    <a:pt x="2155316" y="871168"/>
                  </a:cubicBezTo>
                  <a:lnTo>
                    <a:pt x="1995538" y="778605"/>
                  </a:lnTo>
                  <a:cubicBezTo>
                    <a:pt x="1983096" y="771384"/>
                    <a:pt x="1984406" y="758254"/>
                    <a:pt x="1999467" y="749720"/>
                  </a:cubicBezTo>
                  <a:lnTo>
                    <a:pt x="2157281" y="658469"/>
                  </a:lnTo>
                  <a:cubicBezTo>
                    <a:pt x="2164812" y="654202"/>
                    <a:pt x="2174143" y="651740"/>
                    <a:pt x="2183147" y="651248"/>
                  </a:cubicBezTo>
                  <a:close/>
                  <a:moveTo>
                    <a:pt x="225802" y="627852"/>
                  </a:moveTo>
                  <a:cubicBezTo>
                    <a:pt x="234778" y="627527"/>
                    <a:pt x="243428" y="629151"/>
                    <a:pt x="249629" y="632722"/>
                  </a:cubicBezTo>
                  <a:lnTo>
                    <a:pt x="408915" y="724289"/>
                  </a:lnTo>
                  <a:cubicBezTo>
                    <a:pt x="421318" y="731433"/>
                    <a:pt x="420013" y="744421"/>
                    <a:pt x="405651" y="752863"/>
                  </a:cubicBezTo>
                  <a:lnTo>
                    <a:pt x="217641" y="860665"/>
                  </a:lnTo>
                  <a:cubicBezTo>
                    <a:pt x="202627" y="869107"/>
                    <a:pt x="180431" y="869757"/>
                    <a:pt x="168028" y="862613"/>
                  </a:cubicBezTo>
                  <a:lnTo>
                    <a:pt x="8742" y="771046"/>
                  </a:lnTo>
                  <a:cubicBezTo>
                    <a:pt x="-4314" y="763903"/>
                    <a:pt x="-2356" y="750915"/>
                    <a:pt x="12006" y="742473"/>
                  </a:cubicBezTo>
                  <a:lnTo>
                    <a:pt x="200016" y="634671"/>
                  </a:lnTo>
                  <a:cubicBezTo>
                    <a:pt x="207523" y="630450"/>
                    <a:pt x="216826" y="628177"/>
                    <a:pt x="225802" y="627852"/>
                  </a:cubicBezTo>
                  <a:close/>
                  <a:moveTo>
                    <a:pt x="2399582" y="608135"/>
                  </a:moveTo>
                  <a:cubicBezTo>
                    <a:pt x="2408653" y="607723"/>
                    <a:pt x="2417478" y="609370"/>
                    <a:pt x="2424015" y="613322"/>
                  </a:cubicBezTo>
                  <a:lnTo>
                    <a:pt x="2583525" y="705536"/>
                  </a:lnTo>
                  <a:cubicBezTo>
                    <a:pt x="2595946" y="712781"/>
                    <a:pt x="2593985" y="725955"/>
                    <a:pt x="2579603" y="734517"/>
                  </a:cubicBezTo>
                  <a:lnTo>
                    <a:pt x="2527305" y="765475"/>
                  </a:lnTo>
                  <a:cubicBezTo>
                    <a:pt x="2512269" y="773379"/>
                    <a:pt x="2490042" y="774696"/>
                    <a:pt x="2477621" y="767451"/>
                  </a:cubicBezTo>
                  <a:lnTo>
                    <a:pt x="2318111" y="674578"/>
                  </a:lnTo>
                  <a:cubicBezTo>
                    <a:pt x="2305690" y="666674"/>
                    <a:pt x="2306997" y="654160"/>
                    <a:pt x="2321380" y="645597"/>
                  </a:cubicBezTo>
                  <a:lnTo>
                    <a:pt x="2373678" y="615298"/>
                  </a:lnTo>
                  <a:cubicBezTo>
                    <a:pt x="2381196" y="611017"/>
                    <a:pt x="2390512" y="608547"/>
                    <a:pt x="2399582" y="608135"/>
                  </a:cubicBezTo>
                  <a:close/>
                  <a:moveTo>
                    <a:pt x="1140559" y="602284"/>
                  </a:moveTo>
                  <a:cubicBezTo>
                    <a:pt x="1149644" y="601792"/>
                    <a:pt x="1158484" y="603269"/>
                    <a:pt x="1165033" y="606879"/>
                  </a:cubicBezTo>
                  <a:lnTo>
                    <a:pt x="1324157" y="699443"/>
                  </a:lnTo>
                  <a:cubicBezTo>
                    <a:pt x="1337253" y="706664"/>
                    <a:pt x="1335289" y="719794"/>
                    <a:pt x="1320882" y="728328"/>
                  </a:cubicBezTo>
                  <a:lnTo>
                    <a:pt x="1163068" y="819578"/>
                  </a:lnTo>
                  <a:cubicBezTo>
                    <a:pt x="1148007" y="828769"/>
                    <a:pt x="1125743" y="829426"/>
                    <a:pt x="1112646" y="822204"/>
                  </a:cubicBezTo>
                  <a:lnTo>
                    <a:pt x="953523" y="729641"/>
                  </a:lnTo>
                  <a:cubicBezTo>
                    <a:pt x="940426" y="722420"/>
                    <a:pt x="942390" y="709290"/>
                    <a:pt x="956797" y="700756"/>
                  </a:cubicBezTo>
                  <a:lnTo>
                    <a:pt x="1114611" y="609505"/>
                  </a:lnTo>
                  <a:cubicBezTo>
                    <a:pt x="1122142" y="605238"/>
                    <a:pt x="1131473" y="602776"/>
                    <a:pt x="1140559" y="602284"/>
                  </a:cubicBezTo>
                  <a:close/>
                  <a:moveTo>
                    <a:pt x="1563962" y="567473"/>
                  </a:moveTo>
                  <a:cubicBezTo>
                    <a:pt x="1573047" y="567063"/>
                    <a:pt x="1581888" y="568704"/>
                    <a:pt x="1588436" y="572315"/>
                  </a:cubicBezTo>
                  <a:lnTo>
                    <a:pt x="1747560" y="664879"/>
                  </a:lnTo>
                  <a:cubicBezTo>
                    <a:pt x="1760656" y="672100"/>
                    <a:pt x="1759346" y="685230"/>
                    <a:pt x="1744285" y="693764"/>
                  </a:cubicBezTo>
                  <a:lnTo>
                    <a:pt x="1586471" y="785014"/>
                  </a:lnTo>
                  <a:cubicBezTo>
                    <a:pt x="1571410" y="793549"/>
                    <a:pt x="1549146" y="794862"/>
                    <a:pt x="1536049" y="787640"/>
                  </a:cubicBezTo>
                  <a:lnTo>
                    <a:pt x="1376926" y="695077"/>
                  </a:lnTo>
                  <a:cubicBezTo>
                    <a:pt x="1363829" y="687856"/>
                    <a:pt x="1365793" y="674726"/>
                    <a:pt x="1380200" y="666192"/>
                  </a:cubicBezTo>
                  <a:lnTo>
                    <a:pt x="1538014" y="574941"/>
                  </a:lnTo>
                  <a:cubicBezTo>
                    <a:pt x="1545545" y="570346"/>
                    <a:pt x="1554876" y="567884"/>
                    <a:pt x="1563962" y="567473"/>
                  </a:cubicBezTo>
                  <a:close/>
                  <a:moveTo>
                    <a:pt x="1937991" y="509868"/>
                  </a:moveTo>
                  <a:cubicBezTo>
                    <a:pt x="1947159" y="509457"/>
                    <a:pt x="1955999" y="511099"/>
                    <a:pt x="1962220" y="514709"/>
                  </a:cubicBezTo>
                  <a:lnTo>
                    <a:pt x="2121999" y="607273"/>
                  </a:lnTo>
                  <a:cubicBezTo>
                    <a:pt x="2135095" y="614494"/>
                    <a:pt x="2133131" y="627624"/>
                    <a:pt x="2118070" y="636158"/>
                  </a:cubicBezTo>
                  <a:lnTo>
                    <a:pt x="1960255" y="727408"/>
                  </a:lnTo>
                  <a:cubicBezTo>
                    <a:pt x="1945194" y="736599"/>
                    <a:pt x="1922930" y="737256"/>
                    <a:pt x="1910488" y="730034"/>
                  </a:cubicBezTo>
                  <a:lnTo>
                    <a:pt x="1750710" y="637471"/>
                  </a:lnTo>
                  <a:cubicBezTo>
                    <a:pt x="1738268" y="630250"/>
                    <a:pt x="1739578" y="617120"/>
                    <a:pt x="1753984" y="608586"/>
                  </a:cubicBezTo>
                  <a:lnTo>
                    <a:pt x="1911798" y="517335"/>
                  </a:lnTo>
                  <a:cubicBezTo>
                    <a:pt x="1919329" y="512740"/>
                    <a:pt x="1928824" y="510278"/>
                    <a:pt x="1937991" y="509868"/>
                  </a:cubicBezTo>
                  <a:close/>
                  <a:moveTo>
                    <a:pt x="468825" y="490026"/>
                  </a:moveTo>
                  <a:cubicBezTo>
                    <a:pt x="477882" y="489617"/>
                    <a:pt x="486695" y="491253"/>
                    <a:pt x="493223" y="495179"/>
                  </a:cubicBezTo>
                  <a:lnTo>
                    <a:pt x="961279" y="766102"/>
                  </a:lnTo>
                  <a:cubicBezTo>
                    <a:pt x="974335" y="773301"/>
                    <a:pt x="973030" y="786389"/>
                    <a:pt x="958015" y="794896"/>
                  </a:cubicBezTo>
                  <a:lnTo>
                    <a:pt x="800691" y="885859"/>
                  </a:lnTo>
                  <a:cubicBezTo>
                    <a:pt x="785676" y="894366"/>
                    <a:pt x="763481" y="895675"/>
                    <a:pt x="750425" y="887822"/>
                  </a:cubicBezTo>
                  <a:lnTo>
                    <a:pt x="282369" y="616898"/>
                  </a:lnTo>
                  <a:cubicBezTo>
                    <a:pt x="269313" y="609700"/>
                    <a:pt x="271271" y="596612"/>
                    <a:pt x="285633" y="588104"/>
                  </a:cubicBezTo>
                  <a:lnTo>
                    <a:pt x="442957" y="497142"/>
                  </a:lnTo>
                  <a:cubicBezTo>
                    <a:pt x="450465" y="492889"/>
                    <a:pt x="459767" y="490435"/>
                    <a:pt x="468825" y="490026"/>
                  </a:cubicBezTo>
                  <a:close/>
                  <a:moveTo>
                    <a:pt x="2154754" y="466588"/>
                  </a:moveTo>
                  <a:cubicBezTo>
                    <a:pt x="2163825" y="466259"/>
                    <a:pt x="2172651" y="467905"/>
                    <a:pt x="2179188" y="471528"/>
                  </a:cubicBezTo>
                  <a:lnTo>
                    <a:pt x="2338698" y="564402"/>
                  </a:lnTo>
                  <a:cubicBezTo>
                    <a:pt x="2351119" y="571648"/>
                    <a:pt x="2349812" y="584821"/>
                    <a:pt x="2334776" y="593384"/>
                  </a:cubicBezTo>
                  <a:lnTo>
                    <a:pt x="2282477" y="623683"/>
                  </a:lnTo>
                  <a:cubicBezTo>
                    <a:pt x="2267442" y="632246"/>
                    <a:pt x="2245215" y="633563"/>
                    <a:pt x="2232794" y="625659"/>
                  </a:cubicBezTo>
                  <a:lnTo>
                    <a:pt x="2073283" y="533444"/>
                  </a:lnTo>
                  <a:cubicBezTo>
                    <a:pt x="2060862" y="525540"/>
                    <a:pt x="2062169" y="512367"/>
                    <a:pt x="2076552" y="504462"/>
                  </a:cubicBezTo>
                  <a:lnTo>
                    <a:pt x="2128850" y="473504"/>
                  </a:lnTo>
                  <a:cubicBezTo>
                    <a:pt x="2136368" y="469223"/>
                    <a:pt x="2145684" y="466918"/>
                    <a:pt x="2154754" y="466588"/>
                  </a:cubicBezTo>
                  <a:close/>
                  <a:moveTo>
                    <a:pt x="1310492" y="423787"/>
                  </a:moveTo>
                  <a:cubicBezTo>
                    <a:pt x="1319399" y="423377"/>
                    <a:pt x="1328061" y="425018"/>
                    <a:pt x="1334599" y="428957"/>
                  </a:cubicBezTo>
                  <a:lnTo>
                    <a:pt x="1494115" y="520864"/>
                  </a:lnTo>
                  <a:cubicBezTo>
                    <a:pt x="1507190" y="528741"/>
                    <a:pt x="1505229" y="541215"/>
                    <a:pt x="1490193" y="550405"/>
                  </a:cubicBezTo>
                  <a:lnTo>
                    <a:pt x="1332638" y="641656"/>
                  </a:lnTo>
                  <a:cubicBezTo>
                    <a:pt x="1318256" y="650190"/>
                    <a:pt x="1295374" y="650847"/>
                    <a:pt x="1282299" y="643625"/>
                  </a:cubicBezTo>
                  <a:lnTo>
                    <a:pt x="1123437" y="551062"/>
                  </a:lnTo>
                  <a:cubicBezTo>
                    <a:pt x="1110362" y="543841"/>
                    <a:pt x="1112323" y="530711"/>
                    <a:pt x="1126706" y="522177"/>
                  </a:cubicBezTo>
                  <a:lnTo>
                    <a:pt x="1284914" y="430926"/>
                  </a:lnTo>
                  <a:cubicBezTo>
                    <a:pt x="1292432" y="426659"/>
                    <a:pt x="1301584" y="424197"/>
                    <a:pt x="1310492" y="423787"/>
                  </a:cubicBezTo>
                  <a:close/>
                  <a:moveTo>
                    <a:pt x="1693576" y="368650"/>
                  </a:moveTo>
                  <a:cubicBezTo>
                    <a:pt x="1702661" y="368321"/>
                    <a:pt x="1711502" y="369963"/>
                    <a:pt x="1718050" y="373573"/>
                  </a:cubicBezTo>
                  <a:lnTo>
                    <a:pt x="1877828" y="466137"/>
                  </a:lnTo>
                  <a:cubicBezTo>
                    <a:pt x="1890270" y="473358"/>
                    <a:pt x="1888960" y="486488"/>
                    <a:pt x="1873899" y="495022"/>
                  </a:cubicBezTo>
                  <a:lnTo>
                    <a:pt x="1715430" y="586272"/>
                  </a:lnTo>
                  <a:cubicBezTo>
                    <a:pt x="1701024" y="594807"/>
                    <a:pt x="1678760" y="596120"/>
                    <a:pt x="1665663" y="588242"/>
                  </a:cubicBezTo>
                  <a:lnTo>
                    <a:pt x="1505885" y="496335"/>
                  </a:lnTo>
                  <a:cubicBezTo>
                    <a:pt x="1493443" y="488457"/>
                    <a:pt x="1494753" y="475327"/>
                    <a:pt x="1509814" y="466793"/>
                  </a:cubicBezTo>
                  <a:lnTo>
                    <a:pt x="1667628" y="375543"/>
                  </a:lnTo>
                  <a:cubicBezTo>
                    <a:pt x="1675158" y="371276"/>
                    <a:pt x="1684490" y="368978"/>
                    <a:pt x="1693576" y="368650"/>
                  </a:cubicBezTo>
                  <a:close/>
                  <a:moveTo>
                    <a:pt x="708205" y="351349"/>
                  </a:moveTo>
                  <a:cubicBezTo>
                    <a:pt x="717170" y="351024"/>
                    <a:pt x="725809" y="352652"/>
                    <a:pt x="732002" y="356234"/>
                  </a:cubicBezTo>
                  <a:lnTo>
                    <a:pt x="1074281" y="553577"/>
                  </a:lnTo>
                  <a:cubicBezTo>
                    <a:pt x="1086668" y="560741"/>
                    <a:pt x="1085364" y="573767"/>
                    <a:pt x="1071021" y="582234"/>
                  </a:cubicBezTo>
                  <a:lnTo>
                    <a:pt x="913247" y="672764"/>
                  </a:lnTo>
                  <a:cubicBezTo>
                    <a:pt x="898904" y="681882"/>
                    <a:pt x="876737" y="682534"/>
                    <a:pt x="863698" y="675369"/>
                  </a:cubicBezTo>
                  <a:lnTo>
                    <a:pt x="521419" y="478027"/>
                  </a:lnTo>
                  <a:cubicBezTo>
                    <a:pt x="508380" y="470211"/>
                    <a:pt x="509684" y="457836"/>
                    <a:pt x="524679" y="449370"/>
                  </a:cubicBezTo>
                  <a:lnTo>
                    <a:pt x="682453" y="358188"/>
                  </a:lnTo>
                  <a:cubicBezTo>
                    <a:pt x="689950" y="353955"/>
                    <a:pt x="699241" y="351675"/>
                    <a:pt x="708205" y="351349"/>
                  </a:cubicBezTo>
                  <a:close/>
                  <a:moveTo>
                    <a:pt x="1912808" y="325424"/>
                  </a:moveTo>
                  <a:cubicBezTo>
                    <a:pt x="1921879" y="325099"/>
                    <a:pt x="1930705" y="326724"/>
                    <a:pt x="1937242" y="330299"/>
                  </a:cubicBezTo>
                  <a:lnTo>
                    <a:pt x="2096099" y="421954"/>
                  </a:lnTo>
                  <a:cubicBezTo>
                    <a:pt x="2109173" y="429104"/>
                    <a:pt x="2107866" y="442105"/>
                    <a:pt x="2092830" y="450555"/>
                  </a:cubicBezTo>
                  <a:lnTo>
                    <a:pt x="2040531" y="480457"/>
                  </a:lnTo>
                  <a:cubicBezTo>
                    <a:pt x="2025496" y="488907"/>
                    <a:pt x="2003269" y="489557"/>
                    <a:pt x="1990848" y="482407"/>
                  </a:cubicBezTo>
                  <a:lnTo>
                    <a:pt x="1831337" y="390752"/>
                  </a:lnTo>
                  <a:cubicBezTo>
                    <a:pt x="1818916" y="383602"/>
                    <a:pt x="1820223" y="370601"/>
                    <a:pt x="1835259" y="362151"/>
                  </a:cubicBezTo>
                  <a:lnTo>
                    <a:pt x="1886904" y="332249"/>
                  </a:lnTo>
                  <a:cubicBezTo>
                    <a:pt x="1894422" y="328024"/>
                    <a:pt x="1903738" y="325749"/>
                    <a:pt x="1912808" y="325424"/>
                  </a:cubicBezTo>
                  <a:close/>
                  <a:moveTo>
                    <a:pt x="1449323" y="227493"/>
                  </a:moveTo>
                  <a:cubicBezTo>
                    <a:pt x="1458327" y="227168"/>
                    <a:pt x="1467003" y="228794"/>
                    <a:pt x="1473224" y="232369"/>
                  </a:cubicBezTo>
                  <a:lnTo>
                    <a:pt x="1633002" y="324037"/>
                  </a:lnTo>
                  <a:cubicBezTo>
                    <a:pt x="1645444" y="331188"/>
                    <a:pt x="1644134" y="343540"/>
                    <a:pt x="1629073" y="352642"/>
                  </a:cubicBezTo>
                  <a:lnTo>
                    <a:pt x="1471259" y="443009"/>
                  </a:lnTo>
                  <a:cubicBezTo>
                    <a:pt x="1456198" y="451461"/>
                    <a:pt x="1433934" y="452111"/>
                    <a:pt x="1421492" y="444960"/>
                  </a:cubicBezTo>
                  <a:lnTo>
                    <a:pt x="1261714" y="353292"/>
                  </a:lnTo>
                  <a:cubicBezTo>
                    <a:pt x="1248617" y="346141"/>
                    <a:pt x="1249927" y="333138"/>
                    <a:pt x="1264988" y="324687"/>
                  </a:cubicBezTo>
                  <a:lnTo>
                    <a:pt x="1423457" y="234320"/>
                  </a:lnTo>
                  <a:cubicBezTo>
                    <a:pt x="1430988" y="230094"/>
                    <a:pt x="1440319" y="227819"/>
                    <a:pt x="1449323" y="227493"/>
                  </a:cubicBezTo>
                  <a:close/>
                  <a:moveTo>
                    <a:pt x="947556" y="213501"/>
                  </a:moveTo>
                  <a:cubicBezTo>
                    <a:pt x="956611" y="213094"/>
                    <a:pt x="965421" y="214721"/>
                    <a:pt x="971948" y="218624"/>
                  </a:cubicBezTo>
                  <a:lnTo>
                    <a:pt x="1249314" y="378020"/>
                  </a:lnTo>
                  <a:cubicBezTo>
                    <a:pt x="1262366" y="385827"/>
                    <a:pt x="1260408" y="398189"/>
                    <a:pt x="1246051" y="406647"/>
                  </a:cubicBezTo>
                  <a:lnTo>
                    <a:pt x="1088768" y="497730"/>
                  </a:lnTo>
                  <a:cubicBezTo>
                    <a:pt x="1073757" y="506188"/>
                    <a:pt x="1051568" y="506838"/>
                    <a:pt x="1038515" y="499682"/>
                  </a:cubicBezTo>
                  <a:lnTo>
                    <a:pt x="760497" y="339635"/>
                  </a:lnTo>
                  <a:cubicBezTo>
                    <a:pt x="747444" y="332479"/>
                    <a:pt x="749402" y="319467"/>
                    <a:pt x="764412" y="311009"/>
                  </a:cubicBezTo>
                  <a:lnTo>
                    <a:pt x="921695" y="220576"/>
                  </a:lnTo>
                  <a:cubicBezTo>
                    <a:pt x="929200" y="216347"/>
                    <a:pt x="938500" y="213907"/>
                    <a:pt x="947556" y="213501"/>
                  </a:cubicBezTo>
                  <a:close/>
                  <a:moveTo>
                    <a:pt x="1668066" y="184731"/>
                  </a:moveTo>
                  <a:cubicBezTo>
                    <a:pt x="1677055" y="184319"/>
                    <a:pt x="1685880" y="185966"/>
                    <a:pt x="1692417" y="189918"/>
                  </a:cubicBezTo>
                  <a:lnTo>
                    <a:pt x="1851274" y="282133"/>
                  </a:lnTo>
                  <a:cubicBezTo>
                    <a:pt x="1864348" y="290037"/>
                    <a:pt x="1863041" y="302552"/>
                    <a:pt x="1848005" y="311115"/>
                  </a:cubicBezTo>
                  <a:lnTo>
                    <a:pt x="1796360" y="341414"/>
                  </a:lnTo>
                  <a:cubicBezTo>
                    <a:pt x="1781325" y="350636"/>
                    <a:pt x="1758444" y="351294"/>
                    <a:pt x="1746023" y="344049"/>
                  </a:cubicBezTo>
                  <a:lnTo>
                    <a:pt x="1586513" y="251175"/>
                  </a:lnTo>
                  <a:cubicBezTo>
                    <a:pt x="1574092" y="243271"/>
                    <a:pt x="1575399" y="230756"/>
                    <a:pt x="1590435" y="222193"/>
                  </a:cubicBezTo>
                  <a:lnTo>
                    <a:pt x="1642734" y="191894"/>
                  </a:lnTo>
                  <a:cubicBezTo>
                    <a:pt x="1649925" y="187613"/>
                    <a:pt x="1659077" y="185143"/>
                    <a:pt x="1668066" y="184731"/>
                  </a:cubicBezTo>
                  <a:close/>
                  <a:moveTo>
                    <a:pt x="1203925" y="83583"/>
                  </a:moveTo>
                  <a:cubicBezTo>
                    <a:pt x="1213010" y="83172"/>
                    <a:pt x="1221851" y="84814"/>
                    <a:pt x="1228399" y="88424"/>
                  </a:cubicBezTo>
                  <a:lnTo>
                    <a:pt x="1387523" y="180988"/>
                  </a:lnTo>
                  <a:cubicBezTo>
                    <a:pt x="1400619" y="188865"/>
                    <a:pt x="1399310" y="201339"/>
                    <a:pt x="1384248" y="210529"/>
                  </a:cubicBezTo>
                  <a:lnTo>
                    <a:pt x="1225779" y="301780"/>
                  </a:lnTo>
                  <a:cubicBezTo>
                    <a:pt x="1210718" y="310314"/>
                    <a:pt x="1189109" y="310971"/>
                    <a:pt x="1176012" y="303749"/>
                  </a:cubicBezTo>
                  <a:lnTo>
                    <a:pt x="1016234" y="211186"/>
                  </a:lnTo>
                  <a:cubicBezTo>
                    <a:pt x="1003792" y="203965"/>
                    <a:pt x="1005102" y="190835"/>
                    <a:pt x="1020163" y="182301"/>
                  </a:cubicBezTo>
                  <a:lnTo>
                    <a:pt x="1177977" y="91050"/>
                  </a:lnTo>
                  <a:cubicBezTo>
                    <a:pt x="1185508" y="86455"/>
                    <a:pt x="1194839" y="83993"/>
                    <a:pt x="1203925" y="83583"/>
                  </a:cubicBezTo>
                  <a:close/>
                  <a:moveTo>
                    <a:pt x="1348596" y="61"/>
                  </a:moveTo>
                  <a:cubicBezTo>
                    <a:pt x="1357667" y="-350"/>
                    <a:pt x="1366492" y="1297"/>
                    <a:pt x="1372703" y="4919"/>
                  </a:cubicBezTo>
                  <a:lnTo>
                    <a:pt x="1532213" y="97793"/>
                  </a:lnTo>
                  <a:cubicBezTo>
                    <a:pt x="1544634" y="105038"/>
                    <a:pt x="1543327" y="118212"/>
                    <a:pt x="1528945" y="126775"/>
                  </a:cubicBezTo>
                  <a:lnTo>
                    <a:pt x="1476646" y="157074"/>
                  </a:lnTo>
                  <a:cubicBezTo>
                    <a:pt x="1461610" y="166296"/>
                    <a:pt x="1439383" y="166954"/>
                    <a:pt x="1426309" y="159709"/>
                  </a:cubicBezTo>
                  <a:lnTo>
                    <a:pt x="1267452" y="66835"/>
                  </a:lnTo>
                  <a:cubicBezTo>
                    <a:pt x="1254377" y="59590"/>
                    <a:pt x="1256338" y="46416"/>
                    <a:pt x="1270720" y="37853"/>
                  </a:cubicBezTo>
                  <a:lnTo>
                    <a:pt x="1323019" y="7554"/>
                  </a:lnTo>
                  <a:cubicBezTo>
                    <a:pt x="1330210" y="2943"/>
                    <a:pt x="1339526" y="473"/>
                    <a:pt x="1348596" y="61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1" name="Freeform 333">
              <a:extLst>
                <a:ext uri="{FF2B5EF4-FFF2-40B4-BE49-F238E27FC236}">
                  <a16:creationId xmlns:a16="http://schemas.microsoft.com/office/drawing/2014/main" id="{B2FECD83-B05E-594C-8E8C-8CB19EC2B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9721" y="9715262"/>
              <a:ext cx="2292721" cy="1347982"/>
            </a:xfrm>
            <a:custGeom>
              <a:avLst/>
              <a:gdLst>
                <a:gd name="T0" fmla="*/ 1965 w 3508"/>
                <a:gd name="T1" fmla="*/ 1985 h 2064"/>
                <a:gd name="T2" fmla="*/ 1965 w 3508"/>
                <a:gd name="T3" fmla="*/ 1985 h 2064"/>
                <a:gd name="T4" fmla="*/ 2162 w 3508"/>
                <a:gd name="T5" fmla="*/ 1975 h 2064"/>
                <a:gd name="T6" fmla="*/ 3407 w 3508"/>
                <a:gd name="T7" fmla="*/ 1256 h 2064"/>
                <a:gd name="T8" fmla="*/ 3407 w 3508"/>
                <a:gd name="T9" fmla="*/ 1256 h 2064"/>
                <a:gd name="T10" fmla="*/ 3448 w 3508"/>
                <a:gd name="T11" fmla="*/ 1207 h 2064"/>
                <a:gd name="T12" fmla="*/ 3448 w 3508"/>
                <a:gd name="T13" fmla="*/ 1207 h 2064"/>
                <a:gd name="T14" fmla="*/ 3423 w 3508"/>
                <a:gd name="T15" fmla="*/ 1176 h 2064"/>
                <a:gd name="T16" fmla="*/ 1542 w 3508"/>
                <a:gd name="T17" fmla="*/ 90 h 2064"/>
                <a:gd name="T18" fmla="*/ 1542 w 3508"/>
                <a:gd name="T19" fmla="*/ 90 h 2064"/>
                <a:gd name="T20" fmla="*/ 1345 w 3508"/>
                <a:gd name="T21" fmla="*/ 100 h 2064"/>
                <a:gd name="T22" fmla="*/ 99 w 3508"/>
                <a:gd name="T23" fmla="*/ 819 h 2064"/>
                <a:gd name="T24" fmla="*/ 99 w 3508"/>
                <a:gd name="T25" fmla="*/ 819 h 2064"/>
                <a:gd name="T26" fmla="*/ 59 w 3508"/>
                <a:gd name="T27" fmla="*/ 867 h 2064"/>
                <a:gd name="T28" fmla="*/ 59 w 3508"/>
                <a:gd name="T29" fmla="*/ 867 h 2064"/>
                <a:gd name="T30" fmla="*/ 83 w 3508"/>
                <a:gd name="T31" fmla="*/ 898 h 2064"/>
                <a:gd name="T32" fmla="*/ 1965 w 3508"/>
                <a:gd name="T33" fmla="*/ 1985 h 2064"/>
                <a:gd name="T34" fmla="*/ 2048 w 3508"/>
                <a:gd name="T35" fmla="*/ 2063 h 2064"/>
                <a:gd name="T36" fmla="*/ 2048 w 3508"/>
                <a:gd name="T37" fmla="*/ 2063 h 2064"/>
                <a:gd name="T38" fmla="*/ 1935 w 3508"/>
                <a:gd name="T39" fmla="*/ 2035 h 2064"/>
                <a:gd name="T40" fmla="*/ 1935 w 3508"/>
                <a:gd name="T41" fmla="*/ 2035 h 2064"/>
                <a:gd name="T42" fmla="*/ 53 w 3508"/>
                <a:gd name="T43" fmla="*/ 950 h 2064"/>
                <a:gd name="T44" fmla="*/ 53 w 3508"/>
                <a:gd name="T45" fmla="*/ 950 h 2064"/>
                <a:gd name="T46" fmla="*/ 0 w 3508"/>
                <a:gd name="T47" fmla="*/ 867 h 2064"/>
                <a:gd name="T48" fmla="*/ 0 w 3508"/>
                <a:gd name="T49" fmla="*/ 867 h 2064"/>
                <a:gd name="T50" fmla="*/ 70 w 3508"/>
                <a:gd name="T51" fmla="*/ 767 h 2064"/>
                <a:gd name="T52" fmla="*/ 1316 w 3508"/>
                <a:gd name="T53" fmla="*/ 49 h 2064"/>
                <a:gd name="T54" fmla="*/ 1316 w 3508"/>
                <a:gd name="T55" fmla="*/ 49 h 2064"/>
                <a:gd name="T56" fmla="*/ 1572 w 3508"/>
                <a:gd name="T57" fmla="*/ 39 h 2064"/>
                <a:gd name="T58" fmla="*/ 3453 w 3508"/>
                <a:gd name="T59" fmla="*/ 1125 h 2064"/>
                <a:gd name="T60" fmla="*/ 3453 w 3508"/>
                <a:gd name="T61" fmla="*/ 1125 h 2064"/>
                <a:gd name="T62" fmla="*/ 3507 w 3508"/>
                <a:gd name="T63" fmla="*/ 1207 h 2064"/>
                <a:gd name="T64" fmla="*/ 3507 w 3508"/>
                <a:gd name="T65" fmla="*/ 1207 h 2064"/>
                <a:gd name="T66" fmla="*/ 3437 w 3508"/>
                <a:gd name="T67" fmla="*/ 1307 h 2064"/>
                <a:gd name="T68" fmla="*/ 2191 w 3508"/>
                <a:gd name="T69" fmla="*/ 2026 h 2064"/>
                <a:gd name="T70" fmla="*/ 2191 w 3508"/>
                <a:gd name="T71" fmla="*/ 2026 h 2064"/>
                <a:gd name="T72" fmla="*/ 2048 w 3508"/>
                <a:gd name="T73" fmla="*/ 2063 h 2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08" h="2064">
                  <a:moveTo>
                    <a:pt x="1965" y="1985"/>
                  </a:moveTo>
                  <a:lnTo>
                    <a:pt x="1965" y="1985"/>
                  </a:lnTo>
                  <a:cubicBezTo>
                    <a:pt x="2013" y="2013"/>
                    <a:pt x="2104" y="2009"/>
                    <a:pt x="2162" y="1975"/>
                  </a:cubicBezTo>
                  <a:lnTo>
                    <a:pt x="3407" y="1256"/>
                  </a:lnTo>
                  <a:lnTo>
                    <a:pt x="3407" y="1256"/>
                  </a:lnTo>
                  <a:cubicBezTo>
                    <a:pt x="3433" y="1241"/>
                    <a:pt x="3448" y="1223"/>
                    <a:pt x="3448" y="1207"/>
                  </a:cubicBezTo>
                  <a:lnTo>
                    <a:pt x="3448" y="1207"/>
                  </a:lnTo>
                  <a:cubicBezTo>
                    <a:pt x="3448" y="1193"/>
                    <a:pt x="3433" y="1182"/>
                    <a:pt x="3423" y="1176"/>
                  </a:cubicBezTo>
                  <a:lnTo>
                    <a:pt x="1542" y="90"/>
                  </a:lnTo>
                  <a:lnTo>
                    <a:pt x="1542" y="90"/>
                  </a:lnTo>
                  <a:cubicBezTo>
                    <a:pt x="1493" y="61"/>
                    <a:pt x="1402" y="66"/>
                    <a:pt x="1345" y="100"/>
                  </a:cubicBezTo>
                  <a:lnTo>
                    <a:pt x="99" y="819"/>
                  </a:lnTo>
                  <a:lnTo>
                    <a:pt x="99" y="819"/>
                  </a:lnTo>
                  <a:cubicBezTo>
                    <a:pt x="74" y="833"/>
                    <a:pt x="59" y="851"/>
                    <a:pt x="59" y="867"/>
                  </a:cubicBezTo>
                  <a:lnTo>
                    <a:pt x="59" y="867"/>
                  </a:lnTo>
                  <a:cubicBezTo>
                    <a:pt x="59" y="882"/>
                    <a:pt x="74" y="893"/>
                    <a:pt x="83" y="898"/>
                  </a:cubicBezTo>
                  <a:lnTo>
                    <a:pt x="1965" y="1985"/>
                  </a:lnTo>
                  <a:close/>
                  <a:moveTo>
                    <a:pt x="2048" y="2063"/>
                  </a:moveTo>
                  <a:lnTo>
                    <a:pt x="2048" y="2063"/>
                  </a:lnTo>
                  <a:cubicBezTo>
                    <a:pt x="2006" y="2063"/>
                    <a:pt x="1966" y="2054"/>
                    <a:pt x="1935" y="2035"/>
                  </a:cubicBezTo>
                  <a:lnTo>
                    <a:pt x="1935" y="2035"/>
                  </a:lnTo>
                  <a:lnTo>
                    <a:pt x="53" y="950"/>
                  </a:lnTo>
                  <a:lnTo>
                    <a:pt x="53" y="950"/>
                  </a:lnTo>
                  <a:cubicBezTo>
                    <a:pt x="19" y="930"/>
                    <a:pt x="0" y="900"/>
                    <a:pt x="0" y="867"/>
                  </a:cubicBezTo>
                  <a:lnTo>
                    <a:pt x="0" y="867"/>
                  </a:lnTo>
                  <a:cubicBezTo>
                    <a:pt x="0" y="830"/>
                    <a:pt x="25" y="793"/>
                    <a:pt x="70" y="767"/>
                  </a:cubicBezTo>
                  <a:lnTo>
                    <a:pt x="1316" y="49"/>
                  </a:lnTo>
                  <a:lnTo>
                    <a:pt x="1316" y="49"/>
                  </a:lnTo>
                  <a:cubicBezTo>
                    <a:pt x="1392" y="4"/>
                    <a:pt x="1504" y="0"/>
                    <a:pt x="1572" y="39"/>
                  </a:cubicBezTo>
                  <a:lnTo>
                    <a:pt x="3453" y="1125"/>
                  </a:lnTo>
                  <a:lnTo>
                    <a:pt x="3453" y="1125"/>
                  </a:lnTo>
                  <a:cubicBezTo>
                    <a:pt x="3488" y="1145"/>
                    <a:pt x="3507" y="1174"/>
                    <a:pt x="3507" y="1207"/>
                  </a:cubicBezTo>
                  <a:lnTo>
                    <a:pt x="3507" y="1207"/>
                  </a:lnTo>
                  <a:cubicBezTo>
                    <a:pt x="3507" y="1245"/>
                    <a:pt x="3482" y="1281"/>
                    <a:pt x="3437" y="1307"/>
                  </a:cubicBezTo>
                  <a:lnTo>
                    <a:pt x="2191" y="2026"/>
                  </a:lnTo>
                  <a:lnTo>
                    <a:pt x="2191" y="2026"/>
                  </a:lnTo>
                  <a:cubicBezTo>
                    <a:pt x="2150" y="2050"/>
                    <a:pt x="2098" y="2063"/>
                    <a:pt x="2048" y="20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2" name="Freeform 501">
              <a:extLst>
                <a:ext uri="{FF2B5EF4-FFF2-40B4-BE49-F238E27FC236}">
                  <a16:creationId xmlns:a16="http://schemas.microsoft.com/office/drawing/2014/main" id="{C0DDD808-2141-C148-BFA9-3DF3F4C3F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9639" y="9982582"/>
              <a:ext cx="945436" cy="602836"/>
            </a:xfrm>
            <a:custGeom>
              <a:avLst/>
              <a:gdLst>
                <a:gd name="connsiteX0" fmla="*/ 281692 w 945436"/>
                <a:gd name="connsiteY0" fmla="*/ 526729 h 602836"/>
                <a:gd name="connsiteX1" fmla="*/ 304108 w 945436"/>
                <a:gd name="connsiteY1" fmla="*/ 532630 h 602836"/>
                <a:gd name="connsiteX2" fmla="*/ 307345 w 945436"/>
                <a:gd name="connsiteY2" fmla="*/ 557546 h 602836"/>
                <a:gd name="connsiteX3" fmla="*/ 234836 w 945436"/>
                <a:gd name="connsiteY3" fmla="*/ 598853 h 602836"/>
                <a:gd name="connsiteX4" fmla="*/ 191459 w 945436"/>
                <a:gd name="connsiteY4" fmla="*/ 596886 h 602836"/>
                <a:gd name="connsiteX5" fmla="*/ 188870 w 945436"/>
                <a:gd name="connsiteY5" fmla="*/ 571971 h 602836"/>
                <a:gd name="connsiteX6" fmla="*/ 260732 w 945436"/>
                <a:gd name="connsiteY6" fmla="*/ 530663 h 602836"/>
                <a:gd name="connsiteX7" fmla="*/ 281692 w 945436"/>
                <a:gd name="connsiteY7" fmla="*/ 526729 h 602836"/>
                <a:gd name="connsiteX8" fmla="*/ 912177 w 945436"/>
                <a:gd name="connsiteY8" fmla="*/ 394327 h 602836"/>
                <a:gd name="connsiteX9" fmla="*/ 934774 w 945436"/>
                <a:gd name="connsiteY9" fmla="*/ 400173 h 602836"/>
                <a:gd name="connsiteX10" fmla="*/ 937384 w 945436"/>
                <a:gd name="connsiteY10" fmla="*/ 425862 h 602836"/>
                <a:gd name="connsiteX11" fmla="*/ 708316 w 945436"/>
                <a:gd name="connsiteY11" fmla="*/ 554963 h 602836"/>
                <a:gd name="connsiteX12" fmla="*/ 664591 w 945436"/>
                <a:gd name="connsiteY12" fmla="*/ 552986 h 602836"/>
                <a:gd name="connsiteX13" fmla="*/ 661327 w 945436"/>
                <a:gd name="connsiteY13" fmla="*/ 528615 h 602836"/>
                <a:gd name="connsiteX14" fmla="*/ 891049 w 945436"/>
                <a:gd name="connsiteY14" fmla="*/ 398856 h 602836"/>
                <a:gd name="connsiteX15" fmla="*/ 912177 w 945436"/>
                <a:gd name="connsiteY15" fmla="*/ 394327 h 602836"/>
                <a:gd name="connsiteX16" fmla="*/ 564235 w 945436"/>
                <a:gd name="connsiteY16" fmla="*/ 368386 h 602836"/>
                <a:gd name="connsiteX17" fmla="*/ 586879 w 945436"/>
                <a:gd name="connsiteY17" fmla="*/ 374175 h 602836"/>
                <a:gd name="connsiteX18" fmla="*/ 589495 w 945436"/>
                <a:gd name="connsiteY18" fmla="*/ 399618 h 602836"/>
                <a:gd name="connsiteX19" fmla="*/ 388723 w 945436"/>
                <a:gd name="connsiteY19" fmla="*/ 511826 h 602836"/>
                <a:gd name="connsiteX20" fmla="*/ 344253 w 945436"/>
                <a:gd name="connsiteY20" fmla="*/ 509869 h 602836"/>
                <a:gd name="connsiteX21" fmla="*/ 341637 w 945436"/>
                <a:gd name="connsiteY21" fmla="*/ 485079 h 602836"/>
                <a:gd name="connsiteX22" fmla="*/ 543063 w 945436"/>
                <a:gd name="connsiteY22" fmla="*/ 372871 h 602836"/>
                <a:gd name="connsiteX23" fmla="*/ 564235 w 945436"/>
                <a:gd name="connsiteY23" fmla="*/ 368386 h 602836"/>
                <a:gd name="connsiteX24" fmla="*/ 206448 w 945436"/>
                <a:gd name="connsiteY24" fmla="*/ 345251 h 602836"/>
                <a:gd name="connsiteX25" fmla="*/ 229078 w 945436"/>
                <a:gd name="connsiteY25" fmla="*/ 351093 h 602836"/>
                <a:gd name="connsiteX26" fmla="*/ 232346 w 945436"/>
                <a:gd name="connsiteY26" fmla="*/ 375758 h 602836"/>
                <a:gd name="connsiteX27" fmla="*/ 54572 w 945436"/>
                <a:gd name="connsiteY27" fmla="*/ 474419 h 602836"/>
                <a:gd name="connsiteX28" fmla="*/ 10783 w 945436"/>
                <a:gd name="connsiteY28" fmla="*/ 472472 h 602836"/>
                <a:gd name="connsiteX29" fmla="*/ 7515 w 945436"/>
                <a:gd name="connsiteY29" fmla="*/ 447807 h 602836"/>
                <a:gd name="connsiteX30" fmla="*/ 185288 w 945436"/>
                <a:gd name="connsiteY30" fmla="*/ 349146 h 602836"/>
                <a:gd name="connsiteX31" fmla="*/ 206448 w 945436"/>
                <a:gd name="connsiteY31" fmla="*/ 345251 h 602836"/>
                <a:gd name="connsiteX32" fmla="*/ 817024 w 945436"/>
                <a:gd name="connsiteY32" fmla="*/ 339588 h 602836"/>
                <a:gd name="connsiteX33" fmla="*/ 839062 w 945436"/>
                <a:gd name="connsiteY33" fmla="*/ 346049 h 602836"/>
                <a:gd name="connsiteX34" fmla="*/ 842980 w 945436"/>
                <a:gd name="connsiteY34" fmla="*/ 370257 h 602836"/>
                <a:gd name="connsiteX35" fmla="*/ 492326 w 945436"/>
                <a:gd name="connsiteY35" fmla="*/ 567186 h 602836"/>
                <a:gd name="connsiteX36" fmla="*/ 449229 w 945436"/>
                <a:gd name="connsiteY36" fmla="*/ 565224 h 602836"/>
                <a:gd name="connsiteX37" fmla="*/ 445311 w 945436"/>
                <a:gd name="connsiteY37" fmla="*/ 540362 h 602836"/>
                <a:gd name="connsiteX38" fmla="*/ 795965 w 945436"/>
                <a:gd name="connsiteY38" fmla="*/ 343432 h 602836"/>
                <a:gd name="connsiteX39" fmla="*/ 817024 w 945436"/>
                <a:gd name="connsiteY39" fmla="*/ 339588 h 602836"/>
                <a:gd name="connsiteX40" fmla="*/ 717024 w 945436"/>
                <a:gd name="connsiteY40" fmla="*/ 281953 h 602836"/>
                <a:gd name="connsiteX41" fmla="*/ 739588 w 945436"/>
                <a:gd name="connsiteY41" fmla="*/ 287679 h 602836"/>
                <a:gd name="connsiteX42" fmla="*/ 742194 w 945436"/>
                <a:gd name="connsiteY42" fmla="*/ 312841 h 602836"/>
                <a:gd name="connsiteX43" fmla="*/ 667254 w 945436"/>
                <a:gd name="connsiteY43" fmla="*/ 354133 h 602836"/>
                <a:gd name="connsiteX44" fmla="*/ 623594 w 945436"/>
                <a:gd name="connsiteY44" fmla="*/ 352198 h 602836"/>
                <a:gd name="connsiteX45" fmla="*/ 620987 w 945436"/>
                <a:gd name="connsiteY45" fmla="*/ 327681 h 602836"/>
                <a:gd name="connsiteX46" fmla="*/ 695927 w 945436"/>
                <a:gd name="connsiteY46" fmla="*/ 286389 h 602836"/>
                <a:gd name="connsiteX47" fmla="*/ 717024 w 945436"/>
                <a:gd name="connsiteY47" fmla="*/ 281953 h 602836"/>
                <a:gd name="connsiteX48" fmla="*/ 405208 w 945436"/>
                <a:gd name="connsiteY48" fmla="*/ 233070 h 602836"/>
                <a:gd name="connsiteX49" fmla="*/ 427827 w 945436"/>
                <a:gd name="connsiteY49" fmla="*/ 239368 h 602836"/>
                <a:gd name="connsiteX50" fmla="*/ 431093 w 945436"/>
                <a:gd name="connsiteY50" fmla="*/ 263911 h 602836"/>
                <a:gd name="connsiteX51" fmla="*/ 310239 w 945436"/>
                <a:gd name="connsiteY51" fmla="*/ 330438 h 602836"/>
                <a:gd name="connsiteX52" fmla="*/ 267124 w 945436"/>
                <a:gd name="connsiteY52" fmla="*/ 328501 h 602836"/>
                <a:gd name="connsiteX53" fmla="*/ 263857 w 945436"/>
                <a:gd name="connsiteY53" fmla="*/ 303957 h 602836"/>
                <a:gd name="connsiteX54" fmla="*/ 384058 w 945436"/>
                <a:gd name="connsiteY54" fmla="*/ 237430 h 602836"/>
                <a:gd name="connsiteX55" fmla="*/ 405208 w 945436"/>
                <a:gd name="connsiteY55" fmla="*/ 233070 h 602836"/>
                <a:gd name="connsiteX56" fmla="*/ 618308 w 945436"/>
                <a:gd name="connsiteY56" fmla="*/ 227258 h 602836"/>
                <a:gd name="connsiteX57" fmla="*/ 640952 w 945436"/>
                <a:gd name="connsiteY57" fmla="*/ 233728 h 602836"/>
                <a:gd name="connsiteX58" fmla="*/ 644222 w 945436"/>
                <a:gd name="connsiteY58" fmla="*/ 257970 h 602836"/>
                <a:gd name="connsiteX59" fmla="*/ 442796 w 945436"/>
                <a:gd name="connsiteY59" fmla="*/ 371316 h 602836"/>
                <a:gd name="connsiteX60" fmla="*/ 399634 w 945436"/>
                <a:gd name="connsiteY60" fmla="*/ 368695 h 602836"/>
                <a:gd name="connsiteX61" fmla="*/ 395710 w 945436"/>
                <a:gd name="connsiteY61" fmla="*/ 344454 h 602836"/>
                <a:gd name="connsiteX62" fmla="*/ 597136 w 945436"/>
                <a:gd name="connsiteY62" fmla="*/ 231108 h 602836"/>
                <a:gd name="connsiteX63" fmla="*/ 618308 w 945436"/>
                <a:gd name="connsiteY63" fmla="*/ 227258 h 602836"/>
                <a:gd name="connsiteX64" fmla="*/ 521037 w 945436"/>
                <a:gd name="connsiteY64" fmla="*/ 169535 h 602836"/>
                <a:gd name="connsiteX65" fmla="*/ 543057 w 945436"/>
                <a:gd name="connsiteY65" fmla="*/ 175323 h 602836"/>
                <a:gd name="connsiteX66" fmla="*/ 546319 w 945436"/>
                <a:gd name="connsiteY66" fmla="*/ 199764 h 602836"/>
                <a:gd name="connsiteX67" fmla="*/ 498038 w 945436"/>
                <a:gd name="connsiteY67" fmla="*/ 226778 h 602836"/>
                <a:gd name="connsiteX68" fmla="*/ 454324 w 945436"/>
                <a:gd name="connsiteY68" fmla="*/ 224848 h 602836"/>
                <a:gd name="connsiteX69" fmla="*/ 451714 w 945436"/>
                <a:gd name="connsiteY69" fmla="*/ 199764 h 602836"/>
                <a:gd name="connsiteX70" fmla="*/ 499995 w 945436"/>
                <a:gd name="connsiteY70" fmla="*/ 173394 h 602836"/>
                <a:gd name="connsiteX71" fmla="*/ 521037 w 945436"/>
                <a:gd name="connsiteY71" fmla="*/ 169535 h 602836"/>
                <a:gd name="connsiteX72" fmla="*/ 189256 w 945436"/>
                <a:gd name="connsiteY72" fmla="*/ 132629 h 602836"/>
                <a:gd name="connsiteX73" fmla="*/ 211831 w 945436"/>
                <a:gd name="connsiteY73" fmla="*/ 139373 h 602836"/>
                <a:gd name="connsiteX74" fmla="*/ 215091 w 945436"/>
                <a:gd name="connsiteY74" fmla="*/ 163717 h 602836"/>
                <a:gd name="connsiteX75" fmla="*/ 57311 w 945436"/>
                <a:gd name="connsiteY75" fmla="*/ 253196 h 602836"/>
                <a:gd name="connsiteX76" fmla="*/ 13628 w 945436"/>
                <a:gd name="connsiteY76" fmla="*/ 251222 h 602836"/>
                <a:gd name="connsiteX77" fmla="*/ 10368 w 945436"/>
                <a:gd name="connsiteY77" fmla="*/ 226220 h 602836"/>
                <a:gd name="connsiteX78" fmla="*/ 168148 w 945436"/>
                <a:gd name="connsiteY78" fmla="*/ 136741 h 602836"/>
                <a:gd name="connsiteX79" fmla="*/ 189256 w 945436"/>
                <a:gd name="connsiteY79" fmla="*/ 132629 h 602836"/>
                <a:gd name="connsiteX80" fmla="*/ 422553 w 945436"/>
                <a:gd name="connsiteY80" fmla="*/ 114929 h 602836"/>
                <a:gd name="connsiteX81" fmla="*/ 445134 w 945436"/>
                <a:gd name="connsiteY81" fmla="*/ 121403 h 602836"/>
                <a:gd name="connsiteX82" fmla="*/ 448394 w 945436"/>
                <a:gd name="connsiteY82" fmla="*/ 145659 h 602836"/>
                <a:gd name="connsiteX83" fmla="*/ 207101 w 945436"/>
                <a:gd name="connsiteY83" fmla="*/ 282022 h 602836"/>
                <a:gd name="connsiteX84" fmla="*/ 163407 w 945436"/>
                <a:gd name="connsiteY84" fmla="*/ 280055 h 602836"/>
                <a:gd name="connsiteX85" fmla="*/ 160146 w 945436"/>
                <a:gd name="connsiteY85" fmla="*/ 254487 h 602836"/>
                <a:gd name="connsiteX86" fmla="*/ 401440 w 945436"/>
                <a:gd name="connsiteY86" fmla="*/ 118780 h 602836"/>
                <a:gd name="connsiteX87" fmla="*/ 422553 w 945436"/>
                <a:gd name="connsiteY87" fmla="*/ 114929 h 602836"/>
                <a:gd name="connsiteX88" fmla="*/ 324670 w 945436"/>
                <a:gd name="connsiteY88" fmla="*/ 57203 h 602836"/>
                <a:gd name="connsiteX89" fmla="*/ 347222 w 945436"/>
                <a:gd name="connsiteY89" fmla="*/ 62989 h 602836"/>
                <a:gd name="connsiteX90" fmla="*/ 349828 w 945436"/>
                <a:gd name="connsiteY90" fmla="*/ 87420 h 602836"/>
                <a:gd name="connsiteX91" fmla="*/ 290557 w 945436"/>
                <a:gd name="connsiteY91" fmla="*/ 120209 h 602836"/>
                <a:gd name="connsiteX92" fmla="*/ 246917 w 945436"/>
                <a:gd name="connsiteY92" fmla="*/ 118923 h 602836"/>
                <a:gd name="connsiteX93" fmla="*/ 243661 w 945436"/>
                <a:gd name="connsiteY93" fmla="*/ 93849 h 602836"/>
                <a:gd name="connsiteX94" fmla="*/ 303583 w 945436"/>
                <a:gd name="connsiteY94" fmla="*/ 61060 h 602836"/>
                <a:gd name="connsiteX95" fmla="*/ 324670 w 945436"/>
                <a:gd name="connsiteY95" fmla="*/ 57203 h 602836"/>
                <a:gd name="connsiteX96" fmla="*/ 229349 w 945436"/>
                <a:gd name="connsiteY96" fmla="*/ 98 h 602836"/>
                <a:gd name="connsiteX97" fmla="*/ 252063 w 945436"/>
                <a:gd name="connsiteY97" fmla="*/ 6741 h 602836"/>
                <a:gd name="connsiteX98" fmla="*/ 255343 w 945436"/>
                <a:gd name="connsiteY98" fmla="*/ 30720 h 602836"/>
                <a:gd name="connsiteX99" fmla="*/ 140541 w 945436"/>
                <a:gd name="connsiteY99" fmla="*/ 94230 h 602836"/>
                <a:gd name="connsiteX100" fmla="*/ 96588 w 945436"/>
                <a:gd name="connsiteY100" fmla="*/ 92286 h 602836"/>
                <a:gd name="connsiteX101" fmla="*/ 93964 w 945436"/>
                <a:gd name="connsiteY101" fmla="*/ 67011 h 602836"/>
                <a:gd name="connsiteX102" fmla="*/ 208110 w 945436"/>
                <a:gd name="connsiteY102" fmla="*/ 4149 h 602836"/>
                <a:gd name="connsiteX103" fmla="*/ 229349 w 945436"/>
                <a:gd name="connsiteY103" fmla="*/ 98 h 602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45436" h="602836">
                  <a:moveTo>
                    <a:pt x="281692" y="526729"/>
                  </a:moveTo>
                  <a:cubicBezTo>
                    <a:pt x="289542" y="527057"/>
                    <a:pt x="297634" y="529024"/>
                    <a:pt x="304108" y="532630"/>
                  </a:cubicBezTo>
                  <a:cubicBezTo>
                    <a:pt x="317056" y="539843"/>
                    <a:pt x="318351" y="551645"/>
                    <a:pt x="307345" y="557546"/>
                  </a:cubicBezTo>
                  <a:lnTo>
                    <a:pt x="234836" y="598853"/>
                  </a:lnTo>
                  <a:cubicBezTo>
                    <a:pt x="223830" y="604754"/>
                    <a:pt x="204408" y="604099"/>
                    <a:pt x="191459" y="596886"/>
                  </a:cubicBezTo>
                  <a:cubicBezTo>
                    <a:pt x="178511" y="589018"/>
                    <a:pt x="177864" y="577872"/>
                    <a:pt x="188870" y="571971"/>
                  </a:cubicBezTo>
                  <a:lnTo>
                    <a:pt x="260732" y="530663"/>
                  </a:lnTo>
                  <a:cubicBezTo>
                    <a:pt x="266235" y="527712"/>
                    <a:pt x="273842" y="526401"/>
                    <a:pt x="281692" y="526729"/>
                  </a:cubicBezTo>
                  <a:close/>
                  <a:moveTo>
                    <a:pt x="912177" y="394327"/>
                  </a:moveTo>
                  <a:cubicBezTo>
                    <a:pt x="920090" y="394574"/>
                    <a:pt x="928248" y="396550"/>
                    <a:pt x="934774" y="400173"/>
                  </a:cubicBezTo>
                  <a:cubicBezTo>
                    <a:pt x="947826" y="408077"/>
                    <a:pt x="949131" y="419275"/>
                    <a:pt x="937384" y="425862"/>
                  </a:cubicBezTo>
                  <a:lnTo>
                    <a:pt x="708316" y="554963"/>
                  </a:lnTo>
                  <a:cubicBezTo>
                    <a:pt x="697221" y="561549"/>
                    <a:pt x="677643" y="560891"/>
                    <a:pt x="664591" y="552986"/>
                  </a:cubicBezTo>
                  <a:cubicBezTo>
                    <a:pt x="651538" y="545741"/>
                    <a:pt x="650233" y="534544"/>
                    <a:pt x="661327" y="528615"/>
                  </a:cubicBezTo>
                  <a:lnTo>
                    <a:pt x="891049" y="398856"/>
                  </a:lnTo>
                  <a:cubicBezTo>
                    <a:pt x="896596" y="395562"/>
                    <a:pt x="904264" y="394080"/>
                    <a:pt x="912177" y="394327"/>
                  </a:cubicBezTo>
                  <a:close/>
                  <a:moveTo>
                    <a:pt x="564235" y="368386"/>
                  </a:moveTo>
                  <a:cubicBezTo>
                    <a:pt x="572165" y="368630"/>
                    <a:pt x="580339" y="370587"/>
                    <a:pt x="586879" y="374175"/>
                  </a:cubicBezTo>
                  <a:cubicBezTo>
                    <a:pt x="599305" y="382004"/>
                    <a:pt x="600613" y="393094"/>
                    <a:pt x="589495" y="399618"/>
                  </a:cubicBezTo>
                  <a:lnTo>
                    <a:pt x="388723" y="511826"/>
                  </a:lnTo>
                  <a:cubicBezTo>
                    <a:pt x="376952" y="518350"/>
                    <a:pt x="357332" y="517045"/>
                    <a:pt x="344253" y="509869"/>
                  </a:cubicBezTo>
                  <a:cubicBezTo>
                    <a:pt x="331827" y="502693"/>
                    <a:pt x="330519" y="491602"/>
                    <a:pt x="341637" y="485079"/>
                  </a:cubicBezTo>
                  <a:lnTo>
                    <a:pt x="543063" y="372871"/>
                  </a:lnTo>
                  <a:cubicBezTo>
                    <a:pt x="548621" y="369609"/>
                    <a:pt x="556306" y="368141"/>
                    <a:pt x="564235" y="368386"/>
                  </a:cubicBezTo>
                  <a:close/>
                  <a:moveTo>
                    <a:pt x="206448" y="345251"/>
                  </a:moveTo>
                  <a:cubicBezTo>
                    <a:pt x="214372" y="345576"/>
                    <a:pt x="222542" y="347523"/>
                    <a:pt x="229078" y="351093"/>
                  </a:cubicBezTo>
                  <a:cubicBezTo>
                    <a:pt x="242149" y="358882"/>
                    <a:pt x="243456" y="369267"/>
                    <a:pt x="232346" y="375758"/>
                  </a:cubicBezTo>
                  <a:lnTo>
                    <a:pt x="54572" y="474419"/>
                  </a:lnTo>
                  <a:cubicBezTo>
                    <a:pt x="43462" y="480910"/>
                    <a:pt x="23854" y="479612"/>
                    <a:pt x="10783" y="472472"/>
                  </a:cubicBezTo>
                  <a:cubicBezTo>
                    <a:pt x="-2289" y="464683"/>
                    <a:pt x="-3596" y="454297"/>
                    <a:pt x="7515" y="447807"/>
                  </a:cubicBezTo>
                  <a:lnTo>
                    <a:pt x="185288" y="349146"/>
                  </a:lnTo>
                  <a:cubicBezTo>
                    <a:pt x="190844" y="346225"/>
                    <a:pt x="198523" y="344927"/>
                    <a:pt x="206448" y="345251"/>
                  </a:cubicBezTo>
                  <a:close/>
                  <a:moveTo>
                    <a:pt x="817024" y="339588"/>
                  </a:moveTo>
                  <a:cubicBezTo>
                    <a:pt x="824860" y="339997"/>
                    <a:pt x="832859" y="342124"/>
                    <a:pt x="839062" y="346049"/>
                  </a:cubicBezTo>
                  <a:cubicBezTo>
                    <a:pt x="852122" y="353246"/>
                    <a:pt x="854081" y="364368"/>
                    <a:pt x="842980" y="370257"/>
                  </a:cubicBezTo>
                  <a:lnTo>
                    <a:pt x="492326" y="567186"/>
                  </a:lnTo>
                  <a:cubicBezTo>
                    <a:pt x="481225" y="573075"/>
                    <a:pt x="461635" y="572420"/>
                    <a:pt x="449229" y="565224"/>
                  </a:cubicBezTo>
                  <a:cubicBezTo>
                    <a:pt x="436169" y="557373"/>
                    <a:pt x="434210" y="546250"/>
                    <a:pt x="445311" y="540362"/>
                  </a:cubicBezTo>
                  <a:lnTo>
                    <a:pt x="795965" y="343432"/>
                  </a:lnTo>
                  <a:cubicBezTo>
                    <a:pt x="801516" y="340488"/>
                    <a:pt x="809188" y="339180"/>
                    <a:pt x="817024" y="339588"/>
                  </a:cubicBezTo>
                  <a:close/>
                  <a:moveTo>
                    <a:pt x="717024" y="281953"/>
                  </a:moveTo>
                  <a:cubicBezTo>
                    <a:pt x="724926" y="282195"/>
                    <a:pt x="733072" y="284131"/>
                    <a:pt x="739588" y="287679"/>
                  </a:cubicBezTo>
                  <a:cubicBezTo>
                    <a:pt x="751969" y="295421"/>
                    <a:pt x="753272" y="306390"/>
                    <a:pt x="742194" y="312841"/>
                  </a:cubicBezTo>
                  <a:lnTo>
                    <a:pt x="667254" y="354133"/>
                  </a:lnTo>
                  <a:cubicBezTo>
                    <a:pt x="656176" y="359940"/>
                    <a:pt x="636627" y="359295"/>
                    <a:pt x="623594" y="352198"/>
                  </a:cubicBezTo>
                  <a:cubicBezTo>
                    <a:pt x="610561" y="345101"/>
                    <a:pt x="609909" y="333487"/>
                    <a:pt x="620987" y="327681"/>
                  </a:cubicBezTo>
                  <a:lnTo>
                    <a:pt x="695927" y="286389"/>
                  </a:lnTo>
                  <a:cubicBezTo>
                    <a:pt x="701466" y="283163"/>
                    <a:pt x="709123" y="281711"/>
                    <a:pt x="717024" y="281953"/>
                  </a:cubicBezTo>
                  <a:close/>
                  <a:moveTo>
                    <a:pt x="405208" y="233070"/>
                  </a:moveTo>
                  <a:cubicBezTo>
                    <a:pt x="413129" y="233393"/>
                    <a:pt x="421295" y="235492"/>
                    <a:pt x="427827" y="239368"/>
                  </a:cubicBezTo>
                  <a:cubicBezTo>
                    <a:pt x="440892" y="246472"/>
                    <a:pt x="442199" y="257453"/>
                    <a:pt x="431093" y="263911"/>
                  </a:cubicBezTo>
                  <a:lnTo>
                    <a:pt x="310239" y="330438"/>
                  </a:lnTo>
                  <a:cubicBezTo>
                    <a:pt x="299134" y="336897"/>
                    <a:pt x="280189" y="335605"/>
                    <a:pt x="267124" y="328501"/>
                  </a:cubicBezTo>
                  <a:cubicBezTo>
                    <a:pt x="254059" y="320750"/>
                    <a:pt x="252752" y="309770"/>
                    <a:pt x="263857" y="303957"/>
                  </a:cubicBezTo>
                  <a:lnTo>
                    <a:pt x="384058" y="237430"/>
                  </a:lnTo>
                  <a:cubicBezTo>
                    <a:pt x="389611" y="234201"/>
                    <a:pt x="397287" y="232747"/>
                    <a:pt x="405208" y="233070"/>
                  </a:cubicBezTo>
                  <a:close/>
                  <a:moveTo>
                    <a:pt x="618308" y="227258"/>
                  </a:moveTo>
                  <a:cubicBezTo>
                    <a:pt x="626238" y="227668"/>
                    <a:pt x="634413" y="229797"/>
                    <a:pt x="640952" y="233728"/>
                  </a:cubicBezTo>
                  <a:cubicBezTo>
                    <a:pt x="654032" y="240935"/>
                    <a:pt x="655340" y="252073"/>
                    <a:pt x="644222" y="257970"/>
                  </a:cubicBezTo>
                  <a:lnTo>
                    <a:pt x="442796" y="371316"/>
                  </a:lnTo>
                  <a:cubicBezTo>
                    <a:pt x="431679" y="377213"/>
                    <a:pt x="412059" y="376558"/>
                    <a:pt x="399634" y="368695"/>
                  </a:cubicBezTo>
                  <a:cubicBezTo>
                    <a:pt x="386554" y="361488"/>
                    <a:pt x="385246" y="350350"/>
                    <a:pt x="395710" y="344454"/>
                  </a:cubicBezTo>
                  <a:lnTo>
                    <a:pt x="597136" y="231108"/>
                  </a:lnTo>
                  <a:cubicBezTo>
                    <a:pt x="602695" y="228160"/>
                    <a:pt x="610379" y="226849"/>
                    <a:pt x="618308" y="227258"/>
                  </a:cubicBezTo>
                  <a:close/>
                  <a:moveTo>
                    <a:pt x="521037" y="169535"/>
                  </a:moveTo>
                  <a:cubicBezTo>
                    <a:pt x="528866" y="169856"/>
                    <a:pt x="536858" y="171786"/>
                    <a:pt x="543057" y="175323"/>
                  </a:cubicBezTo>
                  <a:cubicBezTo>
                    <a:pt x="556106" y="183041"/>
                    <a:pt x="557411" y="193976"/>
                    <a:pt x="546319" y="199764"/>
                  </a:cubicBezTo>
                  <a:lnTo>
                    <a:pt x="498038" y="226778"/>
                  </a:lnTo>
                  <a:cubicBezTo>
                    <a:pt x="486946" y="233210"/>
                    <a:pt x="467373" y="231923"/>
                    <a:pt x="454324" y="224848"/>
                  </a:cubicBezTo>
                  <a:cubicBezTo>
                    <a:pt x="441275" y="217773"/>
                    <a:pt x="439970" y="206196"/>
                    <a:pt x="451714" y="199764"/>
                  </a:cubicBezTo>
                  <a:lnTo>
                    <a:pt x="499995" y="173394"/>
                  </a:lnTo>
                  <a:cubicBezTo>
                    <a:pt x="505541" y="170500"/>
                    <a:pt x="513207" y="169213"/>
                    <a:pt x="521037" y="169535"/>
                  </a:cubicBezTo>
                  <a:close/>
                  <a:moveTo>
                    <a:pt x="189256" y="132629"/>
                  </a:moveTo>
                  <a:cubicBezTo>
                    <a:pt x="197162" y="133123"/>
                    <a:pt x="205312" y="135426"/>
                    <a:pt x="211831" y="139373"/>
                  </a:cubicBezTo>
                  <a:cubicBezTo>
                    <a:pt x="224219" y="146610"/>
                    <a:pt x="226175" y="157795"/>
                    <a:pt x="215091" y="163717"/>
                  </a:cubicBezTo>
                  <a:lnTo>
                    <a:pt x="57311" y="253196"/>
                  </a:lnTo>
                  <a:cubicBezTo>
                    <a:pt x="45575" y="259117"/>
                    <a:pt x="26667" y="258459"/>
                    <a:pt x="13628" y="251222"/>
                  </a:cubicBezTo>
                  <a:cubicBezTo>
                    <a:pt x="588" y="243327"/>
                    <a:pt x="-716" y="232800"/>
                    <a:pt x="10368" y="226220"/>
                  </a:cubicBezTo>
                  <a:lnTo>
                    <a:pt x="168148" y="136741"/>
                  </a:lnTo>
                  <a:cubicBezTo>
                    <a:pt x="173690" y="133452"/>
                    <a:pt x="181351" y="132136"/>
                    <a:pt x="189256" y="132629"/>
                  </a:cubicBezTo>
                  <a:close/>
                  <a:moveTo>
                    <a:pt x="422553" y="114929"/>
                  </a:moveTo>
                  <a:cubicBezTo>
                    <a:pt x="430461" y="115339"/>
                    <a:pt x="438613" y="117470"/>
                    <a:pt x="445134" y="121403"/>
                  </a:cubicBezTo>
                  <a:cubicBezTo>
                    <a:pt x="458177" y="128614"/>
                    <a:pt x="459481" y="139759"/>
                    <a:pt x="448394" y="145659"/>
                  </a:cubicBezTo>
                  <a:lnTo>
                    <a:pt x="207101" y="282022"/>
                  </a:lnTo>
                  <a:cubicBezTo>
                    <a:pt x="196014" y="287922"/>
                    <a:pt x="176450" y="287267"/>
                    <a:pt x="163407" y="280055"/>
                  </a:cubicBezTo>
                  <a:cubicBezTo>
                    <a:pt x="151016" y="272188"/>
                    <a:pt x="149060" y="261043"/>
                    <a:pt x="160146" y="254487"/>
                  </a:cubicBezTo>
                  <a:lnTo>
                    <a:pt x="401440" y="118780"/>
                  </a:lnTo>
                  <a:cubicBezTo>
                    <a:pt x="406983" y="115830"/>
                    <a:pt x="414646" y="114519"/>
                    <a:pt x="422553" y="114929"/>
                  </a:cubicBezTo>
                  <a:close/>
                  <a:moveTo>
                    <a:pt x="324670" y="57203"/>
                  </a:moveTo>
                  <a:cubicBezTo>
                    <a:pt x="332568" y="57524"/>
                    <a:pt x="340709" y="59453"/>
                    <a:pt x="347222" y="62989"/>
                  </a:cubicBezTo>
                  <a:cubicBezTo>
                    <a:pt x="360249" y="70704"/>
                    <a:pt x="361552" y="81634"/>
                    <a:pt x="349828" y="87420"/>
                  </a:cubicBezTo>
                  <a:lnTo>
                    <a:pt x="290557" y="120209"/>
                  </a:lnTo>
                  <a:cubicBezTo>
                    <a:pt x="279484" y="126638"/>
                    <a:pt x="259944" y="125995"/>
                    <a:pt x="246917" y="118923"/>
                  </a:cubicBezTo>
                  <a:cubicBezTo>
                    <a:pt x="233891" y="111208"/>
                    <a:pt x="232588" y="100278"/>
                    <a:pt x="243661" y="93849"/>
                  </a:cubicBezTo>
                  <a:lnTo>
                    <a:pt x="303583" y="61060"/>
                  </a:lnTo>
                  <a:cubicBezTo>
                    <a:pt x="309120" y="58167"/>
                    <a:pt x="316773" y="56881"/>
                    <a:pt x="324670" y="57203"/>
                  </a:cubicBezTo>
                  <a:close/>
                  <a:moveTo>
                    <a:pt x="229349" y="98"/>
                  </a:moveTo>
                  <a:cubicBezTo>
                    <a:pt x="237303" y="584"/>
                    <a:pt x="245503" y="2853"/>
                    <a:pt x="252063" y="6741"/>
                  </a:cubicBezTo>
                  <a:cubicBezTo>
                    <a:pt x="265183" y="13870"/>
                    <a:pt x="266495" y="24887"/>
                    <a:pt x="255343" y="30720"/>
                  </a:cubicBezTo>
                  <a:lnTo>
                    <a:pt x="140541" y="94230"/>
                  </a:lnTo>
                  <a:cubicBezTo>
                    <a:pt x="129389" y="100711"/>
                    <a:pt x="109708" y="99415"/>
                    <a:pt x="96588" y="92286"/>
                  </a:cubicBezTo>
                  <a:cubicBezTo>
                    <a:pt x="84124" y="85157"/>
                    <a:pt x="82812" y="73492"/>
                    <a:pt x="93964" y="67011"/>
                  </a:cubicBezTo>
                  <a:lnTo>
                    <a:pt x="208110" y="4149"/>
                  </a:lnTo>
                  <a:cubicBezTo>
                    <a:pt x="213686" y="909"/>
                    <a:pt x="221394" y="-388"/>
                    <a:pt x="229349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3" name="Freeform 347">
              <a:extLst>
                <a:ext uri="{FF2B5EF4-FFF2-40B4-BE49-F238E27FC236}">
                  <a16:creationId xmlns:a16="http://schemas.microsoft.com/office/drawing/2014/main" id="{18333E82-2E02-2E4A-A9C2-8C6E2CAB9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97831" y="7796980"/>
              <a:ext cx="1684976" cy="1025388"/>
            </a:xfrm>
            <a:custGeom>
              <a:avLst/>
              <a:gdLst>
                <a:gd name="T0" fmla="*/ 1863 w 2579"/>
                <a:gd name="T1" fmla="*/ 1568 h 1569"/>
                <a:gd name="T2" fmla="*/ 1863 w 2579"/>
                <a:gd name="T3" fmla="*/ 1568 h 1569"/>
                <a:gd name="T4" fmla="*/ 1743 w 2579"/>
                <a:gd name="T5" fmla="*/ 1536 h 1569"/>
                <a:gd name="T6" fmla="*/ 84 w 2579"/>
                <a:gd name="T7" fmla="*/ 575 h 1569"/>
                <a:gd name="T8" fmla="*/ 84 w 2579"/>
                <a:gd name="T9" fmla="*/ 575 h 1569"/>
                <a:gd name="T10" fmla="*/ 1 w 2579"/>
                <a:gd name="T11" fmla="*/ 432 h 1569"/>
                <a:gd name="T12" fmla="*/ 1 w 2579"/>
                <a:gd name="T13" fmla="*/ 432 h 1569"/>
                <a:gd name="T14" fmla="*/ 81 w 2579"/>
                <a:gd name="T15" fmla="*/ 287 h 1569"/>
                <a:gd name="T16" fmla="*/ 540 w 2579"/>
                <a:gd name="T17" fmla="*/ 9 h 1569"/>
                <a:gd name="T18" fmla="*/ 540 w 2579"/>
                <a:gd name="T19" fmla="*/ 9 h 1569"/>
                <a:gd name="T20" fmla="*/ 584 w 2579"/>
                <a:gd name="T21" fmla="*/ 19 h 1569"/>
                <a:gd name="T22" fmla="*/ 584 w 2579"/>
                <a:gd name="T23" fmla="*/ 19 h 1569"/>
                <a:gd name="T24" fmla="*/ 573 w 2579"/>
                <a:gd name="T25" fmla="*/ 63 h 1569"/>
                <a:gd name="T26" fmla="*/ 114 w 2579"/>
                <a:gd name="T27" fmla="*/ 341 h 1569"/>
                <a:gd name="T28" fmla="*/ 114 w 2579"/>
                <a:gd name="T29" fmla="*/ 341 h 1569"/>
                <a:gd name="T30" fmla="*/ 63 w 2579"/>
                <a:gd name="T31" fmla="*/ 431 h 1569"/>
                <a:gd name="T32" fmla="*/ 63 w 2579"/>
                <a:gd name="T33" fmla="*/ 431 h 1569"/>
                <a:gd name="T34" fmla="*/ 116 w 2579"/>
                <a:gd name="T35" fmla="*/ 520 h 1569"/>
                <a:gd name="T36" fmla="*/ 1775 w 2579"/>
                <a:gd name="T37" fmla="*/ 1481 h 1569"/>
                <a:gd name="T38" fmla="*/ 1775 w 2579"/>
                <a:gd name="T39" fmla="*/ 1481 h 1569"/>
                <a:gd name="T40" fmla="*/ 1955 w 2579"/>
                <a:gd name="T41" fmla="*/ 1479 h 1569"/>
                <a:gd name="T42" fmla="*/ 2526 w 2579"/>
                <a:gd name="T43" fmla="*/ 1129 h 1569"/>
                <a:gd name="T44" fmla="*/ 2526 w 2579"/>
                <a:gd name="T45" fmla="*/ 1129 h 1569"/>
                <a:gd name="T46" fmla="*/ 2570 w 2579"/>
                <a:gd name="T47" fmla="*/ 1140 h 1569"/>
                <a:gd name="T48" fmla="*/ 2570 w 2579"/>
                <a:gd name="T49" fmla="*/ 1140 h 1569"/>
                <a:gd name="T50" fmla="*/ 2559 w 2579"/>
                <a:gd name="T51" fmla="*/ 1183 h 1569"/>
                <a:gd name="T52" fmla="*/ 1987 w 2579"/>
                <a:gd name="T53" fmla="*/ 1532 h 1569"/>
                <a:gd name="T54" fmla="*/ 1987 w 2579"/>
                <a:gd name="T55" fmla="*/ 1532 h 1569"/>
                <a:gd name="T56" fmla="*/ 1863 w 2579"/>
                <a:gd name="T57" fmla="*/ 1568 h 1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79" h="1569">
                  <a:moveTo>
                    <a:pt x="1863" y="1568"/>
                  </a:moveTo>
                  <a:lnTo>
                    <a:pt x="1863" y="1568"/>
                  </a:lnTo>
                  <a:cubicBezTo>
                    <a:pt x="1821" y="1568"/>
                    <a:pt x="1780" y="1557"/>
                    <a:pt x="1743" y="1536"/>
                  </a:cubicBezTo>
                  <a:lnTo>
                    <a:pt x="84" y="575"/>
                  </a:lnTo>
                  <a:lnTo>
                    <a:pt x="84" y="575"/>
                  </a:lnTo>
                  <a:cubicBezTo>
                    <a:pt x="32" y="545"/>
                    <a:pt x="1" y="492"/>
                    <a:pt x="1" y="432"/>
                  </a:cubicBezTo>
                  <a:lnTo>
                    <a:pt x="1" y="432"/>
                  </a:lnTo>
                  <a:cubicBezTo>
                    <a:pt x="0" y="372"/>
                    <a:pt x="30" y="318"/>
                    <a:pt x="81" y="287"/>
                  </a:cubicBezTo>
                  <a:lnTo>
                    <a:pt x="540" y="9"/>
                  </a:lnTo>
                  <a:lnTo>
                    <a:pt x="540" y="9"/>
                  </a:lnTo>
                  <a:cubicBezTo>
                    <a:pt x="555" y="0"/>
                    <a:pt x="575" y="5"/>
                    <a:pt x="584" y="19"/>
                  </a:cubicBezTo>
                  <a:lnTo>
                    <a:pt x="584" y="19"/>
                  </a:lnTo>
                  <a:cubicBezTo>
                    <a:pt x="593" y="35"/>
                    <a:pt x="588" y="54"/>
                    <a:pt x="573" y="63"/>
                  </a:cubicBezTo>
                  <a:lnTo>
                    <a:pt x="114" y="341"/>
                  </a:lnTo>
                  <a:lnTo>
                    <a:pt x="114" y="341"/>
                  </a:lnTo>
                  <a:cubicBezTo>
                    <a:pt x="82" y="360"/>
                    <a:pt x="63" y="394"/>
                    <a:pt x="63" y="431"/>
                  </a:cubicBezTo>
                  <a:lnTo>
                    <a:pt x="63" y="431"/>
                  </a:lnTo>
                  <a:cubicBezTo>
                    <a:pt x="64" y="468"/>
                    <a:pt x="83" y="502"/>
                    <a:pt x="116" y="520"/>
                  </a:cubicBezTo>
                  <a:lnTo>
                    <a:pt x="1775" y="1481"/>
                  </a:lnTo>
                  <a:lnTo>
                    <a:pt x="1775" y="1481"/>
                  </a:lnTo>
                  <a:cubicBezTo>
                    <a:pt x="1831" y="1514"/>
                    <a:pt x="1899" y="1513"/>
                    <a:pt x="1955" y="1479"/>
                  </a:cubicBezTo>
                  <a:lnTo>
                    <a:pt x="2526" y="1129"/>
                  </a:lnTo>
                  <a:lnTo>
                    <a:pt x="2526" y="1129"/>
                  </a:lnTo>
                  <a:cubicBezTo>
                    <a:pt x="2541" y="1121"/>
                    <a:pt x="2560" y="1125"/>
                    <a:pt x="2570" y="1140"/>
                  </a:cubicBezTo>
                  <a:lnTo>
                    <a:pt x="2570" y="1140"/>
                  </a:lnTo>
                  <a:cubicBezTo>
                    <a:pt x="2578" y="1155"/>
                    <a:pt x="2574" y="1174"/>
                    <a:pt x="2559" y="1183"/>
                  </a:cubicBezTo>
                  <a:lnTo>
                    <a:pt x="1987" y="1532"/>
                  </a:lnTo>
                  <a:lnTo>
                    <a:pt x="1987" y="1532"/>
                  </a:lnTo>
                  <a:cubicBezTo>
                    <a:pt x="1949" y="1556"/>
                    <a:pt x="1906" y="1568"/>
                    <a:pt x="1863" y="156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4" name="Freeform 348">
              <a:extLst>
                <a:ext uri="{FF2B5EF4-FFF2-40B4-BE49-F238E27FC236}">
                  <a16:creationId xmlns:a16="http://schemas.microsoft.com/office/drawing/2014/main" id="{AEA60A74-76F2-504A-9666-371E53976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9734" y="7339012"/>
              <a:ext cx="864091" cy="498293"/>
            </a:xfrm>
            <a:custGeom>
              <a:avLst/>
              <a:gdLst>
                <a:gd name="T0" fmla="*/ 1323 w 1324"/>
                <a:gd name="T1" fmla="*/ 382 h 765"/>
                <a:gd name="T2" fmla="*/ 662 w 1324"/>
                <a:gd name="T3" fmla="*/ 0 h 765"/>
                <a:gd name="T4" fmla="*/ 0 w 1324"/>
                <a:gd name="T5" fmla="*/ 382 h 765"/>
                <a:gd name="T6" fmla="*/ 662 w 1324"/>
                <a:gd name="T7" fmla="*/ 764 h 765"/>
                <a:gd name="T8" fmla="*/ 1323 w 1324"/>
                <a:gd name="T9" fmla="*/ 382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4" h="765">
                  <a:moveTo>
                    <a:pt x="1323" y="382"/>
                  </a:moveTo>
                  <a:lnTo>
                    <a:pt x="662" y="0"/>
                  </a:lnTo>
                  <a:lnTo>
                    <a:pt x="0" y="382"/>
                  </a:lnTo>
                  <a:lnTo>
                    <a:pt x="662" y="764"/>
                  </a:lnTo>
                  <a:lnTo>
                    <a:pt x="1323" y="38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5" name="Freeform 349">
              <a:extLst>
                <a:ext uri="{FF2B5EF4-FFF2-40B4-BE49-F238E27FC236}">
                  <a16:creationId xmlns:a16="http://schemas.microsoft.com/office/drawing/2014/main" id="{0A81882E-B9DB-8344-8909-45F8FA514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5492740"/>
              <a:ext cx="368679" cy="1765624"/>
            </a:xfrm>
            <a:custGeom>
              <a:avLst/>
              <a:gdLst>
                <a:gd name="T0" fmla="*/ 0 w 563"/>
                <a:gd name="T1" fmla="*/ 2702 h 2703"/>
                <a:gd name="T2" fmla="*/ 0 w 563"/>
                <a:gd name="T3" fmla="*/ 324 h 2703"/>
                <a:gd name="T4" fmla="*/ 562 w 563"/>
                <a:gd name="T5" fmla="*/ 0 h 2703"/>
                <a:gd name="T6" fmla="*/ 562 w 563"/>
                <a:gd name="T7" fmla="*/ 2377 h 2703"/>
                <a:gd name="T8" fmla="*/ 0 w 563"/>
                <a:gd name="T9" fmla="*/ 2702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0" y="2702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2377"/>
                  </a:lnTo>
                  <a:lnTo>
                    <a:pt x="0" y="2702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6" name="Freeform 350">
              <a:extLst>
                <a:ext uri="{FF2B5EF4-FFF2-40B4-BE49-F238E27FC236}">
                  <a16:creationId xmlns:a16="http://schemas.microsoft.com/office/drawing/2014/main" id="{76E5DEC4-79B9-D644-9C2F-2F9D7FFF0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5492740"/>
              <a:ext cx="368679" cy="1765624"/>
            </a:xfrm>
            <a:custGeom>
              <a:avLst/>
              <a:gdLst>
                <a:gd name="T0" fmla="*/ 562 w 563"/>
                <a:gd name="T1" fmla="*/ 324 h 2703"/>
                <a:gd name="T2" fmla="*/ 0 w 563"/>
                <a:gd name="T3" fmla="*/ 0 h 2703"/>
                <a:gd name="T4" fmla="*/ 0 w 563"/>
                <a:gd name="T5" fmla="*/ 2377 h 2703"/>
                <a:gd name="T6" fmla="*/ 562 w 563"/>
                <a:gd name="T7" fmla="*/ 2702 h 2703"/>
                <a:gd name="T8" fmla="*/ 562 w 563"/>
                <a:gd name="T9" fmla="*/ 324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562" y="324"/>
                  </a:moveTo>
                  <a:lnTo>
                    <a:pt x="0" y="0"/>
                  </a:lnTo>
                  <a:lnTo>
                    <a:pt x="0" y="2377"/>
                  </a:lnTo>
                  <a:lnTo>
                    <a:pt x="562" y="2702"/>
                  </a:lnTo>
                  <a:lnTo>
                    <a:pt x="562" y="32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7" name="Freeform 351">
              <a:extLst>
                <a:ext uri="{FF2B5EF4-FFF2-40B4-BE49-F238E27FC236}">
                  <a16:creationId xmlns:a16="http://schemas.microsoft.com/office/drawing/2014/main" id="{AD8DC04F-6332-DA43-9542-B39CB81D3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5282477"/>
              <a:ext cx="734478" cy="423405"/>
            </a:xfrm>
            <a:custGeom>
              <a:avLst/>
              <a:gdLst>
                <a:gd name="T0" fmla="*/ 1124 w 1125"/>
                <a:gd name="T1" fmla="*/ 325 h 650"/>
                <a:gd name="T2" fmla="*/ 562 w 1125"/>
                <a:gd name="T3" fmla="*/ 0 h 650"/>
                <a:gd name="T4" fmla="*/ 0 w 1125"/>
                <a:gd name="T5" fmla="*/ 325 h 650"/>
                <a:gd name="T6" fmla="*/ 562 w 1125"/>
                <a:gd name="T7" fmla="*/ 649 h 650"/>
                <a:gd name="T8" fmla="*/ 1124 w 1125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50">
                  <a:moveTo>
                    <a:pt x="1124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49"/>
                  </a:lnTo>
                  <a:lnTo>
                    <a:pt x="1124" y="325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8" name="Freeform 352">
              <a:extLst>
                <a:ext uri="{FF2B5EF4-FFF2-40B4-BE49-F238E27FC236}">
                  <a16:creationId xmlns:a16="http://schemas.microsoft.com/office/drawing/2014/main" id="{66DF30CC-D9AE-2B45-99DE-2B11B6A13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7117229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9" name="Freeform 353">
              <a:extLst>
                <a:ext uri="{FF2B5EF4-FFF2-40B4-BE49-F238E27FC236}">
                  <a16:creationId xmlns:a16="http://schemas.microsoft.com/office/drawing/2014/main" id="{733CD9CE-4BE0-9F4F-8525-3BB2086D8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0" name="Freeform 354">
              <a:extLst>
                <a:ext uri="{FF2B5EF4-FFF2-40B4-BE49-F238E27FC236}">
                  <a16:creationId xmlns:a16="http://schemas.microsoft.com/office/drawing/2014/main" id="{7471B7EA-C02B-E145-A3DA-95F3361FD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1" name="Freeform 355">
              <a:extLst>
                <a:ext uri="{FF2B5EF4-FFF2-40B4-BE49-F238E27FC236}">
                  <a16:creationId xmlns:a16="http://schemas.microsoft.com/office/drawing/2014/main" id="{C00C73FF-B0CF-064D-A381-C4E1EED3E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2" name="Freeform 356">
              <a:extLst>
                <a:ext uri="{FF2B5EF4-FFF2-40B4-BE49-F238E27FC236}">
                  <a16:creationId xmlns:a16="http://schemas.microsoft.com/office/drawing/2014/main" id="{F1C18031-6526-2D4B-8AA4-1895718CA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3" name="Freeform 357">
              <a:extLst>
                <a:ext uri="{FF2B5EF4-FFF2-40B4-BE49-F238E27FC236}">
                  <a16:creationId xmlns:a16="http://schemas.microsoft.com/office/drawing/2014/main" id="{4A62D935-5EE3-1A4A-805F-D1F22B1C1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4" name="Freeform 358">
              <a:extLst>
                <a:ext uri="{FF2B5EF4-FFF2-40B4-BE49-F238E27FC236}">
                  <a16:creationId xmlns:a16="http://schemas.microsoft.com/office/drawing/2014/main" id="{4F74EB2A-03F4-5046-BBF2-9A1B8FC05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5" name="Freeform 359">
              <a:extLst>
                <a:ext uri="{FF2B5EF4-FFF2-40B4-BE49-F238E27FC236}">
                  <a16:creationId xmlns:a16="http://schemas.microsoft.com/office/drawing/2014/main" id="{1B08BE8C-17C2-C04F-B2B8-A979D2C3B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6834960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6" name="Freeform 360">
              <a:extLst>
                <a:ext uri="{FF2B5EF4-FFF2-40B4-BE49-F238E27FC236}">
                  <a16:creationId xmlns:a16="http://schemas.microsoft.com/office/drawing/2014/main" id="{C252E3E2-CB9A-AB4D-8D4E-4088F1E6B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834960"/>
              <a:ext cx="368679" cy="849688"/>
            </a:xfrm>
            <a:custGeom>
              <a:avLst/>
              <a:gdLst>
                <a:gd name="T0" fmla="*/ 562 w 563"/>
                <a:gd name="T1" fmla="*/ 324 h 1299"/>
                <a:gd name="T2" fmla="*/ 0 w 563"/>
                <a:gd name="T3" fmla="*/ 0 h 1299"/>
                <a:gd name="T4" fmla="*/ 0 w 563"/>
                <a:gd name="T5" fmla="*/ 973 h 1299"/>
                <a:gd name="T6" fmla="*/ 562 w 563"/>
                <a:gd name="T7" fmla="*/ 1298 h 1299"/>
                <a:gd name="T8" fmla="*/ 562 w 563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562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2" y="1298"/>
                  </a:lnTo>
                  <a:lnTo>
                    <a:pt x="562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7" name="Freeform 361">
              <a:extLst>
                <a:ext uri="{FF2B5EF4-FFF2-40B4-BE49-F238E27FC236}">
                  <a16:creationId xmlns:a16="http://schemas.microsoft.com/office/drawing/2014/main" id="{F1C4B90C-385C-2442-993D-0BB7CC5D5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6621817"/>
              <a:ext cx="734478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8" name="Freeform 517">
              <a:extLst>
                <a:ext uri="{FF2B5EF4-FFF2-40B4-BE49-F238E27FC236}">
                  <a16:creationId xmlns:a16="http://schemas.microsoft.com/office/drawing/2014/main" id="{69A58750-8B6A-FE4B-912F-CE3AD5805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033" y="6082855"/>
              <a:ext cx="567077" cy="532702"/>
            </a:xfrm>
            <a:custGeom>
              <a:avLst/>
              <a:gdLst>
                <a:gd name="connsiteX0" fmla="*/ 464519 w 567077"/>
                <a:gd name="connsiteY0" fmla="*/ 149764 h 532702"/>
                <a:gd name="connsiteX1" fmla="*/ 507549 w 567077"/>
                <a:gd name="connsiteY1" fmla="*/ 161327 h 532702"/>
                <a:gd name="connsiteX2" fmla="*/ 544128 w 567077"/>
                <a:gd name="connsiteY2" fmla="*/ 185428 h 532702"/>
                <a:gd name="connsiteX3" fmla="*/ 565030 w 567077"/>
                <a:gd name="connsiteY3" fmla="*/ 279880 h 532702"/>
                <a:gd name="connsiteX4" fmla="*/ 387360 w 567077"/>
                <a:gd name="connsiteY4" fmla="*/ 519591 h 532702"/>
                <a:gd name="connsiteX5" fmla="*/ 273051 w 567077"/>
                <a:gd name="connsiteY5" fmla="*/ 457058 h 532702"/>
                <a:gd name="connsiteX6" fmla="*/ 386707 w 567077"/>
                <a:gd name="connsiteY6" fmla="*/ 180217 h 532702"/>
                <a:gd name="connsiteX7" fmla="*/ 464519 w 567077"/>
                <a:gd name="connsiteY7" fmla="*/ 149764 h 532702"/>
                <a:gd name="connsiteX8" fmla="*/ 190474 w 567077"/>
                <a:gd name="connsiteY8" fmla="*/ 533 h 532702"/>
                <a:gd name="connsiteX9" fmla="*/ 233411 w 567077"/>
                <a:gd name="connsiteY9" fmla="*/ 12402 h 532702"/>
                <a:gd name="connsiteX10" fmla="*/ 269911 w 567077"/>
                <a:gd name="connsiteY10" fmla="*/ 36630 h 532702"/>
                <a:gd name="connsiteX11" fmla="*/ 291421 w 567077"/>
                <a:gd name="connsiteY11" fmla="*/ 130923 h 532702"/>
                <a:gd name="connsiteX12" fmla="*/ 113481 w 567077"/>
                <a:gd name="connsiteY12" fmla="*/ 373205 h 532702"/>
                <a:gd name="connsiteX13" fmla="*/ 68 w 567077"/>
                <a:gd name="connsiteY13" fmla="*/ 310343 h 532702"/>
                <a:gd name="connsiteX14" fmla="*/ 112829 w 567077"/>
                <a:gd name="connsiteY14" fmla="*/ 31391 h 532702"/>
                <a:gd name="connsiteX15" fmla="*/ 190474 w 567077"/>
                <a:gd name="connsiteY15" fmla="*/ 533 h 53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7077" h="532702">
                  <a:moveTo>
                    <a:pt x="464519" y="149764"/>
                  </a:moveTo>
                  <a:cubicBezTo>
                    <a:pt x="488933" y="152044"/>
                    <a:pt x="507549" y="161327"/>
                    <a:pt x="507549" y="161327"/>
                  </a:cubicBezTo>
                  <a:cubicBezTo>
                    <a:pt x="507549" y="161327"/>
                    <a:pt x="531717" y="176309"/>
                    <a:pt x="544128" y="185428"/>
                  </a:cubicBezTo>
                  <a:cubicBezTo>
                    <a:pt x="556539" y="195199"/>
                    <a:pt x="572869" y="244053"/>
                    <a:pt x="565030" y="279880"/>
                  </a:cubicBezTo>
                  <a:cubicBezTo>
                    <a:pt x="557192" y="315706"/>
                    <a:pt x="431125" y="498747"/>
                    <a:pt x="387360" y="519591"/>
                  </a:cubicBezTo>
                  <a:cubicBezTo>
                    <a:pt x="343596" y="540436"/>
                    <a:pt x="271091" y="546950"/>
                    <a:pt x="273051" y="457058"/>
                  </a:cubicBezTo>
                  <a:cubicBezTo>
                    <a:pt x="275010" y="368469"/>
                    <a:pt x="340983" y="236236"/>
                    <a:pt x="386707" y="180217"/>
                  </a:cubicBezTo>
                  <a:cubicBezTo>
                    <a:pt x="409896" y="152207"/>
                    <a:pt x="440106" y="147485"/>
                    <a:pt x="464519" y="149764"/>
                  </a:cubicBezTo>
                  <a:close/>
                  <a:moveTo>
                    <a:pt x="190474" y="533"/>
                  </a:moveTo>
                  <a:cubicBezTo>
                    <a:pt x="214835" y="2907"/>
                    <a:pt x="233411" y="12402"/>
                    <a:pt x="233411" y="12402"/>
                  </a:cubicBezTo>
                  <a:cubicBezTo>
                    <a:pt x="233411" y="12402"/>
                    <a:pt x="257527" y="26808"/>
                    <a:pt x="269911" y="36630"/>
                  </a:cubicBezTo>
                  <a:cubicBezTo>
                    <a:pt x="282296" y="45797"/>
                    <a:pt x="299242" y="94908"/>
                    <a:pt x="291421" y="130923"/>
                  </a:cubicBezTo>
                  <a:cubicBezTo>
                    <a:pt x="283599" y="166938"/>
                    <a:pt x="157151" y="351596"/>
                    <a:pt x="113481" y="373205"/>
                  </a:cubicBezTo>
                  <a:cubicBezTo>
                    <a:pt x="70462" y="394159"/>
                    <a:pt x="-2539" y="400052"/>
                    <a:pt x="68" y="310343"/>
                  </a:cubicBezTo>
                  <a:cubicBezTo>
                    <a:pt x="1372" y="219978"/>
                    <a:pt x="67203" y="87051"/>
                    <a:pt x="112829" y="31391"/>
                  </a:cubicBezTo>
                  <a:cubicBezTo>
                    <a:pt x="135968" y="2907"/>
                    <a:pt x="166113" y="-1841"/>
                    <a:pt x="190474" y="53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9" name="Freeform 518">
              <a:extLst>
                <a:ext uri="{FF2B5EF4-FFF2-40B4-BE49-F238E27FC236}">
                  <a16:creationId xmlns:a16="http://schemas.microsoft.com/office/drawing/2014/main" id="{90413490-3970-EF4F-9E37-96EBC0B7B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8500" y="6060944"/>
              <a:ext cx="420588" cy="292295"/>
            </a:xfrm>
            <a:custGeom>
              <a:avLst/>
              <a:gdLst>
                <a:gd name="connsiteX0" fmla="*/ 318774 w 420588"/>
                <a:gd name="connsiteY0" fmla="*/ 147244 h 292295"/>
                <a:gd name="connsiteX1" fmla="*/ 416664 w 420588"/>
                <a:gd name="connsiteY1" fmla="*/ 164771 h 292295"/>
                <a:gd name="connsiteX2" fmla="*/ 420554 w 420588"/>
                <a:gd name="connsiteY2" fmla="*/ 242012 h 292295"/>
                <a:gd name="connsiteX3" fmla="*/ 398509 w 420588"/>
                <a:gd name="connsiteY3" fmla="*/ 282255 h 292295"/>
                <a:gd name="connsiteX4" fmla="*/ 341452 w 420588"/>
                <a:gd name="connsiteY4" fmla="*/ 290693 h 292295"/>
                <a:gd name="connsiteX5" fmla="*/ 275965 w 420588"/>
                <a:gd name="connsiteY5" fmla="*/ 188787 h 292295"/>
                <a:gd name="connsiteX6" fmla="*/ 318774 w 420588"/>
                <a:gd name="connsiteY6" fmla="*/ 147244 h 292295"/>
                <a:gd name="connsiteX7" fmla="*/ 42628 w 420588"/>
                <a:gd name="connsiteY7" fmla="*/ 348 h 292295"/>
                <a:gd name="connsiteX8" fmla="*/ 140803 w 420588"/>
                <a:gd name="connsiteY8" fmla="*/ 17875 h 292295"/>
                <a:gd name="connsiteX9" fmla="*/ 144045 w 420588"/>
                <a:gd name="connsiteY9" fmla="*/ 95116 h 292295"/>
                <a:gd name="connsiteX10" fmla="*/ 122000 w 420588"/>
                <a:gd name="connsiteY10" fmla="*/ 135359 h 292295"/>
                <a:gd name="connsiteX11" fmla="*/ 64943 w 420588"/>
                <a:gd name="connsiteY11" fmla="*/ 144446 h 292295"/>
                <a:gd name="connsiteX12" fmla="*/ 105 w 420588"/>
                <a:gd name="connsiteY12" fmla="*/ 41891 h 292295"/>
                <a:gd name="connsiteX13" fmla="*/ 42628 w 420588"/>
                <a:gd name="connsiteY13" fmla="*/ 348 h 29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0588" h="292295">
                  <a:moveTo>
                    <a:pt x="318774" y="147244"/>
                  </a:moveTo>
                  <a:cubicBezTo>
                    <a:pt x="360184" y="143980"/>
                    <a:pt x="416664" y="164771"/>
                    <a:pt x="416664" y="164771"/>
                  </a:cubicBezTo>
                  <a:lnTo>
                    <a:pt x="420554" y="242012"/>
                  </a:lnTo>
                  <a:cubicBezTo>
                    <a:pt x="421203" y="258239"/>
                    <a:pt x="412774" y="273816"/>
                    <a:pt x="398509" y="282255"/>
                  </a:cubicBezTo>
                  <a:cubicBezTo>
                    <a:pt x="385542" y="289394"/>
                    <a:pt x="366739" y="295236"/>
                    <a:pt x="341452" y="290693"/>
                  </a:cubicBezTo>
                  <a:cubicBezTo>
                    <a:pt x="285043" y="282255"/>
                    <a:pt x="279856" y="266028"/>
                    <a:pt x="275965" y="188787"/>
                  </a:cubicBezTo>
                  <a:cubicBezTo>
                    <a:pt x="274506" y="159822"/>
                    <a:pt x="293927" y="149203"/>
                    <a:pt x="318774" y="147244"/>
                  </a:cubicBezTo>
                  <a:close/>
                  <a:moveTo>
                    <a:pt x="42628" y="348"/>
                  </a:moveTo>
                  <a:cubicBezTo>
                    <a:pt x="84070" y="-2916"/>
                    <a:pt x="140803" y="17875"/>
                    <a:pt x="140803" y="17875"/>
                  </a:cubicBezTo>
                  <a:lnTo>
                    <a:pt x="144045" y="95116"/>
                  </a:lnTo>
                  <a:cubicBezTo>
                    <a:pt x="144694" y="111992"/>
                    <a:pt x="136265" y="127570"/>
                    <a:pt x="122000" y="135359"/>
                  </a:cubicBezTo>
                  <a:cubicBezTo>
                    <a:pt x="109033" y="142498"/>
                    <a:pt x="90230" y="148340"/>
                    <a:pt x="64943" y="144446"/>
                  </a:cubicBezTo>
                  <a:cubicBezTo>
                    <a:pt x="8534" y="135359"/>
                    <a:pt x="3995" y="119781"/>
                    <a:pt x="105" y="41891"/>
                  </a:cubicBezTo>
                  <a:cubicBezTo>
                    <a:pt x="-1597" y="12926"/>
                    <a:pt x="17763" y="2307"/>
                    <a:pt x="42628" y="34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0" name="Freeform 519">
              <a:extLst>
                <a:ext uri="{FF2B5EF4-FFF2-40B4-BE49-F238E27FC236}">
                  <a16:creationId xmlns:a16="http://schemas.microsoft.com/office/drawing/2014/main" id="{50A766B6-BB10-DE41-8FDD-306F484A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69735" y="4504464"/>
              <a:ext cx="1207156" cy="1773944"/>
            </a:xfrm>
            <a:custGeom>
              <a:avLst/>
              <a:gdLst>
                <a:gd name="connsiteX0" fmla="*/ 829084 w 1207156"/>
                <a:gd name="connsiteY0" fmla="*/ 97 h 1773944"/>
                <a:gd name="connsiteX1" fmla="*/ 929616 w 1207156"/>
                <a:gd name="connsiteY1" fmla="*/ 147489 h 1773944"/>
                <a:gd name="connsiteX2" fmla="*/ 928238 w 1207156"/>
                <a:gd name="connsiteY2" fmla="*/ 231535 h 1773944"/>
                <a:gd name="connsiteX3" fmla="*/ 932958 w 1207156"/>
                <a:gd name="connsiteY3" fmla="*/ 227365 h 1773944"/>
                <a:gd name="connsiteX4" fmla="*/ 1205471 w 1207156"/>
                <a:gd name="connsiteY4" fmla="*/ 286397 h 1773944"/>
                <a:gd name="connsiteX5" fmla="*/ 1010635 w 1207156"/>
                <a:gd name="connsiteY5" fmla="*/ 739384 h 1773944"/>
                <a:gd name="connsiteX6" fmla="*/ 532700 w 1207156"/>
                <a:gd name="connsiteY6" fmla="*/ 1026581 h 1773944"/>
                <a:gd name="connsiteX7" fmla="*/ 549699 w 1207156"/>
                <a:gd name="connsiteY7" fmla="*/ 1680606 h 1773944"/>
                <a:gd name="connsiteX8" fmla="*/ 473857 w 1207156"/>
                <a:gd name="connsiteY8" fmla="*/ 1770681 h 1773944"/>
                <a:gd name="connsiteX9" fmla="*/ 439205 w 1207156"/>
                <a:gd name="connsiteY9" fmla="*/ 1773944 h 1773944"/>
                <a:gd name="connsiteX10" fmla="*/ 370555 w 1207156"/>
                <a:gd name="connsiteY10" fmla="*/ 1714547 h 1773944"/>
                <a:gd name="connsiteX11" fmla="*/ 278368 w 1207156"/>
                <a:gd name="connsiteY11" fmla="*/ 1014832 h 1773944"/>
                <a:gd name="connsiteX12" fmla="*/ 306410 w 1207156"/>
                <a:gd name="connsiteY12" fmla="*/ 874854 h 1773944"/>
                <a:gd name="connsiteX13" fmla="*/ 328249 w 1207156"/>
                <a:gd name="connsiteY13" fmla="*/ 844927 h 1773944"/>
                <a:gd name="connsiteX14" fmla="*/ 256191 w 1207156"/>
                <a:gd name="connsiteY14" fmla="*/ 888326 h 1773944"/>
                <a:gd name="connsiteX15" fmla="*/ 273190 w 1207156"/>
                <a:gd name="connsiteY15" fmla="*/ 1541698 h 1773944"/>
                <a:gd name="connsiteX16" fmla="*/ 197348 w 1207156"/>
                <a:gd name="connsiteY16" fmla="*/ 1632426 h 1773944"/>
                <a:gd name="connsiteX17" fmla="*/ 163350 w 1207156"/>
                <a:gd name="connsiteY17" fmla="*/ 1635037 h 1773944"/>
                <a:gd name="connsiteX18" fmla="*/ 94046 w 1207156"/>
                <a:gd name="connsiteY18" fmla="*/ 1575639 h 1773944"/>
                <a:gd name="connsiteX19" fmla="*/ 1859 w 1207156"/>
                <a:gd name="connsiteY19" fmla="*/ 876577 h 1773944"/>
                <a:gd name="connsiteX20" fmla="*/ 58740 w 1207156"/>
                <a:gd name="connsiteY20" fmla="*/ 696426 h 1773944"/>
                <a:gd name="connsiteX21" fmla="*/ 286266 w 1207156"/>
                <a:gd name="connsiteY21" fmla="*/ 447740 h 1773944"/>
                <a:gd name="connsiteX22" fmla="*/ 538637 w 1207156"/>
                <a:gd name="connsiteY22" fmla="*/ 200360 h 1773944"/>
                <a:gd name="connsiteX23" fmla="*/ 829084 w 1207156"/>
                <a:gd name="connsiteY23" fmla="*/ 97 h 17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7156" h="1773944">
                  <a:moveTo>
                    <a:pt x="829084" y="97"/>
                  </a:moveTo>
                  <a:cubicBezTo>
                    <a:pt x="881883" y="-2164"/>
                    <a:pt x="922669" y="34895"/>
                    <a:pt x="929616" y="147489"/>
                  </a:cubicBezTo>
                  <a:lnTo>
                    <a:pt x="928238" y="231535"/>
                  </a:lnTo>
                  <a:lnTo>
                    <a:pt x="932958" y="227365"/>
                  </a:lnTo>
                  <a:cubicBezTo>
                    <a:pt x="1042887" y="137852"/>
                    <a:pt x="1191986" y="60801"/>
                    <a:pt x="1205471" y="286397"/>
                  </a:cubicBezTo>
                  <a:cubicBezTo>
                    <a:pt x="1228354" y="646698"/>
                    <a:pt x="1010635" y="739384"/>
                    <a:pt x="1010635" y="739384"/>
                  </a:cubicBezTo>
                  <a:lnTo>
                    <a:pt x="532700" y="1026581"/>
                  </a:lnTo>
                  <a:lnTo>
                    <a:pt x="549699" y="1680606"/>
                  </a:lnTo>
                  <a:cubicBezTo>
                    <a:pt x="549699" y="1680606"/>
                    <a:pt x="555583" y="1758279"/>
                    <a:pt x="473857" y="1770681"/>
                  </a:cubicBezTo>
                  <a:cubicBezTo>
                    <a:pt x="460781" y="1772639"/>
                    <a:pt x="449666" y="1773944"/>
                    <a:pt x="439205" y="1773944"/>
                  </a:cubicBezTo>
                  <a:cubicBezTo>
                    <a:pt x="404553" y="1773944"/>
                    <a:pt x="375131" y="1748488"/>
                    <a:pt x="370555" y="1714547"/>
                  </a:cubicBezTo>
                  <a:lnTo>
                    <a:pt x="278368" y="1014832"/>
                  </a:lnTo>
                  <a:cubicBezTo>
                    <a:pt x="271993" y="965878"/>
                    <a:pt x="282168" y="916924"/>
                    <a:pt x="306410" y="874854"/>
                  </a:cubicBezTo>
                  <a:lnTo>
                    <a:pt x="328249" y="844927"/>
                  </a:lnTo>
                  <a:lnTo>
                    <a:pt x="256191" y="888326"/>
                  </a:lnTo>
                  <a:lnTo>
                    <a:pt x="273190" y="1541698"/>
                  </a:lnTo>
                  <a:cubicBezTo>
                    <a:pt x="273190" y="1541698"/>
                    <a:pt x="279074" y="1619371"/>
                    <a:pt x="197348" y="1632426"/>
                  </a:cubicBezTo>
                  <a:cubicBezTo>
                    <a:pt x="184272" y="1634384"/>
                    <a:pt x="173157" y="1635037"/>
                    <a:pt x="163350" y="1635037"/>
                  </a:cubicBezTo>
                  <a:cubicBezTo>
                    <a:pt x="128698" y="1635689"/>
                    <a:pt x="98622" y="1610233"/>
                    <a:pt x="94046" y="1575639"/>
                  </a:cubicBezTo>
                  <a:lnTo>
                    <a:pt x="1859" y="876577"/>
                  </a:lnTo>
                  <a:cubicBezTo>
                    <a:pt x="-6641" y="811305"/>
                    <a:pt x="14281" y="745380"/>
                    <a:pt x="58740" y="696426"/>
                  </a:cubicBezTo>
                  <a:lnTo>
                    <a:pt x="286266" y="447740"/>
                  </a:lnTo>
                  <a:lnTo>
                    <a:pt x="538637" y="200360"/>
                  </a:lnTo>
                  <a:cubicBezTo>
                    <a:pt x="538637" y="200360"/>
                    <a:pt x="712929" y="5072"/>
                    <a:pt x="829084" y="9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1" name="Freeform 368">
              <a:extLst>
                <a:ext uri="{FF2B5EF4-FFF2-40B4-BE49-F238E27FC236}">
                  <a16:creationId xmlns:a16="http://schemas.microsoft.com/office/drawing/2014/main" id="{AFB8E0D0-E358-A74A-B38F-A9EB2DD30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94328" y="3562936"/>
              <a:ext cx="941860" cy="1543842"/>
            </a:xfrm>
            <a:custGeom>
              <a:avLst/>
              <a:gdLst>
                <a:gd name="T0" fmla="*/ 1011 w 1440"/>
                <a:gd name="T1" fmla="*/ 108 h 2363"/>
                <a:gd name="T2" fmla="*/ 1011 w 1440"/>
                <a:gd name="T3" fmla="*/ 108 h 2363"/>
                <a:gd name="T4" fmla="*/ 1430 w 1440"/>
                <a:gd name="T5" fmla="*/ 537 h 2363"/>
                <a:gd name="T6" fmla="*/ 1430 w 1440"/>
                <a:gd name="T7" fmla="*/ 537 h 2363"/>
                <a:gd name="T8" fmla="*/ 1375 w 1440"/>
                <a:gd name="T9" fmla="*/ 2084 h 2363"/>
                <a:gd name="T10" fmla="*/ 1375 w 1440"/>
                <a:gd name="T11" fmla="*/ 2084 h 2363"/>
                <a:gd name="T12" fmla="*/ 207 w 1440"/>
                <a:gd name="T13" fmla="*/ 1672 h 2363"/>
                <a:gd name="T14" fmla="*/ 207 w 1440"/>
                <a:gd name="T15" fmla="*/ 1672 h 2363"/>
                <a:gd name="T16" fmla="*/ 473 w 1440"/>
                <a:gd name="T17" fmla="*/ 99 h 2363"/>
                <a:gd name="T18" fmla="*/ 473 w 1440"/>
                <a:gd name="T19" fmla="*/ 99 h 2363"/>
                <a:gd name="T20" fmla="*/ 1011 w 1440"/>
                <a:gd name="T21" fmla="*/ 108 h 2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0" h="2363">
                  <a:moveTo>
                    <a:pt x="1011" y="108"/>
                  </a:moveTo>
                  <a:lnTo>
                    <a:pt x="1011" y="108"/>
                  </a:lnTo>
                  <a:cubicBezTo>
                    <a:pt x="1439" y="285"/>
                    <a:pt x="1430" y="537"/>
                    <a:pt x="1430" y="537"/>
                  </a:cubicBezTo>
                  <a:lnTo>
                    <a:pt x="1430" y="537"/>
                  </a:lnTo>
                  <a:cubicBezTo>
                    <a:pt x="1430" y="537"/>
                    <a:pt x="1346" y="1465"/>
                    <a:pt x="1375" y="2084"/>
                  </a:cubicBezTo>
                  <a:lnTo>
                    <a:pt x="1375" y="2084"/>
                  </a:lnTo>
                  <a:cubicBezTo>
                    <a:pt x="1387" y="2342"/>
                    <a:pt x="0" y="2362"/>
                    <a:pt x="207" y="1672"/>
                  </a:cubicBezTo>
                  <a:lnTo>
                    <a:pt x="207" y="1672"/>
                  </a:lnTo>
                  <a:cubicBezTo>
                    <a:pt x="451" y="858"/>
                    <a:pt x="359" y="199"/>
                    <a:pt x="473" y="99"/>
                  </a:cubicBezTo>
                  <a:lnTo>
                    <a:pt x="473" y="99"/>
                  </a:lnTo>
                  <a:cubicBezTo>
                    <a:pt x="587" y="0"/>
                    <a:pt x="900" y="62"/>
                    <a:pt x="1011" y="10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2" name="Freeform 369">
              <a:extLst>
                <a:ext uri="{FF2B5EF4-FFF2-40B4-BE49-F238E27FC236}">
                  <a16:creationId xmlns:a16="http://schemas.microsoft.com/office/drawing/2014/main" id="{82DFCDE3-9B0D-A048-9BC0-58FA4B71B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52296" y="3620543"/>
              <a:ext cx="308191" cy="244825"/>
            </a:xfrm>
            <a:custGeom>
              <a:avLst/>
              <a:gdLst>
                <a:gd name="T0" fmla="*/ 449 w 473"/>
                <a:gd name="T1" fmla="*/ 243 h 376"/>
                <a:gd name="T2" fmla="*/ 449 w 473"/>
                <a:gd name="T3" fmla="*/ 243 h 376"/>
                <a:gd name="T4" fmla="*/ 195 w 473"/>
                <a:gd name="T5" fmla="*/ 345 h 376"/>
                <a:gd name="T6" fmla="*/ 195 w 473"/>
                <a:gd name="T7" fmla="*/ 345 h 376"/>
                <a:gd name="T8" fmla="*/ 23 w 473"/>
                <a:gd name="T9" fmla="*/ 133 h 376"/>
                <a:gd name="T10" fmla="*/ 23 w 473"/>
                <a:gd name="T11" fmla="*/ 133 h 376"/>
                <a:gd name="T12" fmla="*/ 276 w 473"/>
                <a:gd name="T13" fmla="*/ 30 h 376"/>
                <a:gd name="T14" fmla="*/ 276 w 473"/>
                <a:gd name="T15" fmla="*/ 30 h 376"/>
                <a:gd name="T16" fmla="*/ 449 w 473"/>
                <a:gd name="T17" fmla="*/ 24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" h="376">
                  <a:moveTo>
                    <a:pt x="449" y="243"/>
                  </a:moveTo>
                  <a:lnTo>
                    <a:pt x="449" y="243"/>
                  </a:lnTo>
                  <a:cubicBezTo>
                    <a:pt x="427" y="330"/>
                    <a:pt x="313" y="375"/>
                    <a:pt x="195" y="345"/>
                  </a:cubicBezTo>
                  <a:lnTo>
                    <a:pt x="195" y="345"/>
                  </a:lnTo>
                  <a:cubicBezTo>
                    <a:pt x="78" y="315"/>
                    <a:pt x="0" y="219"/>
                    <a:pt x="23" y="133"/>
                  </a:cubicBezTo>
                  <a:lnTo>
                    <a:pt x="23" y="133"/>
                  </a:lnTo>
                  <a:cubicBezTo>
                    <a:pt x="45" y="45"/>
                    <a:pt x="158" y="0"/>
                    <a:pt x="276" y="30"/>
                  </a:cubicBezTo>
                  <a:lnTo>
                    <a:pt x="276" y="30"/>
                  </a:lnTo>
                  <a:cubicBezTo>
                    <a:pt x="394" y="61"/>
                    <a:pt x="472" y="156"/>
                    <a:pt x="449" y="243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3" name="Freeform 370">
              <a:extLst>
                <a:ext uri="{FF2B5EF4-FFF2-40B4-BE49-F238E27FC236}">
                  <a16:creationId xmlns:a16="http://schemas.microsoft.com/office/drawing/2014/main" id="{9124077C-E989-B44D-B5A8-1F7FC7B04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6535" y="3606141"/>
              <a:ext cx="322594" cy="259227"/>
            </a:xfrm>
            <a:custGeom>
              <a:avLst/>
              <a:gdLst>
                <a:gd name="T0" fmla="*/ 213 w 493"/>
                <a:gd name="T1" fmla="*/ 63 h 398"/>
                <a:gd name="T2" fmla="*/ 213 w 493"/>
                <a:gd name="T3" fmla="*/ 63 h 398"/>
                <a:gd name="T4" fmla="*/ 52 w 493"/>
                <a:gd name="T5" fmla="*/ 160 h 398"/>
                <a:gd name="T6" fmla="*/ 52 w 493"/>
                <a:gd name="T7" fmla="*/ 160 h 398"/>
                <a:gd name="T8" fmla="*/ 82 w 493"/>
                <a:gd name="T9" fmla="*/ 269 h 398"/>
                <a:gd name="T10" fmla="*/ 82 w 493"/>
                <a:gd name="T11" fmla="*/ 269 h 398"/>
                <a:gd name="T12" fmla="*/ 210 w 493"/>
                <a:gd name="T13" fmla="*/ 347 h 398"/>
                <a:gd name="T14" fmla="*/ 210 w 493"/>
                <a:gd name="T15" fmla="*/ 347 h 398"/>
                <a:gd name="T16" fmla="*/ 361 w 493"/>
                <a:gd name="T17" fmla="*/ 341 h 398"/>
                <a:gd name="T18" fmla="*/ 361 w 493"/>
                <a:gd name="T19" fmla="*/ 341 h 398"/>
                <a:gd name="T20" fmla="*/ 439 w 493"/>
                <a:gd name="T21" fmla="*/ 259 h 398"/>
                <a:gd name="T22" fmla="*/ 439 w 493"/>
                <a:gd name="T23" fmla="*/ 259 h 398"/>
                <a:gd name="T24" fmla="*/ 410 w 493"/>
                <a:gd name="T25" fmla="*/ 150 h 398"/>
                <a:gd name="T26" fmla="*/ 410 w 493"/>
                <a:gd name="T27" fmla="*/ 150 h 398"/>
                <a:gd name="T28" fmla="*/ 281 w 493"/>
                <a:gd name="T29" fmla="*/ 72 h 398"/>
                <a:gd name="T30" fmla="*/ 281 w 493"/>
                <a:gd name="T31" fmla="*/ 72 h 398"/>
                <a:gd name="T32" fmla="*/ 213 w 493"/>
                <a:gd name="T33" fmla="*/ 63 h 398"/>
                <a:gd name="T34" fmla="*/ 278 w 493"/>
                <a:gd name="T35" fmla="*/ 397 h 398"/>
                <a:gd name="T36" fmla="*/ 278 w 493"/>
                <a:gd name="T37" fmla="*/ 397 h 398"/>
                <a:gd name="T38" fmla="*/ 200 w 493"/>
                <a:gd name="T39" fmla="*/ 387 h 398"/>
                <a:gd name="T40" fmla="*/ 200 w 493"/>
                <a:gd name="T41" fmla="*/ 387 h 398"/>
                <a:gd name="T42" fmla="*/ 51 w 493"/>
                <a:gd name="T43" fmla="*/ 295 h 398"/>
                <a:gd name="T44" fmla="*/ 51 w 493"/>
                <a:gd name="T45" fmla="*/ 295 h 398"/>
                <a:gd name="T46" fmla="*/ 13 w 493"/>
                <a:gd name="T47" fmla="*/ 150 h 398"/>
                <a:gd name="T48" fmla="*/ 13 w 493"/>
                <a:gd name="T49" fmla="*/ 150 h 398"/>
                <a:gd name="T50" fmla="*/ 291 w 493"/>
                <a:gd name="T51" fmla="*/ 33 h 398"/>
                <a:gd name="T52" fmla="*/ 291 w 493"/>
                <a:gd name="T53" fmla="*/ 33 h 398"/>
                <a:gd name="T54" fmla="*/ 441 w 493"/>
                <a:gd name="T55" fmla="*/ 125 h 398"/>
                <a:gd name="T56" fmla="*/ 441 w 493"/>
                <a:gd name="T57" fmla="*/ 125 h 398"/>
                <a:gd name="T58" fmla="*/ 479 w 493"/>
                <a:gd name="T59" fmla="*/ 269 h 398"/>
                <a:gd name="T60" fmla="*/ 479 w 493"/>
                <a:gd name="T61" fmla="*/ 269 h 398"/>
                <a:gd name="T62" fmla="*/ 376 w 493"/>
                <a:gd name="T63" fmla="*/ 379 h 398"/>
                <a:gd name="T64" fmla="*/ 376 w 493"/>
                <a:gd name="T65" fmla="*/ 379 h 398"/>
                <a:gd name="T66" fmla="*/ 278 w 493"/>
                <a:gd name="T67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3" h="398">
                  <a:moveTo>
                    <a:pt x="213" y="63"/>
                  </a:moveTo>
                  <a:lnTo>
                    <a:pt x="213" y="63"/>
                  </a:lnTo>
                  <a:cubicBezTo>
                    <a:pt x="134" y="63"/>
                    <a:pt x="67" y="101"/>
                    <a:pt x="52" y="160"/>
                  </a:cubicBezTo>
                  <a:lnTo>
                    <a:pt x="52" y="160"/>
                  </a:lnTo>
                  <a:cubicBezTo>
                    <a:pt x="43" y="196"/>
                    <a:pt x="54" y="234"/>
                    <a:pt x="82" y="269"/>
                  </a:cubicBezTo>
                  <a:lnTo>
                    <a:pt x="82" y="269"/>
                  </a:lnTo>
                  <a:cubicBezTo>
                    <a:pt x="112" y="306"/>
                    <a:pt x="157" y="334"/>
                    <a:pt x="210" y="347"/>
                  </a:cubicBezTo>
                  <a:lnTo>
                    <a:pt x="210" y="347"/>
                  </a:lnTo>
                  <a:cubicBezTo>
                    <a:pt x="263" y="361"/>
                    <a:pt x="317" y="358"/>
                    <a:pt x="361" y="341"/>
                  </a:cubicBezTo>
                  <a:lnTo>
                    <a:pt x="361" y="341"/>
                  </a:lnTo>
                  <a:cubicBezTo>
                    <a:pt x="402" y="324"/>
                    <a:pt x="431" y="296"/>
                    <a:pt x="439" y="259"/>
                  </a:cubicBezTo>
                  <a:lnTo>
                    <a:pt x="439" y="259"/>
                  </a:lnTo>
                  <a:cubicBezTo>
                    <a:pt x="449" y="224"/>
                    <a:pt x="438" y="185"/>
                    <a:pt x="410" y="150"/>
                  </a:cubicBezTo>
                  <a:lnTo>
                    <a:pt x="410" y="150"/>
                  </a:lnTo>
                  <a:cubicBezTo>
                    <a:pt x="380" y="113"/>
                    <a:pt x="334" y="86"/>
                    <a:pt x="281" y="72"/>
                  </a:cubicBezTo>
                  <a:lnTo>
                    <a:pt x="281" y="72"/>
                  </a:lnTo>
                  <a:cubicBezTo>
                    <a:pt x="258" y="66"/>
                    <a:pt x="235" y="63"/>
                    <a:pt x="213" y="63"/>
                  </a:cubicBezTo>
                  <a:close/>
                  <a:moveTo>
                    <a:pt x="278" y="397"/>
                  </a:moveTo>
                  <a:lnTo>
                    <a:pt x="278" y="397"/>
                  </a:lnTo>
                  <a:cubicBezTo>
                    <a:pt x="253" y="397"/>
                    <a:pt x="226" y="394"/>
                    <a:pt x="200" y="387"/>
                  </a:cubicBezTo>
                  <a:lnTo>
                    <a:pt x="200" y="387"/>
                  </a:lnTo>
                  <a:cubicBezTo>
                    <a:pt x="139" y="371"/>
                    <a:pt x="86" y="338"/>
                    <a:pt x="51" y="295"/>
                  </a:cubicBezTo>
                  <a:lnTo>
                    <a:pt x="51" y="295"/>
                  </a:lnTo>
                  <a:cubicBezTo>
                    <a:pt x="14" y="250"/>
                    <a:pt x="0" y="198"/>
                    <a:pt x="13" y="150"/>
                  </a:cubicBezTo>
                  <a:lnTo>
                    <a:pt x="13" y="150"/>
                  </a:lnTo>
                  <a:cubicBezTo>
                    <a:pt x="38" y="52"/>
                    <a:pt x="163" y="0"/>
                    <a:pt x="291" y="33"/>
                  </a:cubicBezTo>
                  <a:lnTo>
                    <a:pt x="291" y="33"/>
                  </a:lnTo>
                  <a:cubicBezTo>
                    <a:pt x="352" y="48"/>
                    <a:pt x="406" y="81"/>
                    <a:pt x="441" y="125"/>
                  </a:cubicBezTo>
                  <a:lnTo>
                    <a:pt x="441" y="125"/>
                  </a:lnTo>
                  <a:cubicBezTo>
                    <a:pt x="478" y="170"/>
                    <a:pt x="492" y="221"/>
                    <a:pt x="479" y="269"/>
                  </a:cubicBezTo>
                  <a:lnTo>
                    <a:pt x="479" y="269"/>
                  </a:lnTo>
                  <a:cubicBezTo>
                    <a:pt x="467" y="318"/>
                    <a:pt x="430" y="357"/>
                    <a:pt x="376" y="379"/>
                  </a:cubicBezTo>
                  <a:lnTo>
                    <a:pt x="376" y="379"/>
                  </a:lnTo>
                  <a:cubicBezTo>
                    <a:pt x="346" y="390"/>
                    <a:pt x="312" y="397"/>
                    <a:pt x="278" y="3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4" name="Freeform 371">
              <a:extLst>
                <a:ext uri="{FF2B5EF4-FFF2-40B4-BE49-F238E27FC236}">
                  <a16:creationId xmlns:a16="http://schemas.microsoft.com/office/drawing/2014/main" id="{BB86593D-881F-C44C-9D62-8D6722B2C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38705" y="3508209"/>
              <a:ext cx="149776" cy="267869"/>
            </a:xfrm>
            <a:custGeom>
              <a:avLst/>
              <a:gdLst>
                <a:gd name="T0" fmla="*/ 5 w 230"/>
                <a:gd name="T1" fmla="*/ 172 h 408"/>
                <a:gd name="T2" fmla="*/ 5 w 230"/>
                <a:gd name="T3" fmla="*/ 172 h 408"/>
                <a:gd name="T4" fmla="*/ 2 w 230"/>
                <a:gd name="T5" fmla="*/ 325 h 408"/>
                <a:gd name="T6" fmla="*/ 2 w 230"/>
                <a:gd name="T7" fmla="*/ 325 h 408"/>
                <a:gd name="T8" fmla="*/ 187 w 230"/>
                <a:gd name="T9" fmla="*/ 369 h 408"/>
                <a:gd name="T10" fmla="*/ 187 w 230"/>
                <a:gd name="T11" fmla="*/ 369 h 408"/>
                <a:gd name="T12" fmla="*/ 219 w 230"/>
                <a:gd name="T13" fmla="*/ 145 h 408"/>
                <a:gd name="T14" fmla="*/ 219 w 230"/>
                <a:gd name="T15" fmla="*/ 145 h 408"/>
                <a:gd name="T16" fmla="*/ 5 w 230"/>
                <a:gd name="T17" fmla="*/ 17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408">
                  <a:moveTo>
                    <a:pt x="5" y="172"/>
                  </a:moveTo>
                  <a:lnTo>
                    <a:pt x="5" y="172"/>
                  </a:lnTo>
                  <a:cubicBezTo>
                    <a:pt x="5" y="172"/>
                    <a:pt x="9" y="189"/>
                    <a:pt x="2" y="325"/>
                  </a:cubicBezTo>
                  <a:lnTo>
                    <a:pt x="2" y="325"/>
                  </a:lnTo>
                  <a:cubicBezTo>
                    <a:pt x="0" y="368"/>
                    <a:pt x="149" y="407"/>
                    <a:pt x="187" y="369"/>
                  </a:cubicBezTo>
                  <a:lnTo>
                    <a:pt x="187" y="369"/>
                  </a:lnTo>
                  <a:cubicBezTo>
                    <a:pt x="226" y="330"/>
                    <a:pt x="210" y="290"/>
                    <a:pt x="219" y="145"/>
                  </a:cubicBezTo>
                  <a:lnTo>
                    <a:pt x="219" y="145"/>
                  </a:lnTo>
                  <a:cubicBezTo>
                    <a:pt x="229" y="0"/>
                    <a:pt x="5" y="172"/>
                    <a:pt x="5" y="17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5" name="Freeform 372">
              <a:extLst>
                <a:ext uri="{FF2B5EF4-FFF2-40B4-BE49-F238E27FC236}">
                  <a16:creationId xmlns:a16="http://schemas.microsoft.com/office/drawing/2014/main" id="{798666AC-DB4B-A644-884F-FC2FD0C2B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1585" y="3603261"/>
              <a:ext cx="144015" cy="120973"/>
            </a:xfrm>
            <a:custGeom>
              <a:avLst/>
              <a:gdLst>
                <a:gd name="T0" fmla="*/ 218 w 219"/>
                <a:gd name="T1" fmla="*/ 0 h 187"/>
                <a:gd name="T2" fmla="*/ 218 w 219"/>
                <a:gd name="T3" fmla="*/ 0 h 187"/>
                <a:gd name="T4" fmla="*/ 0 w 219"/>
                <a:gd name="T5" fmla="*/ 186 h 187"/>
                <a:gd name="T6" fmla="*/ 3 w 219"/>
                <a:gd name="T7" fmla="*/ 64 h 187"/>
                <a:gd name="T8" fmla="*/ 218 w 219"/>
                <a:gd name="T9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87">
                  <a:moveTo>
                    <a:pt x="218" y="0"/>
                  </a:moveTo>
                  <a:lnTo>
                    <a:pt x="218" y="0"/>
                  </a:lnTo>
                  <a:cubicBezTo>
                    <a:pt x="218" y="0"/>
                    <a:pt x="182" y="135"/>
                    <a:pt x="0" y="186"/>
                  </a:cubicBezTo>
                  <a:lnTo>
                    <a:pt x="3" y="64"/>
                  </a:lnTo>
                  <a:lnTo>
                    <a:pt x="218" y="0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6" name="Freeform 373">
              <a:extLst>
                <a:ext uri="{FF2B5EF4-FFF2-40B4-BE49-F238E27FC236}">
                  <a16:creationId xmlns:a16="http://schemas.microsoft.com/office/drawing/2014/main" id="{62A40C5E-E177-AD4A-8598-F5CD0E1D4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1160" y="3194258"/>
              <a:ext cx="475251" cy="478130"/>
            </a:xfrm>
            <a:custGeom>
              <a:avLst/>
              <a:gdLst>
                <a:gd name="T0" fmla="*/ 683 w 729"/>
                <a:gd name="T1" fmla="*/ 282 h 730"/>
                <a:gd name="T2" fmla="*/ 683 w 729"/>
                <a:gd name="T3" fmla="*/ 282 h 730"/>
                <a:gd name="T4" fmla="*/ 447 w 729"/>
                <a:gd name="T5" fmla="*/ 683 h 730"/>
                <a:gd name="T6" fmla="*/ 447 w 729"/>
                <a:gd name="T7" fmla="*/ 683 h 730"/>
                <a:gd name="T8" fmla="*/ 46 w 729"/>
                <a:gd name="T9" fmla="*/ 447 h 730"/>
                <a:gd name="T10" fmla="*/ 46 w 729"/>
                <a:gd name="T11" fmla="*/ 447 h 730"/>
                <a:gd name="T12" fmla="*/ 282 w 729"/>
                <a:gd name="T13" fmla="*/ 46 h 730"/>
                <a:gd name="T14" fmla="*/ 282 w 729"/>
                <a:gd name="T15" fmla="*/ 46 h 730"/>
                <a:gd name="T16" fmla="*/ 683 w 729"/>
                <a:gd name="T17" fmla="*/ 282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9" h="730">
                  <a:moveTo>
                    <a:pt x="683" y="282"/>
                  </a:moveTo>
                  <a:lnTo>
                    <a:pt x="683" y="282"/>
                  </a:lnTo>
                  <a:cubicBezTo>
                    <a:pt x="728" y="459"/>
                    <a:pt x="623" y="638"/>
                    <a:pt x="447" y="683"/>
                  </a:cubicBezTo>
                  <a:lnTo>
                    <a:pt x="447" y="683"/>
                  </a:lnTo>
                  <a:cubicBezTo>
                    <a:pt x="271" y="729"/>
                    <a:pt x="91" y="624"/>
                    <a:pt x="46" y="447"/>
                  </a:cubicBezTo>
                  <a:lnTo>
                    <a:pt x="46" y="447"/>
                  </a:lnTo>
                  <a:cubicBezTo>
                    <a:pt x="0" y="271"/>
                    <a:pt x="106" y="91"/>
                    <a:pt x="282" y="46"/>
                  </a:cubicBezTo>
                  <a:lnTo>
                    <a:pt x="282" y="46"/>
                  </a:lnTo>
                  <a:cubicBezTo>
                    <a:pt x="458" y="0"/>
                    <a:pt x="637" y="107"/>
                    <a:pt x="683" y="28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7" name="Freeform 374">
              <a:extLst>
                <a:ext uri="{FF2B5EF4-FFF2-40B4-BE49-F238E27FC236}">
                  <a16:creationId xmlns:a16="http://schemas.microsoft.com/office/drawing/2014/main" id="{BEE26227-864C-DE44-A111-0A0F897BF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6922" y="3390118"/>
              <a:ext cx="282270" cy="103691"/>
            </a:xfrm>
            <a:custGeom>
              <a:avLst/>
              <a:gdLst>
                <a:gd name="T0" fmla="*/ 432 w 433"/>
                <a:gd name="T1" fmla="*/ 79 h 159"/>
                <a:gd name="T2" fmla="*/ 432 w 433"/>
                <a:gd name="T3" fmla="*/ 79 h 159"/>
                <a:gd name="T4" fmla="*/ 125 w 433"/>
                <a:gd name="T5" fmla="*/ 158 h 159"/>
                <a:gd name="T6" fmla="*/ 125 w 433"/>
                <a:gd name="T7" fmla="*/ 158 h 159"/>
                <a:gd name="T8" fmla="*/ 28 w 433"/>
                <a:gd name="T9" fmla="*/ 53 h 159"/>
                <a:gd name="T10" fmla="*/ 400 w 433"/>
                <a:gd name="T11" fmla="*/ 0 h 159"/>
                <a:gd name="T12" fmla="*/ 432 w 433"/>
                <a:gd name="T13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3" h="159">
                  <a:moveTo>
                    <a:pt x="432" y="79"/>
                  </a:moveTo>
                  <a:lnTo>
                    <a:pt x="432" y="79"/>
                  </a:lnTo>
                  <a:cubicBezTo>
                    <a:pt x="432" y="79"/>
                    <a:pt x="251" y="156"/>
                    <a:pt x="125" y="158"/>
                  </a:cubicBezTo>
                  <a:lnTo>
                    <a:pt x="125" y="158"/>
                  </a:lnTo>
                  <a:cubicBezTo>
                    <a:pt x="0" y="158"/>
                    <a:pt x="28" y="53"/>
                    <a:pt x="28" y="53"/>
                  </a:cubicBezTo>
                  <a:lnTo>
                    <a:pt x="400" y="0"/>
                  </a:lnTo>
                  <a:lnTo>
                    <a:pt x="432" y="79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8" name="Freeform 375">
              <a:extLst>
                <a:ext uri="{FF2B5EF4-FFF2-40B4-BE49-F238E27FC236}">
                  <a16:creationId xmlns:a16="http://schemas.microsoft.com/office/drawing/2014/main" id="{BB806171-8C45-964B-902B-FD0D9F0FE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01709" y="3038722"/>
              <a:ext cx="668230" cy="532855"/>
            </a:xfrm>
            <a:custGeom>
              <a:avLst/>
              <a:gdLst>
                <a:gd name="T0" fmla="*/ 263 w 1024"/>
                <a:gd name="T1" fmla="*/ 637 h 815"/>
                <a:gd name="T2" fmla="*/ 263 w 1024"/>
                <a:gd name="T3" fmla="*/ 637 h 815"/>
                <a:gd name="T4" fmla="*/ 559 w 1024"/>
                <a:gd name="T5" fmla="*/ 597 h 815"/>
                <a:gd name="T6" fmla="*/ 559 w 1024"/>
                <a:gd name="T7" fmla="*/ 597 h 815"/>
                <a:gd name="T8" fmla="*/ 643 w 1024"/>
                <a:gd name="T9" fmla="*/ 647 h 815"/>
                <a:gd name="T10" fmla="*/ 643 w 1024"/>
                <a:gd name="T11" fmla="*/ 647 h 815"/>
                <a:gd name="T12" fmla="*/ 668 w 1024"/>
                <a:gd name="T13" fmla="*/ 665 h 815"/>
                <a:gd name="T14" fmla="*/ 668 w 1024"/>
                <a:gd name="T15" fmla="*/ 665 h 815"/>
                <a:gd name="T16" fmla="*/ 781 w 1024"/>
                <a:gd name="T17" fmla="*/ 567 h 815"/>
                <a:gd name="T18" fmla="*/ 781 w 1024"/>
                <a:gd name="T19" fmla="*/ 567 h 815"/>
                <a:gd name="T20" fmla="*/ 822 w 1024"/>
                <a:gd name="T21" fmla="*/ 661 h 815"/>
                <a:gd name="T22" fmla="*/ 822 w 1024"/>
                <a:gd name="T23" fmla="*/ 661 h 815"/>
                <a:gd name="T24" fmla="*/ 813 w 1024"/>
                <a:gd name="T25" fmla="*/ 804 h 815"/>
                <a:gd name="T26" fmla="*/ 813 w 1024"/>
                <a:gd name="T27" fmla="*/ 804 h 815"/>
                <a:gd name="T28" fmla="*/ 854 w 1024"/>
                <a:gd name="T29" fmla="*/ 333 h 815"/>
                <a:gd name="T30" fmla="*/ 854 w 1024"/>
                <a:gd name="T31" fmla="*/ 333 h 815"/>
                <a:gd name="T32" fmla="*/ 191 w 1024"/>
                <a:gd name="T33" fmla="*/ 247 h 815"/>
                <a:gd name="T34" fmla="*/ 191 w 1024"/>
                <a:gd name="T35" fmla="*/ 247 h 815"/>
                <a:gd name="T36" fmla="*/ 63 w 1024"/>
                <a:gd name="T37" fmla="*/ 254 h 815"/>
                <a:gd name="T38" fmla="*/ 63 w 1024"/>
                <a:gd name="T39" fmla="*/ 254 h 815"/>
                <a:gd name="T40" fmla="*/ 263 w 1024"/>
                <a:gd name="T41" fmla="*/ 637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4" h="815">
                  <a:moveTo>
                    <a:pt x="263" y="637"/>
                  </a:moveTo>
                  <a:lnTo>
                    <a:pt x="263" y="637"/>
                  </a:lnTo>
                  <a:cubicBezTo>
                    <a:pt x="263" y="637"/>
                    <a:pt x="421" y="569"/>
                    <a:pt x="559" y="597"/>
                  </a:cubicBezTo>
                  <a:lnTo>
                    <a:pt x="559" y="597"/>
                  </a:lnTo>
                  <a:cubicBezTo>
                    <a:pt x="592" y="604"/>
                    <a:pt x="622" y="621"/>
                    <a:pt x="643" y="647"/>
                  </a:cubicBezTo>
                  <a:lnTo>
                    <a:pt x="643" y="647"/>
                  </a:lnTo>
                  <a:cubicBezTo>
                    <a:pt x="650" y="655"/>
                    <a:pt x="658" y="663"/>
                    <a:pt x="668" y="665"/>
                  </a:cubicBezTo>
                  <a:lnTo>
                    <a:pt x="668" y="665"/>
                  </a:lnTo>
                  <a:cubicBezTo>
                    <a:pt x="693" y="671"/>
                    <a:pt x="733" y="569"/>
                    <a:pt x="781" y="567"/>
                  </a:cubicBezTo>
                  <a:lnTo>
                    <a:pt x="781" y="567"/>
                  </a:lnTo>
                  <a:cubicBezTo>
                    <a:pt x="829" y="564"/>
                    <a:pt x="860" y="598"/>
                    <a:pt x="822" y="661"/>
                  </a:cubicBezTo>
                  <a:lnTo>
                    <a:pt x="822" y="661"/>
                  </a:lnTo>
                  <a:cubicBezTo>
                    <a:pt x="782" y="723"/>
                    <a:pt x="795" y="794"/>
                    <a:pt x="813" y="804"/>
                  </a:cubicBezTo>
                  <a:lnTo>
                    <a:pt x="813" y="804"/>
                  </a:lnTo>
                  <a:cubicBezTo>
                    <a:pt x="832" y="814"/>
                    <a:pt x="1023" y="668"/>
                    <a:pt x="854" y="333"/>
                  </a:cubicBezTo>
                  <a:lnTo>
                    <a:pt x="854" y="333"/>
                  </a:lnTo>
                  <a:cubicBezTo>
                    <a:pt x="685" y="0"/>
                    <a:pt x="257" y="180"/>
                    <a:pt x="191" y="247"/>
                  </a:cubicBezTo>
                  <a:lnTo>
                    <a:pt x="191" y="247"/>
                  </a:lnTo>
                  <a:cubicBezTo>
                    <a:pt x="191" y="247"/>
                    <a:pt x="121" y="308"/>
                    <a:pt x="63" y="254"/>
                  </a:cubicBezTo>
                  <a:lnTo>
                    <a:pt x="63" y="254"/>
                  </a:lnTo>
                  <a:cubicBezTo>
                    <a:pt x="63" y="254"/>
                    <a:pt x="0" y="733"/>
                    <a:pt x="263" y="63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9" name="Freeform 528">
              <a:extLst>
                <a:ext uri="{FF2B5EF4-FFF2-40B4-BE49-F238E27FC236}">
                  <a16:creationId xmlns:a16="http://schemas.microsoft.com/office/drawing/2014/main" id="{0D9D6C7F-F970-364B-A151-8E777DFA0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5225" y="4262849"/>
              <a:ext cx="689113" cy="782809"/>
            </a:xfrm>
            <a:custGeom>
              <a:avLst/>
              <a:gdLst>
                <a:gd name="connsiteX0" fmla="*/ 689113 w 689113"/>
                <a:gd name="connsiteY0" fmla="*/ 0 h 782809"/>
                <a:gd name="connsiteX1" fmla="*/ 658404 w 689113"/>
                <a:gd name="connsiteY1" fmla="*/ 316278 h 782809"/>
                <a:gd name="connsiteX2" fmla="*/ 621815 w 689113"/>
                <a:gd name="connsiteY2" fmla="*/ 380318 h 782809"/>
                <a:gd name="connsiteX3" fmla="*/ 178254 w 689113"/>
                <a:gd name="connsiteY3" fmla="*/ 670407 h 782809"/>
                <a:gd name="connsiteX4" fmla="*/ 179296 w 689113"/>
                <a:gd name="connsiteY4" fmla="*/ 671987 h 782809"/>
                <a:gd name="connsiteX5" fmla="*/ 170145 w 689113"/>
                <a:gd name="connsiteY5" fmla="*/ 690386 h 782809"/>
                <a:gd name="connsiteX6" fmla="*/ 125041 w 689113"/>
                <a:gd name="connsiteY6" fmla="*/ 740983 h 782809"/>
                <a:gd name="connsiteX7" fmla="*/ 70785 w 689113"/>
                <a:gd name="connsiteY7" fmla="*/ 774495 h 782809"/>
                <a:gd name="connsiteX8" fmla="*/ 15875 w 689113"/>
                <a:gd name="connsiteY8" fmla="*/ 775810 h 782809"/>
                <a:gd name="connsiteX9" fmla="*/ 13914 w 689113"/>
                <a:gd name="connsiteY9" fmla="*/ 774495 h 782809"/>
                <a:gd name="connsiteX10" fmla="*/ 9338 w 689113"/>
                <a:gd name="connsiteY10" fmla="*/ 723898 h 782809"/>
                <a:gd name="connsiteX11" fmla="*/ 66209 w 689113"/>
                <a:gd name="connsiteY11" fmla="*/ 666073 h 782809"/>
                <a:gd name="connsiteX12" fmla="*/ 25027 w 689113"/>
                <a:gd name="connsiteY12" fmla="*/ 680530 h 782809"/>
                <a:gd name="connsiteX13" fmla="*/ 84512 w 689113"/>
                <a:gd name="connsiteY13" fmla="*/ 637161 h 782809"/>
                <a:gd name="connsiteX14" fmla="*/ 135990 w 689113"/>
                <a:gd name="connsiteY14" fmla="*/ 617017 h 782809"/>
                <a:gd name="connsiteX15" fmla="*/ 140526 w 689113"/>
                <a:gd name="connsiteY15" fmla="*/ 613656 h 782809"/>
                <a:gd name="connsiteX16" fmla="*/ 139627 w 689113"/>
                <a:gd name="connsiteY16" fmla="*/ 612299 h 782809"/>
                <a:gd name="connsiteX17" fmla="*/ 476113 w 689113"/>
                <a:gd name="connsiteY17" fmla="*/ 305823 h 782809"/>
                <a:gd name="connsiteX18" fmla="*/ 497675 w 689113"/>
                <a:gd name="connsiteY18" fmla="*/ 256813 h 782809"/>
                <a:gd name="connsiteX19" fmla="*/ 497675 w 689113"/>
                <a:gd name="connsiteY19" fmla="*/ 92793 h 78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9113" h="782809">
                  <a:moveTo>
                    <a:pt x="689113" y="0"/>
                  </a:moveTo>
                  <a:lnTo>
                    <a:pt x="658404" y="316278"/>
                  </a:lnTo>
                  <a:cubicBezTo>
                    <a:pt x="656444" y="341764"/>
                    <a:pt x="642723" y="365289"/>
                    <a:pt x="621815" y="380318"/>
                  </a:cubicBezTo>
                  <a:lnTo>
                    <a:pt x="178254" y="670407"/>
                  </a:lnTo>
                  <a:lnTo>
                    <a:pt x="179296" y="671987"/>
                  </a:lnTo>
                  <a:lnTo>
                    <a:pt x="170145" y="690386"/>
                  </a:lnTo>
                  <a:cubicBezTo>
                    <a:pt x="160339" y="710756"/>
                    <a:pt x="144651" y="729155"/>
                    <a:pt x="125041" y="740983"/>
                  </a:cubicBezTo>
                  <a:lnTo>
                    <a:pt x="70785" y="774495"/>
                  </a:lnTo>
                  <a:cubicBezTo>
                    <a:pt x="54443" y="785009"/>
                    <a:pt x="32871" y="785666"/>
                    <a:pt x="15875" y="775810"/>
                  </a:cubicBezTo>
                  <a:cubicBezTo>
                    <a:pt x="15222" y="775152"/>
                    <a:pt x="14568" y="775152"/>
                    <a:pt x="13914" y="774495"/>
                  </a:cubicBezTo>
                  <a:cubicBezTo>
                    <a:pt x="-3082" y="763325"/>
                    <a:pt x="-4389" y="739012"/>
                    <a:pt x="9338" y="723898"/>
                  </a:cubicBezTo>
                  <a:lnTo>
                    <a:pt x="66209" y="666073"/>
                  </a:lnTo>
                  <a:cubicBezTo>
                    <a:pt x="66209" y="666073"/>
                    <a:pt x="34178" y="690386"/>
                    <a:pt x="25027" y="680530"/>
                  </a:cubicBezTo>
                  <a:cubicBezTo>
                    <a:pt x="18490" y="673959"/>
                    <a:pt x="55750" y="637818"/>
                    <a:pt x="84512" y="637161"/>
                  </a:cubicBezTo>
                  <a:cubicBezTo>
                    <a:pt x="106084" y="636175"/>
                    <a:pt x="126920" y="623362"/>
                    <a:pt x="135990" y="617017"/>
                  </a:cubicBezTo>
                  <a:lnTo>
                    <a:pt x="140526" y="613656"/>
                  </a:lnTo>
                  <a:lnTo>
                    <a:pt x="139627" y="612299"/>
                  </a:lnTo>
                  <a:lnTo>
                    <a:pt x="476113" y="305823"/>
                  </a:lnTo>
                  <a:cubicBezTo>
                    <a:pt x="489834" y="292754"/>
                    <a:pt x="497675" y="275110"/>
                    <a:pt x="497675" y="256813"/>
                  </a:cubicBezTo>
                  <a:lnTo>
                    <a:pt x="497675" y="92793"/>
                  </a:ln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0" name="Freeform 377">
              <a:extLst>
                <a:ext uri="{FF2B5EF4-FFF2-40B4-BE49-F238E27FC236}">
                  <a16:creationId xmlns:a16="http://schemas.microsoft.com/office/drawing/2014/main" id="{8B8411A9-56C6-3149-9404-8BE815770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4078" y="3830803"/>
              <a:ext cx="371560" cy="613505"/>
            </a:xfrm>
            <a:custGeom>
              <a:avLst/>
              <a:gdLst>
                <a:gd name="T0" fmla="*/ 355 w 570"/>
                <a:gd name="T1" fmla="*/ 0 h 941"/>
                <a:gd name="T2" fmla="*/ 355 w 570"/>
                <a:gd name="T3" fmla="*/ 0 h 941"/>
                <a:gd name="T4" fmla="*/ 569 w 570"/>
                <a:gd name="T5" fmla="*/ 853 h 941"/>
                <a:gd name="T6" fmla="*/ 569 w 570"/>
                <a:gd name="T7" fmla="*/ 853 h 941"/>
                <a:gd name="T8" fmla="*/ 151 w 570"/>
                <a:gd name="T9" fmla="*/ 890 h 941"/>
                <a:gd name="T10" fmla="*/ 151 w 570"/>
                <a:gd name="T11" fmla="*/ 890 h 941"/>
                <a:gd name="T12" fmla="*/ 355 w 570"/>
                <a:gd name="T13" fmla="*/ 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0" h="941">
                  <a:moveTo>
                    <a:pt x="355" y="0"/>
                  </a:moveTo>
                  <a:lnTo>
                    <a:pt x="355" y="0"/>
                  </a:lnTo>
                  <a:cubicBezTo>
                    <a:pt x="355" y="0"/>
                    <a:pt x="511" y="235"/>
                    <a:pt x="569" y="853"/>
                  </a:cubicBezTo>
                  <a:lnTo>
                    <a:pt x="569" y="853"/>
                  </a:lnTo>
                  <a:cubicBezTo>
                    <a:pt x="569" y="853"/>
                    <a:pt x="303" y="940"/>
                    <a:pt x="151" y="890"/>
                  </a:cubicBezTo>
                  <a:lnTo>
                    <a:pt x="151" y="890"/>
                  </a:lnTo>
                  <a:cubicBezTo>
                    <a:pt x="0" y="842"/>
                    <a:pt x="355" y="0"/>
                    <a:pt x="355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1" name="Freeform 386">
              <a:extLst>
                <a:ext uri="{FF2B5EF4-FFF2-40B4-BE49-F238E27FC236}">
                  <a16:creationId xmlns:a16="http://schemas.microsoft.com/office/drawing/2014/main" id="{A53DCBB2-685D-F34F-AFDD-EE488E9CED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7532" y="4041066"/>
              <a:ext cx="218903" cy="711434"/>
            </a:xfrm>
            <a:custGeom>
              <a:avLst/>
              <a:gdLst>
                <a:gd name="T0" fmla="*/ 336 w 337"/>
                <a:gd name="T1" fmla="*/ 173 h 1089"/>
                <a:gd name="T2" fmla="*/ 247 w 337"/>
                <a:gd name="T3" fmla="*/ 349 h 1089"/>
                <a:gd name="T4" fmla="*/ 247 w 337"/>
                <a:gd name="T5" fmla="*/ 349 h 1089"/>
                <a:gd name="T6" fmla="*/ 211 w 337"/>
                <a:gd name="T7" fmla="*/ 484 h 1089"/>
                <a:gd name="T8" fmla="*/ 172 w 337"/>
                <a:gd name="T9" fmla="*/ 1088 h 1089"/>
                <a:gd name="T10" fmla="*/ 54 w 337"/>
                <a:gd name="T11" fmla="*/ 1085 h 1089"/>
                <a:gd name="T12" fmla="*/ 1 w 337"/>
                <a:gd name="T13" fmla="*/ 406 h 1089"/>
                <a:gd name="T14" fmla="*/ 1 w 337"/>
                <a:gd name="T15" fmla="*/ 406 h 1089"/>
                <a:gd name="T16" fmla="*/ 5 w 337"/>
                <a:gd name="T17" fmla="*/ 343 h 1089"/>
                <a:gd name="T18" fmla="*/ 65 w 337"/>
                <a:gd name="T19" fmla="*/ 0 h 1089"/>
                <a:gd name="T20" fmla="*/ 336 w 337"/>
                <a:gd name="T21" fmla="*/ 173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7" h="1089">
                  <a:moveTo>
                    <a:pt x="336" y="173"/>
                  </a:moveTo>
                  <a:lnTo>
                    <a:pt x="247" y="349"/>
                  </a:lnTo>
                  <a:lnTo>
                    <a:pt x="247" y="349"/>
                  </a:lnTo>
                  <a:cubicBezTo>
                    <a:pt x="226" y="391"/>
                    <a:pt x="214" y="437"/>
                    <a:pt x="211" y="484"/>
                  </a:cubicBezTo>
                  <a:lnTo>
                    <a:pt x="172" y="1088"/>
                  </a:lnTo>
                  <a:lnTo>
                    <a:pt x="54" y="1085"/>
                  </a:lnTo>
                  <a:lnTo>
                    <a:pt x="1" y="406"/>
                  </a:lnTo>
                  <a:lnTo>
                    <a:pt x="1" y="406"/>
                  </a:lnTo>
                  <a:cubicBezTo>
                    <a:pt x="0" y="386"/>
                    <a:pt x="1" y="365"/>
                    <a:pt x="5" y="343"/>
                  </a:cubicBezTo>
                  <a:lnTo>
                    <a:pt x="65" y="0"/>
                  </a:lnTo>
                  <a:lnTo>
                    <a:pt x="336" y="173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30BC9011-DCDF-0944-B40A-925EF318B995}"/>
                </a:ext>
              </a:extLst>
            </p:cNvPr>
            <p:cNvGrpSpPr/>
            <p:nvPr/>
          </p:nvGrpSpPr>
          <p:grpSpPr>
            <a:xfrm>
              <a:off x="13914127" y="4516315"/>
              <a:ext cx="1059951" cy="861212"/>
              <a:chOff x="13914127" y="4516315"/>
              <a:chExt cx="1059951" cy="861212"/>
            </a:xfrm>
          </p:grpSpPr>
          <p:sp>
            <p:nvSpPr>
              <p:cNvPr id="619" name="Freeform 379">
                <a:extLst>
                  <a:ext uri="{FF2B5EF4-FFF2-40B4-BE49-F238E27FC236}">
                    <a16:creationId xmlns:a16="http://schemas.microsoft.com/office/drawing/2014/main" id="{C015D803-6806-4947-AF2B-4608907EF9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792825"/>
                <a:ext cx="999464" cy="584702"/>
              </a:xfrm>
              <a:custGeom>
                <a:avLst/>
                <a:gdLst>
                  <a:gd name="T0" fmla="*/ 1529 w 1531"/>
                  <a:gd name="T1" fmla="*/ 452 h 896"/>
                  <a:gd name="T2" fmla="*/ 1416 w 1531"/>
                  <a:gd name="T3" fmla="*/ 438 h 896"/>
                  <a:gd name="T4" fmla="*/ 681 w 1531"/>
                  <a:gd name="T5" fmla="*/ 13 h 896"/>
                  <a:gd name="T6" fmla="*/ 681 w 1531"/>
                  <a:gd name="T7" fmla="*/ 13 h 896"/>
                  <a:gd name="T8" fmla="*/ 589 w 1531"/>
                  <a:gd name="T9" fmla="*/ 18 h 896"/>
                  <a:gd name="T10" fmla="*/ 70 w 1531"/>
                  <a:gd name="T11" fmla="*/ 318 h 896"/>
                  <a:gd name="T12" fmla="*/ 1 w 1531"/>
                  <a:gd name="T13" fmla="*/ 308 h 896"/>
                  <a:gd name="T14" fmla="*/ 1 w 1531"/>
                  <a:gd name="T15" fmla="*/ 377 h 896"/>
                  <a:gd name="T16" fmla="*/ 1 w 1531"/>
                  <a:gd name="T17" fmla="*/ 377 h 896"/>
                  <a:gd name="T18" fmla="*/ 1 w 1531"/>
                  <a:gd name="T19" fmla="*/ 377 h 896"/>
                  <a:gd name="T20" fmla="*/ 17 w 1531"/>
                  <a:gd name="T21" fmla="*/ 401 h 896"/>
                  <a:gd name="T22" fmla="*/ 848 w 1531"/>
                  <a:gd name="T23" fmla="*/ 882 h 896"/>
                  <a:gd name="T24" fmla="*/ 848 w 1531"/>
                  <a:gd name="T25" fmla="*/ 882 h 896"/>
                  <a:gd name="T26" fmla="*/ 940 w 1531"/>
                  <a:gd name="T27" fmla="*/ 878 h 896"/>
                  <a:gd name="T28" fmla="*/ 1507 w 1531"/>
                  <a:gd name="T29" fmla="*/ 551 h 896"/>
                  <a:gd name="T30" fmla="*/ 1507 w 1531"/>
                  <a:gd name="T31" fmla="*/ 551 h 896"/>
                  <a:gd name="T32" fmla="*/ 1529 w 1531"/>
                  <a:gd name="T33" fmla="*/ 520 h 896"/>
                  <a:gd name="T34" fmla="*/ 1529 w 1531"/>
                  <a:gd name="T35" fmla="*/ 452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31" h="896">
                    <a:moveTo>
                      <a:pt x="1529" y="452"/>
                    </a:moveTo>
                    <a:lnTo>
                      <a:pt x="1416" y="438"/>
                    </a:lnTo>
                    <a:lnTo>
                      <a:pt x="681" y="13"/>
                    </a:lnTo>
                    <a:lnTo>
                      <a:pt x="681" y="13"/>
                    </a:lnTo>
                    <a:cubicBezTo>
                      <a:pt x="658" y="0"/>
                      <a:pt x="617" y="2"/>
                      <a:pt x="589" y="18"/>
                    </a:cubicBezTo>
                    <a:lnTo>
                      <a:pt x="70" y="318"/>
                    </a:lnTo>
                    <a:lnTo>
                      <a:pt x="1" y="308"/>
                    </a:lnTo>
                    <a:lnTo>
                      <a:pt x="1" y="377"/>
                    </a:lnTo>
                    <a:lnTo>
                      <a:pt x="1" y="377"/>
                    </a:lnTo>
                    <a:lnTo>
                      <a:pt x="1" y="377"/>
                    </a:lnTo>
                    <a:cubicBezTo>
                      <a:pt x="0" y="386"/>
                      <a:pt x="5" y="395"/>
                      <a:pt x="17" y="401"/>
                    </a:cubicBezTo>
                    <a:lnTo>
                      <a:pt x="848" y="882"/>
                    </a:lnTo>
                    <a:lnTo>
                      <a:pt x="848" y="882"/>
                    </a:lnTo>
                    <a:cubicBezTo>
                      <a:pt x="872" y="895"/>
                      <a:pt x="913" y="893"/>
                      <a:pt x="940" y="878"/>
                    </a:cubicBezTo>
                    <a:lnTo>
                      <a:pt x="1507" y="551"/>
                    </a:lnTo>
                    <a:lnTo>
                      <a:pt x="1507" y="551"/>
                    </a:lnTo>
                    <a:cubicBezTo>
                      <a:pt x="1522" y="542"/>
                      <a:pt x="1530" y="530"/>
                      <a:pt x="1529" y="520"/>
                    </a:cubicBezTo>
                    <a:lnTo>
                      <a:pt x="1529" y="452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0" name="Freeform 380">
                <a:extLst>
                  <a:ext uri="{FF2B5EF4-FFF2-40B4-BE49-F238E27FC236}">
                    <a16:creationId xmlns:a16="http://schemas.microsoft.com/office/drawing/2014/main" id="{9565CB11-91C0-B44B-9E32-8563666D16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5" y="4893635"/>
                <a:ext cx="639427" cy="483891"/>
              </a:xfrm>
              <a:custGeom>
                <a:avLst/>
                <a:gdLst>
                  <a:gd name="T0" fmla="*/ 977 w 978"/>
                  <a:gd name="T1" fmla="*/ 31 h 739"/>
                  <a:gd name="T2" fmla="*/ 925 w 978"/>
                  <a:gd name="T3" fmla="*/ 0 h 739"/>
                  <a:gd name="T4" fmla="*/ 352 w 978"/>
                  <a:gd name="T5" fmla="*/ 0 h 739"/>
                  <a:gd name="T6" fmla="*/ 70 w 978"/>
                  <a:gd name="T7" fmla="*/ 164 h 739"/>
                  <a:gd name="T8" fmla="*/ 1 w 978"/>
                  <a:gd name="T9" fmla="*/ 154 h 739"/>
                  <a:gd name="T10" fmla="*/ 1 w 978"/>
                  <a:gd name="T11" fmla="*/ 223 h 739"/>
                  <a:gd name="T12" fmla="*/ 1 w 978"/>
                  <a:gd name="T13" fmla="*/ 223 h 739"/>
                  <a:gd name="T14" fmla="*/ 1 w 978"/>
                  <a:gd name="T15" fmla="*/ 223 h 739"/>
                  <a:gd name="T16" fmla="*/ 17 w 978"/>
                  <a:gd name="T17" fmla="*/ 247 h 739"/>
                  <a:gd name="T18" fmla="*/ 848 w 978"/>
                  <a:gd name="T19" fmla="*/ 728 h 739"/>
                  <a:gd name="T20" fmla="*/ 848 w 978"/>
                  <a:gd name="T21" fmla="*/ 728 h 739"/>
                  <a:gd name="T22" fmla="*/ 896 w 978"/>
                  <a:gd name="T23" fmla="*/ 737 h 739"/>
                  <a:gd name="T24" fmla="*/ 977 w 978"/>
                  <a:gd name="T25" fmla="*/ 31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8" h="739">
                    <a:moveTo>
                      <a:pt x="977" y="31"/>
                    </a:moveTo>
                    <a:lnTo>
                      <a:pt x="925" y="0"/>
                    </a:lnTo>
                    <a:lnTo>
                      <a:pt x="352" y="0"/>
                    </a:lnTo>
                    <a:lnTo>
                      <a:pt x="70" y="164"/>
                    </a:lnTo>
                    <a:lnTo>
                      <a:pt x="1" y="154"/>
                    </a:lnTo>
                    <a:lnTo>
                      <a:pt x="1" y="223"/>
                    </a:lnTo>
                    <a:lnTo>
                      <a:pt x="1" y="223"/>
                    </a:lnTo>
                    <a:lnTo>
                      <a:pt x="1" y="223"/>
                    </a:lnTo>
                    <a:cubicBezTo>
                      <a:pt x="0" y="232"/>
                      <a:pt x="5" y="241"/>
                      <a:pt x="17" y="247"/>
                    </a:cubicBezTo>
                    <a:lnTo>
                      <a:pt x="848" y="728"/>
                    </a:lnTo>
                    <a:lnTo>
                      <a:pt x="848" y="728"/>
                    </a:lnTo>
                    <a:cubicBezTo>
                      <a:pt x="861" y="735"/>
                      <a:pt x="878" y="738"/>
                      <a:pt x="896" y="737"/>
                    </a:cubicBezTo>
                    <a:lnTo>
                      <a:pt x="977" y="31"/>
                    </a:ln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1" name="Freeform 381">
                <a:extLst>
                  <a:ext uri="{FF2B5EF4-FFF2-40B4-BE49-F238E27FC236}">
                    <a16:creationId xmlns:a16="http://schemas.microsoft.com/office/drawing/2014/main" id="{806A1FD9-9B64-0D4F-B53C-D1F58C610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994446"/>
                <a:ext cx="20161" cy="66248"/>
              </a:xfrm>
              <a:custGeom>
                <a:avLst/>
                <a:gdLst>
                  <a:gd name="T0" fmla="*/ 31 w 32"/>
                  <a:gd name="T1" fmla="*/ 5 h 102"/>
                  <a:gd name="T2" fmla="*/ 1 w 32"/>
                  <a:gd name="T3" fmla="*/ 0 h 102"/>
                  <a:gd name="T4" fmla="*/ 1 w 32"/>
                  <a:gd name="T5" fmla="*/ 69 h 102"/>
                  <a:gd name="T6" fmla="*/ 1 w 32"/>
                  <a:gd name="T7" fmla="*/ 69 h 102"/>
                  <a:gd name="T8" fmla="*/ 1 w 32"/>
                  <a:gd name="T9" fmla="*/ 69 h 102"/>
                  <a:gd name="T10" fmla="*/ 17 w 32"/>
                  <a:gd name="T11" fmla="*/ 93 h 102"/>
                  <a:gd name="T12" fmla="*/ 31 w 32"/>
                  <a:gd name="T13" fmla="*/ 101 h 102"/>
                  <a:gd name="T14" fmla="*/ 31 w 32"/>
                  <a:gd name="T15" fmla="*/ 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102">
                    <a:moveTo>
                      <a:pt x="31" y="5"/>
                    </a:moveTo>
                    <a:lnTo>
                      <a:pt x="1" y="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1" y="69"/>
                    </a:lnTo>
                    <a:cubicBezTo>
                      <a:pt x="0" y="78"/>
                      <a:pt x="5" y="87"/>
                      <a:pt x="17" y="93"/>
                    </a:cubicBezTo>
                    <a:lnTo>
                      <a:pt x="31" y="101"/>
                    </a:lnTo>
                    <a:lnTo>
                      <a:pt x="31" y="5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2" name="Freeform 383">
                <a:extLst>
                  <a:ext uri="{FF2B5EF4-FFF2-40B4-BE49-F238E27FC236}">
                    <a16:creationId xmlns:a16="http://schemas.microsoft.com/office/drawing/2014/main" id="{A69CE7F7-5247-F945-AC43-A2046A987E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3093" y="4749621"/>
                <a:ext cx="1010985" cy="581821"/>
              </a:xfrm>
              <a:custGeom>
                <a:avLst/>
                <a:gdLst>
                  <a:gd name="T0" fmla="*/ 856 w 1546"/>
                  <a:gd name="T1" fmla="*/ 877 h 892"/>
                  <a:gd name="T2" fmla="*/ 25 w 1546"/>
                  <a:gd name="T3" fmla="*/ 397 h 892"/>
                  <a:gd name="T4" fmla="*/ 25 w 1546"/>
                  <a:gd name="T5" fmla="*/ 397 h 892"/>
                  <a:gd name="T6" fmla="*/ 31 w 1546"/>
                  <a:gd name="T7" fmla="*/ 344 h 892"/>
                  <a:gd name="T8" fmla="*/ 597 w 1546"/>
                  <a:gd name="T9" fmla="*/ 17 h 892"/>
                  <a:gd name="T10" fmla="*/ 597 w 1546"/>
                  <a:gd name="T11" fmla="*/ 17 h 892"/>
                  <a:gd name="T12" fmla="*/ 689 w 1546"/>
                  <a:gd name="T13" fmla="*/ 13 h 892"/>
                  <a:gd name="T14" fmla="*/ 1521 w 1546"/>
                  <a:gd name="T15" fmla="*/ 493 h 892"/>
                  <a:gd name="T16" fmla="*/ 1521 w 1546"/>
                  <a:gd name="T17" fmla="*/ 493 h 892"/>
                  <a:gd name="T18" fmla="*/ 1515 w 1546"/>
                  <a:gd name="T19" fmla="*/ 546 h 892"/>
                  <a:gd name="T20" fmla="*/ 948 w 1546"/>
                  <a:gd name="T21" fmla="*/ 873 h 892"/>
                  <a:gd name="T22" fmla="*/ 948 w 1546"/>
                  <a:gd name="T23" fmla="*/ 873 h 892"/>
                  <a:gd name="T24" fmla="*/ 856 w 1546"/>
                  <a:gd name="T25" fmla="*/ 877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6" h="892">
                    <a:moveTo>
                      <a:pt x="856" y="877"/>
                    </a:moveTo>
                    <a:lnTo>
                      <a:pt x="25" y="397"/>
                    </a:lnTo>
                    <a:lnTo>
                      <a:pt x="25" y="397"/>
                    </a:lnTo>
                    <a:cubicBezTo>
                      <a:pt x="0" y="383"/>
                      <a:pt x="4" y="359"/>
                      <a:pt x="31" y="344"/>
                    </a:cubicBezTo>
                    <a:lnTo>
                      <a:pt x="597" y="17"/>
                    </a:lnTo>
                    <a:lnTo>
                      <a:pt x="597" y="17"/>
                    </a:lnTo>
                    <a:cubicBezTo>
                      <a:pt x="625" y="1"/>
                      <a:pt x="666" y="0"/>
                      <a:pt x="689" y="13"/>
                    </a:cubicBezTo>
                    <a:lnTo>
                      <a:pt x="1521" y="493"/>
                    </a:lnTo>
                    <a:lnTo>
                      <a:pt x="1521" y="493"/>
                    </a:lnTo>
                    <a:cubicBezTo>
                      <a:pt x="1545" y="507"/>
                      <a:pt x="1542" y="531"/>
                      <a:pt x="1515" y="546"/>
                    </a:cubicBezTo>
                    <a:lnTo>
                      <a:pt x="948" y="873"/>
                    </a:lnTo>
                    <a:lnTo>
                      <a:pt x="948" y="873"/>
                    </a:lnTo>
                    <a:cubicBezTo>
                      <a:pt x="921" y="889"/>
                      <a:pt x="880" y="891"/>
                      <a:pt x="856" y="877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3" name="Freeform 384">
                <a:extLst>
                  <a:ext uri="{FF2B5EF4-FFF2-40B4-BE49-F238E27FC236}">
                    <a16:creationId xmlns:a16="http://schemas.microsoft.com/office/drawing/2014/main" id="{4FE1500D-6568-4046-A86E-6E18FACEEA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49503" y="4864833"/>
                <a:ext cx="728716" cy="417643"/>
              </a:xfrm>
              <a:custGeom>
                <a:avLst/>
                <a:gdLst>
                  <a:gd name="T0" fmla="*/ 711 w 1117"/>
                  <a:gd name="T1" fmla="*/ 628 h 641"/>
                  <a:gd name="T2" fmla="*/ 19 w 1117"/>
                  <a:gd name="T3" fmla="*/ 229 h 641"/>
                  <a:gd name="T4" fmla="*/ 19 w 1117"/>
                  <a:gd name="T5" fmla="*/ 229 h 641"/>
                  <a:gd name="T6" fmla="*/ 25 w 1117"/>
                  <a:gd name="T7" fmla="*/ 185 h 641"/>
                  <a:gd name="T8" fmla="*/ 328 w 1117"/>
                  <a:gd name="T9" fmla="*/ 14 h 641"/>
                  <a:gd name="T10" fmla="*/ 328 w 1117"/>
                  <a:gd name="T11" fmla="*/ 14 h 641"/>
                  <a:gd name="T12" fmla="*/ 405 w 1117"/>
                  <a:gd name="T13" fmla="*/ 11 h 641"/>
                  <a:gd name="T14" fmla="*/ 1096 w 1117"/>
                  <a:gd name="T15" fmla="*/ 410 h 641"/>
                  <a:gd name="T16" fmla="*/ 1096 w 1117"/>
                  <a:gd name="T17" fmla="*/ 410 h 641"/>
                  <a:gd name="T18" fmla="*/ 1091 w 1117"/>
                  <a:gd name="T19" fmla="*/ 454 h 641"/>
                  <a:gd name="T20" fmla="*/ 788 w 1117"/>
                  <a:gd name="T21" fmla="*/ 625 h 641"/>
                  <a:gd name="T22" fmla="*/ 788 w 1117"/>
                  <a:gd name="T23" fmla="*/ 625 h 641"/>
                  <a:gd name="T24" fmla="*/ 711 w 1117"/>
                  <a:gd name="T25" fmla="*/ 628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7" h="641">
                    <a:moveTo>
                      <a:pt x="711" y="628"/>
                    </a:moveTo>
                    <a:lnTo>
                      <a:pt x="19" y="229"/>
                    </a:lnTo>
                    <a:lnTo>
                      <a:pt x="19" y="229"/>
                    </a:lnTo>
                    <a:cubicBezTo>
                      <a:pt x="0" y="218"/>
                      <a:pt x="2" y="198"/>
                      <a:pt x="25" y="185"/>
                    </a:cubicBezTo>
                    <a:lnTo>
                      <a:pt x="328" y="14"/>
                    </a:lnTo>
                    <a:lnTo>
                      <a:pt x="328" y="14"/>
                    </a:lnTo>
                    <a:cubicBezTo>
                      <a:pt x="351" y="1"/>
                      <a:pt x="385" y="0"/>
                      <a:pt x="405" y="11"/>
                    </a:cubicBezTo>
                    <a:lnTo>
                      <a:pt x="1096" y="410"/>
                    </a:lnTo>
                    <a:lnTo>
                      <a:pt x="1096" y="410"/>
                    </a:lnTo>
                    <a:cubicBezTo>
                      <a:pt x="1116" y="422"/>
                      <a:pt x="1113" y="441"/>
                      <a:pt x="1091" y="454"/>
                    </a:cubicBezTo>
                    <a:lnTo>
                      <a:pt x="788" y="625"/>
                    </a:lnTo>
                    <a:lnTo>
                      <a:pt x="788" y="625"/>
                    </a:lnTo>
                    <a:cubicBezTo>
                      <a:pt x="765" y="638"/>
                      <a:pt x="730" y="640"/>
                      <a:pt x="711" y="628"/>
                    </a:cubicBez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4" name="Freeform 385">
                <a:extLst>
                  <a:ext uri="{FF2B5EF4-FFF2-40B4-BE49-F238E27FC236}">
                    <a16:creationId xmlns:a16="http://schemas.microsoft.com/office/drawing/2014/main" id="{D8089D34-0568-324A-8CD2-3E54391CA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63454" y="4706416"/>
                <a:ext cx="129615" cy="250587"/>
              </a:xfrm>
              <a:custGeom>
                <a:avLst/>
                <a:gdLst>
                  <a:gd name="T0" fmla="*/ 15 w 200"/>
                  <a:gd name="T1" fmla="*/ 67 h 383"/>
                  <a:gd name="T2" fmla="*/ 7 w 200"/>
                  <a:gd name="T3" fmla="*/ 125 h 383"/>
                  <a:gd name="T4" fmla="*/ 7 w 200"/>
                  <a:gd name="T5" fmla="*/ 125 h 383"/>
                  <a:gd name="T6" fmla="*/ 11 w 200"/>
                  <a:gd name="T7" fmla="*/ 272 h 383"/>
                  <a:gd name="T8" fmla="*/ 21 w 200"/>
                  <a:gd name="T9" fmla="*/ 322 h 383"/>
                  <a:gd name="T10" fmla="*/ 21 w 200"/>
                  <a:gd name="T11" fmla="*/ 322 h 383"/>
                  <a:gd name="T12" fmla="*/ 78 w 200"/>
                  <a:gd name="T13" fmla="*/ 378 h 383"/>
                  <a:gd name="T14" fmla="*/ 78 w 200"/>
                  <a:gd name="T15" fmla="*/ 378 h 383"/>
                  <a:gd name="T16" fmla="*/ 124 w 200"/>
                  <a:gd name="T17" fmla="*/ 344 h 383"/>
                  <a:gd name="T18" fmla="*/ 138 w 200"/>
                  <a:gd name="T19" fmla="*/ 221 h 383"/>
                  <a:gd name="T20" fmla="*/ 138 w 200"/>
                  <a:gd name="T21" fmla="*/ 221 h 383"/>
                  <a:gd name="T22" fmla="*/ 184 w 200"/>
                  <a:gd name="T23" fmla="*/ 262 h 383"/>
                  <a:gd name="T24" fmla="*/ 184 w 200"/>
                  <a:gd name="T25" fmla="*/ 262 h 383"/>
                  <a:gd name="T26" fmla="*/ 133 w 200"/>
                  <a:gd name="T27" fmla="*/ 70 h 383"/>
                  <a:gd name="T28" fmla="*/ 133 w 200"/>
                  <a:gd name="T29" fmla="*/ 70 h 383"/>
                  <a:gd name="T30" fmla="*/ 15 w 200"/>
                  <a:gd name="T31" fmla="*/ 67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0" h="383">
                    <a:moveTo>
                      <a:pt x="15" y="67"/>
                    </a:moveTo>
                    <a:lnTo>
                      <a:pt x="7" y="125"/>
                    </a:lnTo>
                    <a:lnTo>
                      <a:pt x="7" y="125"/>
                    </a:lnTo>
                    <a:cubicBezTo>
                      <a:pt x="0" y="173"/>
                      <a:pt x="1" y="223"/>
                      <a:pt x="11" y="272"/>
                    </a:cubicBezTo>
                    <a:lnTo>
                      <a:pt x="21" y="322"/>
                    </a:lnTo>
                    <a:lnTo>
                      <a:pt x="21" y="322"/>
                    </a:lnTo>
                    <a:cubicBezTo>
                      <a:pt x="27" y="351"/>
                      <a:pt x="50" y="373"/>
                      <a:pt x="78" y="378"/>
                    </a:cubicBezTo>
                    <a:lnTo>
                      <a:pt x="78" y="378"/>
                    </a:lnTo>
                    <a:cubicBezTo>
                      <a:pt x="100" y="382"/>
                      <a:pt x="121" y="367"/>
                      <a:pt x="124" y="344"/>
                    </a:cubicBezTo>
                    <a:lnTo>
                      <a:pt x="138" y="221"/>
                    </a:lnTo>
                    <a:lnTo>
                      <a:pt x="138" y="221"/>
                    </a:lnTo>
                    <a:cubicBezTo>
                      <a:pt x="138" y="221"/>
                      <a:pt x="169" y="262"/>
                      <a:pt x="184" y="262"/>
                    </a:cubicBezTo>
                    <a:lnTo>
                      <a:pt x="184" y="262"/>
                    </a:lnTo>
                    <a:cubicBezTo>
                      <a:pt x="199" y="262"/>
                      <a:pt x="167" y="140"/>
                      <a:pt x="133" y="70"/>
                    </a:cubicBezTo>
                    <a:lnTo>
                      <a:pt x="133" y="70"/>
                    </a:lnTo>
                    <a:cubicBezTo>
                      <a:pt x="99" y="0"/>
                      <a:pt x="15" y="67"/>
                      <a:pt x="15" y="67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5" name="Freeform 387">
                <a:extLst>
                  <a:ext uri="{FF2B5EF4-FFF2-40B4-BE49-F238E27FC236}">
                    <a16:creationId xmlns:a16="http://schemas.microsoft.com/office/drawing/2014/main" id="{913DA3A8-3B0B-F142-9808-1115C6D297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6"/>
                <a:ext cx="616385" cy="838169"/>
              </a:xfrm>
              <a:custGeom>
                <a:avLst/>
                <a:gdLst>
                  <a:gd name="T0" fmla="*/ 887 w 943"/>
                  <a:gd name="T1" fmla="*/ 1281 h 1282"/>
                  <a:gd name="T2" fmla="*/ 817 w 943"/>
                  <a:gd name="T3" fmla="*/ 1190 h 1282"/>
                  <a:gd name="T4" fmla="*/ 84 w 943"/>
                  <a:gd name="T5" fmla="*/ 766 h 1282"/>
                  <a:gd name="T6" fmla="*/ 84 w 943"/>
                  <a:gd name="T7" fmla="*/ 766 h 1282"/>
                  <a:gd name="T8" fmla="*/ 41 w 943"/>
                  <a:gd name="T9" fmla="*/ 684 h 1282"/>
                  <a:gd name="T10" fmla="*/ 42 w 943"/>
                  <a:gd name="T11" fmla="*/ 83 h 1282"/>
                  <a:gd name="T12" fmla="*/ 0 w 943"/>
                  <a:gd name="T13" fmla="*/ 28 h 1282"/>
                  <a:gd name="T14" fmla="*/ 39 w 943"/>
                  <a:gd name="T15" fmla="*/ 6 h 1282"/>
                  <a:gd name="T16" fmla="*/ 39 w 943"/>
                  <a:gd name="T17" fmla="*/ 6 h 1282"/>
                  <a:gd name="T18" fmla="*/ 39 w 943"/>
                  <a:gd name="T19" fmla="*/ 6 h 1282"/>
                  <a:gd name="T20" fmla="*/ 68 w 943"/>
                  <a:gd name="T21" fmla="*/ 7 h 1282"/>
                  <a:gd name="T22" fmla="*/ 899 w 943"/>
                  <a:gd name="T23" fmla="*/ 488 h 1282"/>
                  <a:gd name="T24" fmla="*/ 899 w 943"/>
                  <a:gd name="T25" fmla="*/ 488 h 1282"/>
                  <a:gd name="T26" fmla="*/ 942 w 943"/>
                  <a:gd name="T27" fmla="*/ 570 h 1282"/>
                  <a:gd name="T28" fmla="*/ 941 w 943"/>
                  <a:gd name="T29" fmla="*/ 1224 h 1282"/>
                  <a:gd name="T30" fmla="*/ 941 w 943"/>
                  <a:gd name="T31" fmla="*/ 1224 h 1282"/>
                  <a:gd name="T32" fmla="*/ 926 w 943"/>
                  <a:gd name="T33" fmla="*/ 1259 h 1282"/>
                  <a:gd name="T34" fmla="*/ 887 w 943"/>
                  <a:gd name="T35" fmla="*/ 1281 h 1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43" h="1282">
                    <a:moveTo>
                      <a:pt x="887" y="1281"/>
                    </a:moveTo>
                    <a:lnTo>
                      <a:pt x="817" y="1190"/>
                    </a:lnTo>
                    <a:lnTo>
                      <a:pt x="84" y="766"/>
                    </a:lnTo>
                    <a:lnTo>
                      <a:pt x="84" y="766"/>
                    </a:lnTo>
                    <a:cubicBezTo>
                      <a:pt x="60" y="752"/>
                      <a:pt x="41" y="715"/>
                      <a:pt x="41" y="684"/>
                    </a:cubicBez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23" y="502"/>
                      <a:pt x="942" y="538"/>
                      <a:pt x="942" y="570"/>
                    </a:cubicBezTo>
                    <a:lnTo>
                      <a:pt x="941" y="1224"/>
                    </a:lnTo>
                    <a:lnTo>
                      <a:pt x="941" y="1224"/>
                    </a:lnTo>
                    <a:cubicBezTo>
                      <a:pt x="941" y="1241"/>
                      <a:pt x="935" y="1254"/>
                      <a:pt x="926" y="1259"/>
                    </a:cubicBezTo>
                    <a:lnTo>
                      <a:pt x="887" y="128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6" name="Freeform 388">
                <a:extLst>
                  <a:ext uri="{FF2B5EF4-FFF2-40B4-BE49-F238E27FC236}">
                    <a16:creationId xmlns:a16="http://schemas.microsoft.com/office/drawing/2014/main" id="{60941FE3-6A55-7A47-969D-9FB3A6B73B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607745" cy="613505"/>
              </a:xfrm>
              <a:custGeom>
                <a:avLst/>
                <a:gdLst>
                  <a:gd name="T0" fmla="*/ 380 w 932"/>
                  <a:gd name="T1" fmla="*/ 937 h 938"/>
                  <a:gd name="T2" fmla="*/ 328 w 932"/>
                  <a:gd name="T3" fmla="*/ 907 h 938"/>
                  <a:gd name="T4" fmla="*/ 41 w 932"/>
                  <a:gd name="T5" fmla="*/ 410 h 938"/>
                  <a:gd name="T6" fmla="*/ 42 w 932"/>
                  <a:gd name="T7" fmla="*/ 83 h 938"/>
                  <a:gd name="T8" fmla="*/ 0 w 932"/>
                  <a:gd name="T9" fmla="*/ 28 h 938"/>
                  <a:gd name="T10" fmla="*/ 39 w 932"/>
                  <a:gd name="T11" fmla="*/ 6 h 938"/>
                  <a:gd name="T12" fmla="*/ 39 w 932"/>
                  <a:gd name="T13" fmla="*/ 6 h 938"/>
                  <a:gd name="T14" fmla="*/ 39 w 932"/>
                  <a:gd name="T15" fmla="*/ 6 h 938"/>
                  <a:gd name="T16" fmla="*/ 68 w 932"/>
                  <a:gd name="T17" fmla="*/ 7 h 938"/>
                  <a:gd name="T18" fmla="*/ 899 w 932"/>
                  <a:gd name="T19" fmla="*/ 488 h 938"/>
                  <a:gd name="T20" fmla="*/ 899 w 932"/>
                  <a:gd name="T21" fmla="*/ 488 h 938"/>
                  <a:gd name="T22" fmla="*/ 931 w 932"/>
                  <a:gd name="T23" fmla="*/ 525 h 938"/>
                  <a:gd name="T24" fmla="*/ 380 w 932"/>
                  <a:gd name="T25" fmla="*/ 937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2" h="938">
                    <a:moveTo>
                      <a:pt x="380" y="937"/>
                    </a:moveTo>
                    <a:lnTo>
                      <a:pt x="328" y="907"/>
                    </a:lnTo>
                    <a:lnTo>
                      <a:pt x="41" y="410"/>
                    </a:ln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12" y="495"/>
                      <a:pt x="923" y="509"/>
                      <a:pt x="931" y="525"/>
                    </a:cubicBezTo>
                    <a:lnTo>
                      <a:pt x="380" y="937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7" name="Freeform 389">
                <a:extLst>
                  <a:ext uri="{FF2B5EF4-FFF2-40B4-BE49-F238E27FC236}">
                    <a16:creationId xmlns:a16="http://schemas.microsoft.com/office/drawing/2014/main" id="{191A38BE-721F-8D43-BC90-DBD13C4B1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54727" cy="34564"/>
              </a:xfrm>
              <a:custGeom>
                <a:avLst/>
                <a:gdLst>
                  <a:gd name="T0" fmla="*/ 18 w 84"/>
                  <a:gd name="T1" fmla="*/ 53 h 54"/>
                  <a:gd name="T2" fmla="*/ 0 w 84"/>
                  <a:gd name="T3" fmla="*/ 28 h 54"/>
                  <a:gd name="T4" fmla="*/ 39 w 84"/>
                  <a:gd name="T5" fmla="*/ 6 h 54"/>
                  <a:gd name="T6" fmla="*/ 39 w 84"/>
                  <a:gd name="T7" fmla="*/ 6 h 54"/>
                  <a:gd name="T8" fmla="*/ 39 w 84"/>
                  <a:gd name="T9" fmla="*/ 6 h 54"/>
                  <a:gd name="T10" fmla="*/ 68 w 84"/>
                  <a:gd name="T11" fmla="*/ 7 h 54"/>
                  <a:gd name="T12" fmla="*/ 83 w 84"/>
                  <a:gd name="T13" fmla="*/ 16 h 54"/>
                  <a:gd name="T14" fmla="*/ 18 w 84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54">
                    <a:moveTo>
                      <a:pt x="18" y="53"/>
                    </a:move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3" y="16"/>
                    </a:lnTo>
                    <a:lnTo>
                      <a:pt x="18" y="53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8" name="Freeform 390">
                <a:extLst>
                  <a:ext uri="{FF2B5EF4-FFF2-40B4-BE49-F238E27FC236}">
                    <a16:creationId xmlns:a16="http://schemas.microsoft.com/office/drawing/2014/main" id="{AE05D11E-0FDB-5B48-8B2A-1D88F6DAE7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61385" y="4838910"/>
                <a:ext cx="77769" cy="77769"/>
              </a:xfrm>
              <a:custGeom>
                <a:avLst/>
                <a:gdLst>
                  <a:gd name="T0" fmla="*/ 85 w 121"/>
                  <a:gd name="T1" fmla="*/ 0 h 118"/>
                  <a:gd name="T2" fmla="*/ 85 w 121"/>
                  <a:gd name="T3" fmla="*/ 0 h 118"/>
                  <a:gd name="T4" fmla="*/ 120 w 121"/>
                  <a:gd name="T5" fmla="*/ 70 h 118"/>
                  <a:gd name="T6" fmla="*/ 39 w 121"/>
                  <a:gd name="T7" fmla="*/ 117 h 118"/>
                  <a:gd name="T8" fmla="*/ 0 w 121"/>
                  <a:gd name="T9" fmla="*/ 49 h 118"/>
                  <a:gd name="T10" fmla="*/ 85 w 121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1" h="118">
                    <a:moveTo>
                      <a:pt x="85" y="0"/>
                    </a:moveTo>
                    <a:lnTo>
                      <a:pt x="85" y="0"/>
                    </a:lnTo>
                    <a:cubicBezTo>
                      <a:pt x="104" y="15"/>
                      <a:pt x="118" y="43"/>
                      <a:pt x="120" y="70"/>
                    </a:cubicBezTo>
                    <a:lnTo>
                      <a:pt x="39" y="117"/>
                    </a:lnTo>
                    <a:lnTo>
                      <a:pt x="0" y="49"/>
                    </a:lnTo>
                    <a:lnTo>
                      <a:pt x="85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9" name="Freeform 391">
                <a:extLst>
                  <a:ext uri="{FF2B5EF4-FFF2-40B4-BE49-F238E27FC236}">
                    <a16:creationId xmlns:a16="http://schemas.microsoft.com/office/drawing/2014/main" id="{92F7F2AA-DB9E-9946-B3CA-7145ECDD0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4527837"/>
                <a:ext cx="599103" cy="835288"/>
              </a:xfrm>
              <a:custGeom>
                <a:avLst/>
                <a:gdLst>
                  <a:gd name="T0" fmla="*/ 875 w 918"/>
                  <a:gd name="T1" fmla="*/ 495 h 1278"/>
                  <a:gd name="T2" fmla="*/ 43 w 918"/>
                  <a:gd name="T3" fmla="*/ 14 h 1278"/>
                  <a:gd name="T4" fmla="*/ 43 w 918"/>
                  <a:gd name="T5" fmla="*/ 14 h 1278"/>
                  <a:gd name="T6" fmla="*/ 1 w 918"/>
                  <a:gd name="T7" fmla="*/ 46 h 1278"/>
                  <a:gd name="T8" fmla="*/ 0 w 918"/>
                  <a:gd name="T9" fmla="*/ 700 h 1278"/>
                  <a:gd name="T10" fmla="*/ 0 w 918"/>
                  <a:gd name="T11" fmla="*/ 700 h 1278"/>
                  <a:gd name="T12" fmla="*/ 43 w 918"/>
                  <a:gd name="T13" fmla="*/ 782 h 1278"/>
                  <a:gd name="T14" fmla="*/ 874 w 918"/>
                  <a:gd name="T15" fmla="*/ 1263 h 1278"/>
                  <a:gd name="T16" fmla="*/ 874 w 918"/>
                  <a:gd name="T17" fmla="*/ 1263 h 1278"/>
                  <a:gd name="T18" fmla="*/ 917 w 918"/>
                  <a:gd name="T19" fmla="*/ 1231 h 1278"/>
                  <a:gd name="T20" fmla="*/ 917 w 918"/>
                  <a:gd name="T21" fmla="*/ 577 h 1278"/>
                  <a:gd name="T22" fmla="*/ 917 w 918"/>
                  <a:gd name="T23" fmla="*/ 577 h 1278"/>
                  <a:gd name="T24" fmla="*/ 875 w 918"/>
                  <a:gd name="T25" fmla="*/ 495 h 1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8" h="1278">
                    <a:moveTo>
                      <a:pt x="875" y="495"/>
                    </a:moveTo>
                    <a:lnTo>
                      <a:pt x="43" y="14"/>
                    </a:lnTo>
                    <a:lnTo>
                      <a:pt x="43" y="14"/>
                    </a:lnTo>
                    <a:cubicBezTo>
                      <a:pt x="20" y="0"/>
                      <a:pt x="1" y="15"/>
                      <a:pt x="1" y="46"/>
                    </a:cubicBezTo>
                    <a:lnTo>
                      <a:pt x="0" y="700"/>
                    </a:lnTo>
                    <a:lnTo>
                      <a:pt x="0" y="700"/>
                    </a:lnTo>
                    <a:cubicBezTo>
                      <a:pt x="0" y="731"/>
                      <a:pt x="19" y="769"/>
                      <a:pt x="43" y="782"/>
                    </a:cubicBezTo>
                    <a:lnTo>
                      <a:pt x="874" y="1263"/>
                    </a:lnTo>
                    <a:lnTo>
                      <a:pt x="874" y="1263"/>
                    </a:lnTo>
                    <a:cubicBezTo>
                      <a:pt x="897" y="1277"/>
                      <a:pt x="917" y="1262"/>
                      <a:pt x="917" y="1231"/>
                    </a:cubicBezTo>
                    <a:lnTo>
                      <a:pt x="917" y="577"/>
                    </a:lnTo>
                    <a:lnTo>
                      <a:pt x="917" y="577"/>
                    </a:lnTo>
                    <a:cubicBezTo>
                      <a:pt x="917" y="545"/>
                      <a:pt x="899" y="509"/>
                      <a:pt x="875" y="495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3266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533" name="Freeform 393">
              <a:extLst>
                <a:ext uri="{FF2B5EF4-FFF2-40B4-BE49-F238E27FC236}">
                  <a16:creationId xmlns:a16="http://schemas.microsoft.com/office/drawing/2014/main" id="{4A794B24-16B2-1143-A96B-CB3BF64BE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0251" y="3626304"/>
              <a:ext cx="417643" cy="659588"/>
            </a:xfrm>
            <a:custGeom>
              <a:avLst/>
              <a:gdLst>
                <a:gd name="T0" fmla="*/ 444 w 639"/>
                <a:gd name="T1" fmla="*/ 0 h 1009"/>
                <a:gd name="T2" fmla="*/ 444 w 639"/>
                <a:gd name="T3" fmla="*/ 0 h 1009"/>
                <a:gd name="T4" fmla="*/ 0 w 639"/>
                <a:gd name="T5" fmla="*/ 660 h 1009"/>
                <a:gd name="T6" fmla="*/ 0 w 639"/>
                <a:gd name="T7" fmla="*/ 660 h 1009"/>
                <a:gd name="T8" fmla="*/ 373 w 639"/>
                <a:gd name="T9" fmla="*/ 932 h 1009"/>
                <a:gd name="T10" fmla="*/ 373 w 639"/>
                <a:gd name="T11" fmla="*/ 932 h 1009"/>
                <a:gd name="T12" fmla="*/ 444 w 639"/>
                <a:gd name="T13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9" h="1009">
                  <a:moveTo>
                    <a:pt x="444" y="0"/>
                  </a:moveTo>
                  <a:lnTo>
                    <a:pt x="444" y="0"/>
                  </a:lnTo>
                  <a:cubicBezTo>
                    <a:pt x="444" y="0"/>
                    <a:pt x="128" y="344"/>
                    <a:pt x="0" y="660"/>
                  </a:cubicBezTo>
                  <a:lnTo>
                    <a:pt x="0" y="660"/>
                  </a:lnTo>
                  <a:cubicBezTo>
                    <a:pt x="0" y="660"/>
                    <a:pt x="108" y="855"/>
                    <a:pt x="373" y="932"/>
                  </a:cubicBezTo>
                  <a:lnTo>
                    <a:pt x="373" y="932"/>
                  </a:lnTo>
                  <a:cubicBezTo>
                    <a:pt x="638" y="1008"/>
                    <a:pt x="444" y="0"/>
                    <a:pt x="444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4" name="Freeform 533">
              <a:extLst>
                <a:ext uri="{FF2B5EF4-FFF2-40B4-BE49-F238E27FC236}">
                  <a16:creationId xmlns:a16="http://schemas.microsoft.com/office/drawing/2014/main" id="{B1FD3B56-0FC8-114A-8E8C-27DBC948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8667" y="3897051"/>
              <a:ext cx="575405" cy="506279"/>
            </a:xfrm>
            <a:custGeom>
              <a:avLst/>
              <a:gdLst>
                <a:gd name="connsiteX0" fmla="*/ 575405 w 575405"/>
                <a:gd name="connsiteY0" fmla="*/ 129613 h 506279"/>
                <a:gd name="connsiteX1" fmla="*/ 575405 w 575405"/>
                <a:gd name="connsiteY1" fmla="*/ 506279 h 506279"/>
                <a:gd name="connsiteX2" fmla="*/ 533511 w 575405"/>
                <a:gd name="connsiteY2" fmla="*/ 444047 h 506279"/>
                <a:gd name="connsiteX3" fmla="*/ 575405 w 575405"/>
                <a:gd name="connsiteY3" fmla="*/ 129613 h 506279"/>
                <a:gd name="connsiteX4" fmla="*/ 77126 w 575405"/>
                <a:gd name="connsiteY4" fmla="*/ 0 h 506279"/>
                <a:gd name="connsiteX5" fmla="*/ 44348 w 575405"/>
                <a:gd name="connsiteY5" fmla="*/ 321944 h 506279"/>
                <a:gd name="connsiteX6" fmla="*/ 0 w 575405"/>
                <a:gd name="connsiteY6" fmla="*/ 301782 h 506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405" h="506279">
                  <a:moveTo>
                    <a:pt x="575405" y="129613"/>
                  </a:moveTo>
                  <a:lnTo>
                    <a:pt x="575405" y="506279"/>
                  </a:lnTo>
                  <a:cubicBezTo>
                    <a:pt x="549876" y="496453"/>
                    <a:pt x="532856" y="471560"/>
                    <a:pt x="533511" y="444047"/>
                  </a:cubicBezTo>
                  <a:cubicBezTo>
                    <a:pt x="535474" y="343166"/>
                    <a:pt x="575405" y="129613"/>
                    <a:pt x="575405" y="129613"/>
                  </a:cubicBezTo>
                  <a:close/>
                  <a:moveTo>
                    <a:pt x="77126" y="0"/>
                  </a:moveTo>
                  <a:lnTo>
                    <a:pt x="44348" y="321944"/>
                  </a:lnTo>
                  <a:cubicBezTo>
                    <a:pt x="28922" y="316090"/>
                    <a:pt x="13497" y="308936"/>
                    <a:pt x="0" y="30178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5" name="Freeform 395">
              <a:extLst>
                <a:ext uri="{FF2B5EF4-FFF2-40B4-BE49-F238E27FC236}">
                  <a16:creationId xmlns:a16="http://schemas.microsoft.com/office/drawing/2014/main" id="{E83F56F6-96EC-D748-8478-2D22B500F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9092" y="3565816"/>
              <a:ext cx="109451" cy="63367"/>
            </a:xfrm>
            <a:custGeom>
              <a:avLst/>
              <a:gdLst>
                <a:gd name="T0" fmla="*/ 85 w 169"/>
                <a:gd name="T1" fmla="*/ 24 h 98"/>
                <a:gd name="T2" fmla="*/ 0 w 169"/>
                <a:gd name="T3" fmla="*/ 0 h 98"/>
                <a:gd name="T4" fmla="*/ 0 w 169"/>
                <a:gd name="T5" fmla="*/ 0 h 98"/>
                <a:gd name="T6" fmla="*/ 100 w 169"/>
                <a:gd name="T7" fmla="*/ 80 h 98"/>
                <a:gd name="T8" fmla="*/ 100 w 169"/>
                <a:gd name="T9" fmla="*/ 80 h 98"/>
                <a:gd name="T10" fmla="*/ 168 w 169"/>
                <a:gd name="T11" fmla="*/ 47 h 98"/>
                <a:gd name="T12" fmla="*/ 85 w 169"/>
                <a:gd name="T13" fmla="*/ 2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98">
                  <a:moveTo>
                    <a:pt x="85" y="2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40" y="64"/>
                    <a:pt x="100" y="80"/>
                  </a:cubicBezTo>
                  <a:lnTo>
                    <a:pt x="100" y="80"/>
                  </a:lnTo>
                  <a:cubicBezTo>
                    <a:pt x="159" y="97"/>
                    <a:pt x="168" y="47"/>
                    <a:pt x="168" y="47"/>
                  </a:cubicBezTo>
                  <a:lnTo>
                    <a:pt x="85" y="2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6" name="Freeform 396">
              <a:extLst>
                <a:ext uri="{FF2B5EF4-FFF2-40B4-BE49-F238E27FC236}">
                  <a16:creationId xmlns:a16="http://schemas.microsoft.com/office/drawing/2014/main" id="{8D79D4FD-8538-5C47-91DC-F9DD2677C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0" y="8102293"/>
              <a:ext cx="1454554" cy="841048"/>
            </a:xfrm>
            <a:custGeom>
              <a:avLst/>
              <a:gdLst>
                <a:gd name="T0" fmla="*/ 1007 w 2227"/>
                <a:gd name="T1" fmla="*/ 1252 h 1287"/>
                <a:gd name="T2" fmla="*/ 58 w 2227"/>
                <a:gd name="T3" fmla="*/ 704 h 1287"/>
                <a:gd name="T4" fmla="*/ 58 w 2227"/>
                <a:gd name="T5" fmla="*/ 704 h 1287"/>
                <a:gd name="T6" fmla="*/ 74 w 2227"/>
                <a:gd name="T7" fmla="*/ 573 h 1287"/>
                <a:gd name="T8" fmla="*/ 991 w 2227"/>
                <a:gd name="T9" fmla="*/ 43 h 1287"/>
                <a:gd name="T10" fmla="*/ 991 w 2227"/>
                <a:gd name="T11" fmla="*/ 43 h 1287"/>
                <a:gd name="T12" fmla="*/ 1218 w 2227"/>
                <a:gd name="T13" fmla="*/ 34 h 1287"/>
                <a:gd name="T14" fmla="*/ 2167 w 2227"/>
                <a:gd name="T15" fmla="*/ 582 h 1287"/>
                <a:gd name="T16" fmla="*/ 2167 w 2227"/>
                <a:gd name="T17" fmla="*/ 582 h 1287"/>
                <a:gd name="T18" fmla="*/ 2151 w 2227"/>
                <a:gd name="T19" fmla="*/ 713 h 1287"/>
                <a:gd name="T20" fmla="*/ 1234 w 2227"/>
                <a:gd name="T21" fmla="*/ 1242 h 1287"/>
                <a:gd name="T22" fmla="*/ 1234 w 2227"/>
                <a:gd name="T23" fmla="*/ 1242 h 1287"/>
                <a:gd name="T24" fmla="*/ 1007 w 2227"/>
                <a:gd name="T25" fmla="*/ 1252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27" h="1287">
                  <a:moveTo>
                    <a:pt x="1007" y="1252"/>
                  </a:moveTo>
                  <a:lnTo>
                    <a:pt x="58" y="704"/>
                  </a:lnTo>
                  <a:lnTo>
                    <a:pt x="58" y="704"/>
                  </a:lnTo>
                  <a:cubicBezTo>
                    <a:pt x="0" y="670"/>
                    <a:pt x="7" y="611"/>
                    <a:pt x="74" y="573"/>
                  </a:cubicBezTo>
                  <a:lnTo>
                    <a:pt x="991" y="43"/>
                  </a:lnTo>
                  <a:lnTo>
                    <a:pt x="991" y="43"/>
                  </a:lnTo>
                  <a:cubicBezTo>
                    <a:pt x="1058" y="5"/>
                    <a:pt x="1160" y="0"/>
                    <a:pt x="1218" y="34"/>
                  </a:cubicBezTo>
                  <a:lnTo>
                    <a:pt x="2167" y="582"/>
                  </a:lnTo>
                  <a:lnTo>
                    <a:pt x="2167" y="582"/>
                  </a:lnTo>
                  <a:cubicBezTo>
                    <a:pt x="2226" y="616"/>
                    <a:pt x="2218" y="674"/>
                    <a:pt x="2151" y="713"/>
                  </a:cubicBezTo>
                  <a:lnTo>
                    <a:pt x="1234" y="1242"/>
                  </a:lnTo>
                  <a:lnTo>
                    <a:pt x="1234" y="1242"/>
                  </a:lnTo>
                  <a:cubicBezTo>
                    <a:pt x="1167" y="1282"/>
                    <a:pt x="1065" y="1286"/>
                    <a:pt x="1007" y="125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7" name="Freeform 397">
              <a:extLst>
                <a:ext uri="{FF2B5EF4-FFF2-40B4-BE49-F238E27FC236}">
                  <a16:creationId xmlns:a16="http://schemas.microsoft.com/office/drawing/2014/main" id="{3219190E-DABF-E848-ABB4-4418E28E1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794099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3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8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8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8" name="Freeform 398">
              <a:extLst>
                <a:ext uri="{FF2B5EF4-FFF2-40B4-BE49-F238E27FC236}">
                  <a16:creationId xmlns:a16="http://schemas.microsoft.com/office/drawing/2014/main" id="{304D0B2A-2458-994E-AE10-C2D73C22E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80274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0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9" name="Freeform 399">
              <a:extLst>
                <a:ext uri="{FF2B5EF4-FFF2-40B4-BE49-F238E27FC236}">
                  <a16:creationId xmlns:a16="http://schemas.microsoft.com/office/drawing/2014/main" id="{5A086730-96D0-DB45-A7F4-07B4E3089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94099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0" name="Freeform 400">
              <a:extLst>
                <a:ext uri="{FF2B5EF4-FFF2-40B4-BE49-F238E27FC236}">
                  <a16:creationId xmlns:a16="http://schemas.microsoft.com/office/drawing/2014/main" id="{8B5D35B1-D814-D34B-9176-589778A374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84047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1" name="Freeform 401">
              <a:extLst>
                <a:ext uri="{FF2B5EF4-FFF2-40B4-BE49-F238E27FC236}">
                  <a16:creationId xmlns:a16="http://schemas.microsoft.com/office/drawing/2014/main" id="{1BC2259B-8AE4-A74B-9F64-FE93CE14E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741678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2" name="Freeform 402">
              <a:extLst>
                <a:ext uri="{FF2B5EF4-FFF2-40B4-BE49-F238E27FC236}">
                  <a16:creationId xmlns:a16="http://schemas.microsoft.com/office/drawing/2014/main" id="{0CCFCD83-95FE-C547-8F19-CA19A0EEF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500309"/>
              <a:ext cx="1526560" cy="881373"/>
            </a:xfrm>
            <a:custGeom>
              <a:avLst/>
              <a:gdLst>
                <a:gd name="T0" fmla="*/ 1057 w 2336"/>
                <a:gd name="T1" fmla="*/ 1313 h 1350"/>
                <a:gd name="T2" fmla="*/ 61 w 2336"/>
                <a:gd name="T3" fmla="*/ 738 h 1350"/>
                <a:gd name="T4" fmla="*/ 61 w 2336"/>
                <a:gd name="T5" fmla="*/ 738 h 1350"/>
                <a:gd name="T6" fmla="*/ 78 w 2336"/>
                <a:gd name="T7" fmla="*/ 601 h 1350"/>
                <a:gd name="T8" fmla="*/ 1040 w 2336"/>
                <a:gd name="T9" fmla="*/ 46 h 1350"/>
                <a:gd name="T10" fmla="*/ 1040 w 2336"/>
                <a:gd name="T11" fmla="*/ 46 h 1350"/>
                <a:gd name="T12" fmla="*/ 1278 w 2336"/>
                <a:gd name="T13" fmla="*/ 36 h 1350"/>
                <a:gd name="T14" fmla="*/ 2274 w 2336"/>
                <a:gd name="T15" fmla="*/ 611 h 1350"/>
                <a:gd name="T16" fmla="*/ 2274 w 2336"/>
                <a:gd name="T17" fmla="*/ 611 h 1350"/>
                <a:gd name="T18" fmla="*/ 2257 w 2336"/>
                <a:gd name="T19" fmla="*/ 748 h 1350"/>
                <a:gd name="T20" fmla="*/ 1295 w 2336"/>
                <a:gd name="T21" fmla="*/ 1303 h 1350"/>
                <a:gd name="T22" fmla="*/ 1295 w 2336"/>
                <a:gd name="T23" fmla="*/ 1303 h 1350"/>
                <a:gd name="T24" fmla="*/ 1057 w 2336"/>
                <a:gd name="T25" fmla="*/ 1313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8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9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3" name="Freeform 406">
              <a:extLst>
                <a:ext uri="{FF2B5EF4-FFF2-40B4-BE49-F238E27FC236}">
                  <a16:creationId xmlns:a16="http://schemas.microsoft.com/office/drawing/2014/main" id="{491B6196-7679-4E41-A708-CF628D4E1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64936"/>
              <a:ext cx="1791548" cy="947619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5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4" name="Freeform 407">
              <a:extLst>
                <a:ext uri="{FF2B5EF4-FFF2-40B4-BE49-F238E27FC236}">
                  <a16:creationId xmlns:a16="http://schemas.microsoft.com/office/drawing/2014/main" id="{6C547D43-E205-AD41-8E5B-AA891B633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73576"/>
              <a:ext cx="895773" cy="930339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2 h 1426"/>
                <a:gd name="T8" fmla="*/ 2 w 1373"/>
                <a:gd name="T9" fmla="*/ 211 h 1426"/>
                <a:gd name="T10" fmla="*/ 2 w 1373"/>
                <a:gd name="T11" fmla="*/ 633 h 1426"/>
                <a:gd name="T12" fmla="*/ 2 w 1373"/>
                <a:gd name="T13" fmla="*/ 633 h 1426"/>
                <a:gd name="T14" fmla="*/ 51 w 1373"/>
                <a:gd name="T15" fmla="*/ 709 h 1426"/>
                <a:gd name="T16" fmla="*/ 1240 w 1373"/>
                <a:gd name="T17" fmla="*/ 1396 h 1426"/>
                <a:gd name="T18" fmla="*/ 1240 w 1373"/>
                <a:gd name="T19" fmla="*/ 1396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6"/>
                    <a:pt x="1219" y="41"/>
                  </a:cubicBezTo>
                  <a:lnTo>
                    <a:pt x="922" y="212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2"/>
                    <a:pt x="16" y="689"/>
                    <a:pt x="51" y="709"/>
                  </a:cubicBezTo>
                  <a:lnTo>
                    <a:pt x="1240" y="1396"/>
                  </a:lnTo>
                  <a:lnTo>
                    <a:pt x="1240" y="1396"/>
                  </a:lnTo>
                  <a:cubicBezTo>
                    <a:pt x="1275" y="1416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5" name="Freeform 408">
              <a:extLst>
                <a:ext uri="{FF2B5EF4-FFF2-40B4-BE49-F238E27FC236}">
                  <a16:creationId xmlns:a16="http://schemas.microsoft.com/office/drawing/2014/main" id="{2693022A-FBE9-794F-B6FF-5813D02D9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511830"/>
              <a:ext cx="69127" cy="348517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6" name="Freeform 409">
              <a:extLst>
                <a:ext uri="{FF2B5EF4-FFF2-40B4-BE49-F238E27FC236}">
                  <a16:creationId xmlns:a16="http://schemas.microsoft.com/office/drawing/2014/main" id="{73988138-B4C4-7B41-AB9F-88A789B5C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975559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7" name="Freeform 410">
              <a:extLst>
                <a:ext uri="{FF2B5EF4-FFF2-40B4-BE49-F238E27FC236}">
                  <a16:creationId xmlns:a16="http://schemas.microsoft.com/office/drawing/2014/main" id="{43730CF9-4DBF-3446-82ED-42F77BE7E3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987615"/>
              <a:ext cx="1820351" cy="1051311"/>
            </a:xfrm>
            <a:custGeom>
              <a:avLst/>
              <a:gdLst>
                <a:gd name="T0" fmla="*/ 1262 w 2789"/>
                <a:gd name="T1" fmla="*/ 1567 h 1611"/>
                <a:gd name="T2" fmla="*/ 73 w 2789"/>
                <a:gd name="T3" fmla="*/ 881 h 1611"/>
                <a:gd name="T4" fmla="*/ 73 w 2789"/>
                <a:gd name="T5" fmla="*/ 881 h 1611"/>
                <a:gd name="T6" fmla="*/ 93 w 2789"/>
                <a:gd name="T7" fmla="*/ 717 h 1611"/>
                <a:gd name="T8" fmla="*/ 1241 w 2789"/>
                <a:gd name="T9" fmla="*/ 54 h 1611"/>
                <a:gd name="T10" fmla="*/ 1241 w 2789"/>
                <a:gd name="T11" fmla="*/ 54 h 1611"/>
                <a:gd name="T12" fmla="*/ 1526 w 2789"/>
                <a:gd name="T13" fmla="*/ 42 h 1611"/>
                <a:gd name="T14" fmla="*/ 2715 w 2789"/>
                <a:gd name="T15" fmla="*/ 729 h 1611"/>
                <a:gd name="T16" fmla="*/ 2715 w 2789"/>
                <a:gd name="T17" fmla="*/ 729 h 1611"/>
                <a:gd name="T18" fmla="*/ 2694 w 2789"/>
                <a:gd name="T19" fmla="*/ 893 h 1611"/>
                <a:gd name="T20" fmla="*/ 1546 w 2789"/>
                <a:gd name="T21" fmla="*/ 1556 h 1611"/>
                <a:gd name="T22" fmla="*/ 1546 w 2789"/>
                <a:gd name="T23" fmla="*/ 1556 h 1611"/>
                <a:gd name="T24" fmla="*/ 1262 w 2789"/>
                <a:gd name="T25" fmla="*/ 156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1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6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9"/>
                  </a:lnTo>
                  <a:lnTo>
                    <a:pt x="2715" y="729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6"/>
                  </a:lnTo>
                  <a:lnTo>
                    <a:pt x="1546" y="1556"/>
                  </a:lnTo>
                  <a:cubicBezTo>
                    <a:pt x="1462" y="1604"/>
                    <a:pt x="1334" y="1610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8" name="Freeform 411">
              <a:extLst>
                <a:ext uri="{FF2B5EF4-FFF2-40B4-BE49-F238E27FC236}">
                  <a16:creationId xmlns:a16="http://schemas.microsoft.com/office/drawing/2014/main" id="{7B2A9968-1678-2046-B238-D608CD33B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071145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8 h 1349"/>
                <a:gd name="T4" fmla="*/ 61 w 2336"/>
                <a:gd name="T5" fmla="*/ 738 h 1349"/>
                <a:gd name="T6" fmla="*/ 78 w 2336"/>
                <a:gd name="T7" fmla="*/ 600 h 1349"/>
                <a:gd name="T8" fmla="*/ 1040 w 2336"/>
                <a:gd name="T9" fmla="*/ 45 h 1349"/>
                <a:gd name="T10" fmla="*/ 1040 w 2336"/>
                <a:gd name="T11" fmla="*/ 45 h 1349"/>
                <a:gd name="T12" fmla="*/ 1278 w 2336"/>
                <a:gd name="T13" fmla="*/ 35 h 1349"/>
                <a:gd name="T14" fmla="*/ 2274 w 2336"/>
                <a:gd name="T15" fmla="*/ 610 h 1349"/>
                <a:gd name="T16" fmla="*/ 2274 w 2336"/>
                <a:gd name="T17" fmla="*/ 610 h 1349"/>
                <a:gd name="T18" fmla="*/ 2257 w 2336"/>
                <a:gd name="T19" fmla="*/ 747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1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5"/>
                    <a:pt x="2328" y="707"/>
                    <a:pt x="2257" y="747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9" name="Freeform 415">
              <a:extLst>
                <a:ext uri="{FF2B5EF4-FFF2-40B4-BE49-F238E27FC236}">
                  <a16:creationId xmlns:a16="http://schemas.microsoft.com/office/drawing/2014/main" id="{04A57BA4-C790-9D4B-9DCF-F9048B5FB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35769"/>
              <a:ext cx="1791548" cy="947620"/>
            </a:xfrm>
            <a:custGeom>
              <a:avLst/>
              <a:gdLst>
                <a:gd name="T0" fmla="*/ 2741 w 2745"/>
                <a:gd name="T1" fmla="*/ 636 h 1453"/>
                <a:gd name="T2" fmla="*/ 2741 w 2745"/>
                <a:gd name="T3" fmla="*/ 636 h 1453"/>
                <a:gd name="T4" fmla="*/ 2741 w 2745"/>
                <a:gd name="T5" fmla="*/ 227 h 1453"/>
                <a:gd name="T6" fmla="*/ 1822 w 2745"/>
                <a:gd name="T7" fmla="*/ 226 h 1453"/>
                <a:gd name="T8" fmla="*/ 1504 w 2745"/>
                <a:gd name="T9" fmla="*/ 42 h 1453"/>
                <a:gd name="T10" fmla="*/ 1504 w 2745"/>
                <a:gd name="T11" fmla="*/ 42 h 1453"/>
                <a:gd name="T12" fmla="*/ 1219 w 2745"/>
                <a:gd name="T13" fmla="*/ 55 h 1453"/>
                <a:gd name="T14" fmla="*/ 922 w 2745"/>
                <a:gd name="T15" fmla="*/ 225 h 1453"/>
                <a:gd name="T16" fmla="*/ 2 w 2745"/>
                <a:gd name="T17" fmla="*/ 225 h 1453"/>
                <a:gd name="T18" fmla="*/ 2 w 2745"/>
                <a:gd name="T19" fmla="*/ 646 h 1453"/>
                <a:gd name="T20" fmla="*/ 2 w 2745"/>
                <a:gd name="T21" fmla="*/ 646 h 1453"/>
                <a:gd name="T22" fmla="*/ 51 w 2745"/>
                <a:gd name="T23" fmla="*/ 723 h 1453"/>
                <a:gd name="T24" fmla="*/ 1240 w 2745"/>
                <a:gd name="T25" fmla="*/ 1409 h 1453"/>
                <a:gd name="T26" fmla="*/ 1240 w 2745"/>
                <a:gd name="T27" fmla="*/ 1409 h 1453"/>
                <a:gd name="T28" fmla="*/ 1524 w 2745"/>
                <a:gd name="T29" fmla="*/ 1398 h 1453"/>
                <a:gd name="T30" fmla="*/ 2672 w 2745"/>
                <a:gd name="T31" fmla="*/ 735 h 1453"/>
                <a:gd name="T32" fmla="*/ 2672 w 2745"/>
                <a:gd name="T33" fmla="*/ 735 h 1453"/>
                <a:gd name="T34" fmla="*/ 2741 w 2745"/>
                <a:gd name="T35" fmla="*/ 63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3">
                  <a:moveTo>
                    <a:pt x="2741" y="636"/>
                  </a:moveTo>
                  <a:lnTo>
                    <a:pt x="2741" y="636"/>
                  </a:lnTo>
                  <a:lnTo>
                    <a:pt x="2741" y="227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5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2"/>
                    <a:pt x="1440" y="1446"/>
                    <a:pt x="1524" y="1398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0" name="Freeform 416">
              <a:extLst>
                <a:ext uri="{FF2B5EF4-FFF2-40B4-BE49-F238E27FC236}">
                  <a16:creationId xmlns:a16="http://schemas.microsoft.com/office/drawing/2014/main" id="{B504690C-C6F8-D747-9D63-8B3ACC392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4441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1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1" name="Freeform 417">
              <a:extLst>
                <a:ext uri="{FF2B5EF4-FFF2-40B4-BE49-F238E27FC236}">
                  <a16:creationId xmlns:a16="http://schemas.microsoft.com/office/drawing/2014/main" id="{D06947E8-DE12-B740-BA2E-43869AE9F0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08266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2" name="Freeform 418">
              <a:extLst>
                <a:ext uri="{FF2B5EF4-FFF2-40B4-BE49-F238E27FC236}">
                  <a16:creationId xmlns:a16="http://schemas.microsoft.com/office/drawing/2014/main" id="{86579804-B672-304C-94D0-5C758BF6B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549274"/>
              <a:ext cx="149776" cy="331234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3" name="Freeform 419">
              <a:extLst>
                <a:ext uri="{FF2B5EF4-FFF2-40B4-BE49-F238E27FC236}">
                  <a16:creationId xmlns:a16="http://schemas.microsoft.com/office/drawing/2014/main" id="{3252DC1E-2104-CE43-8061-EBEE5D054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55845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7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1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1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4" name="Freeform 420">
              <a:extLst>
                <a:ext uri="{FF2B5EF4-FFF2-40B4-BE49-F238E27FC236}">
                  <a16:creationId xmlns:a16="http://schemas.microsoft.com/office/drawing/2014/main" id="{14104C35-AFD4-F644-B9C3-0848C5AD6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644860"/>
              <a:ext cx="1526560" cy="881373"/>
            </a:xfrm>
            <a:custGeom>
              <a:avLst/>
              <a:gdLst>
                <a:gd name="T0" fmla="*/ 1057 w 2336"/>
                <a:gd name="T1" fmla="*/ 1314 h 1350"/>
                <a:gd name="T2" fmla="*/ 61 w 2336"/>
                <a:gd name="T3" fmla="*/ 739 h 1350"/>
                <a:gd name="T4" fmla="*/ 61 w 2336"/>
                <a:gd name="T5" fmla="*/ 739 h 1350"/>
                <a:gd name="T6" fmla="*/ 78 w 2336"/>
                <a:gd name="T7" fmla="*/ 600 h 1350"/>
                <a:gd name="T8" fmla="*/ 1040 w 2336"/>
                <a:gd name="T9" fmla="*/ 45 h 1350"/>
                <a:gd name="T10" fmla="*/ 1040 w 2336"/>
                <a:gd name="T11" fmla="*/ 45 h 1350"/>
                <a:gd name="T12" fmla="*/ 1278 w 2336"/>
                <a:gd name="T13" fmla="*/ 36 h 1350"/>
                <a:gd name="T14" fmla="*/ 2274 w 2336"/>
                <a:gd name="T15" fmla="*/ 610 h 1350"/>
                <a:gd name="T16" fmla="*/ 2274 w 2336"/>
                <a:gd name="T17" fmla="*/ 610 h 1350"/>
                <a:gd name="T18" fmla="*/ 2257 w 2336"/>
                <a:gd name="T19" fmla="*/ 749 h 1350"/>
                <a:gd name="T20" fmla="*/ 1295 w 2336"/>
                <a:gd name="T21" fmla="*/ 1304 h 1350"/>
                <a:gd name="T22" fmla="*/ 1295 w 2336"/>
                <a:gd name="T23" fmla="*/ 1304 h 1350"/>
                <a:gd name="T24" fmla="*/ 1057 w 2336"/>
                <a:gd name="T25" fmla="*/ 1314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4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6"/>
                    <a:pt x="2328" y="708"/>
                    <a:pt x="2257" y="749"/>
                  </a:cubicBezTo>
                  <a:lnTo>
                    <a:pt x="1295" y="1304"/>
                  </a:lnTo>
                  <a:lnTo>
                    <a:pt x="1295" y="1304"/>
                  </a:lnTo>
                  <a:cubicBezTo>
                    <a:pt x="1225" y="1344"/>
                    <a:pt x="1118" y="1349"/>
                    <a:pt x="1057" y="131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5" name="Freeform 424">
              <a:extLst>
                <a:ext uri="{FF2B5EF4-FFF2-40B4-BE49-F238E27FC236}">
                  <a16:creationId xmlns:a16="http://schemas.microsoft.com/office/drawing/2014/main" id="{91E1EC48-9693-7541-BE63-C509D1CC46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09485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6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6" name="Freeform 425">
              <a:extLst>
                <a:ext uri="{FF2B5EF4-FFF2-40B4-BE49-F238E27FC236}">
                  <a16:creationId xmlns:a16="http://schemas.microsoft.com/office/drawing/2014/main" id="{4BB710B9-3BE7-C44D-92A0-81B710A85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1812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0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1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0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7" name="Freeform 426">
              <a:extLst>
                <a:ext uri="{FF2B5EF4-FFF2-40B4-BE49-F238E27FC236}">
                  <a16:creationId xmlns:a16="http://schemas.microsoft.com/office/drawing/2014/main" id="{54919575-079A-A44B-8054-F7723D66B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656381"/>
              <a:ext cx="69127" cy="348516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8" name="Freeform 427">
              <a:extLst>
                <a:ext uri="{FF2B5EF4-FFF2-40B4-BE49-F238E27FC236}">
                  <a16:creationId xmlns:a16="http://schemas.microsoft.com/office/drawing/2014/main" id="{996A8CA9-4D30-3E4D-A9A6-1D73C62BD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120108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9" name="Freeform 428">
              <a:extLst>
                <a:ext uri="{FF2B5EF4-FFF2-40B4-BE49-F238E27FC236}">
                  <a16:creationId xmlns:a16="http://schemas.microsoft.com/office/drawing/2014/main" id="{6FD4F309-E671-E544-BF88-AD47342A2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132167"/>
              <a:ext cx="1820351" cy="1051309"/>
            </a:xfrm>
            <a:custGeom>
              <a:avLst/>
              <a:gdLst>
                <a:gd name="T0" fmla="*/ 1262 w 2789"/>
                <a:gd name="T1" fmla="*/ 1566 h 1610"/>
                <a:gd name="T2" fmla="*/ 73 w 2789"/>
                <a:gd name="T3" fmla="*/ 880 h 1610"/>
                <a:gd name="T4" fmla="*/ 73 w 2789"/>
                <a:gd name="T5" fmla="*/ 880 h 1610"/>
                <a:gd name="T6" fmla="*/ 93 w 2789"/>
                <a:gd name="T7" fmla="*/ 716 h 1610"/>
                <a:gd name="T8" fmla="*/ 1241 w 2789"/>
                <a:gd name="T9" fmla="*/ 55 h 1610"/>
                <a:gd name="T10" fmla="*/ 1241 w 2789"/>
                <a:gd name="T11" fmla="*/ 55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2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6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6"/>
                  </a:moveTo>
                  <a:lnTo>
                    <a:pt x="73" y="880"/>
                  </a:lnTo>
                  <a:lnTo>
                    <a:pt x="73" y="880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5"/>
                  </a:lnTo>
                  <a:lnTo>
                    <a:pt x="1241" y="55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2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0" name="Freeform 429">
              <a:extLst>
                <a:ext uri="{FF2B5EF4-FFF2-40B4-BE49-F238E27FC236}">
                  <a16:creationId xmlns:a16="http://schemas.microsoft.com/office/drawing/2014/main" id="{80CF1AB0-F88F-754B-98F1-48AD0A169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215694"/>
              <a:ext cx="1526560" cy="881373"/>
            </a:xfrm>
            <a:custGeom>
              <a:avLst/>
              <a:gdLst>
                <a:gd name="T0" fmla="*/ 1057 w 2336"/>
                <a:gd name="T1" fmla="*/ 1312 h 1348"/>
                <a:gd name="T2" fmla="*/ 61 w 2336"/>
                <a:gd name="T3" fmla="*/ 737 h 1348"/>
                <a:gd name="T4" fmla="*/ 61 w 2336"/>
                <a:gd name="T5" fmla="*/ 737 h 1348"/>
                <a:gd name="T6" fmla="*/ 78 w 2336"/>
                <a:gd name="T7" fmla="*/ 599 h 1348"/>
                <a:gd name="T8" fmla="*/ 1040 w 2336"/>
                <a:gd name="T9" fmla="*/ 45 h 1348"/>
                <a:gd name="T10" fmla="*/ 1040 w 2336"/>
                <a:gd name="T11" fmla="*/ 45 h 1348"/>
                <a:gd name="T12" fmla="*/ 1278 w 2336"/>
                <a:gd name="T13" fmla="*/ 35 h 1348"/>
                <a:gd name="T14" fmla="*/ 2274 w 2336"/>
                <a:gd name="T15" fmla="*/ 609 h 1348"/>
                <a:gd name="T16" fmla="*/ 2274 w 2336"/>
                <a:gd name="T17" fmla="*/ 609 h 1348"/>
                <a:gd name="T18" fmla="*/ 2257 w 2336"/>
                <a:gd name="T19" fmla="*/ 747 h 1348"/>
                <a:gd name="T20" fmla="*/ 1295 w 2336"/>
                <a:gd name="T21" fmla="*/ 1302 h 1348"/>
                <a:gd name="T22" fmla="*/ 1295 w 2336"/>
                <a:gd name="T23" fmla="*/ 1302 h 1348"/>
                <a:gd name="T24" fmla="*/ 1057 w 2336"/>
                <a:gd name="T25" fmla="*/ 1312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8">
                  <a:moveTo>
                    <a:pt x="1057" y="1312"/>
                  </a:moveTo>
                  <a:lnTo>
                    <a:pt x="61" y="737"/>
                  </a:lnTo>
                  <a:lnTo>
                    <a:pt x="61" y="737"/>
                  </a:lnTo>
                  <a:cubicBezTo>
                    <a:pt x="0" y="702"/>
                    <a:pt x="7" y="640"/>
                    <a:pt x="78" y="599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09"/>
                  </a:lnTo>
                  <a:lnTo>
                    <a:pt x="2274" y="609"/>
                  </a:lnTo>
                  <a:cubicBezTo>
                    <a:pt x="2335" y="644"/>
                    <a:pt x="2328" y="706"/>
                    <a:pt x="2257" y="747"/>
                  </a:cubicBezTo>
                  <a:lnTo>
                    <a:pt x="1295" y="1302"/>
                  </a:lnTo>
                  <a:lnTo>
                    <a:pt x="1295" y="1302"/>
                  </a:lnTo>
                  <a:cubicBezTo>
                    <a:pt x="1225" y="1343"/>
                    <a:pt x="1118" y="1347"/>
                    <a:pt x="1057" y="131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1" name="Freeform 433">
              <a:extLst>
                <a:ext uri="{FF2B5EF4-FFF2-40B4-BE49-F238E27FC236}">
                  <a16:creationId xmlns:a16="http://schemas.microsoft.com/office/drawing/2014/main" id="{2707FAD4-9852-174D-ACA4-346419590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0321"/>
              <a:ext cx="1791548" cy="947619"/>
            </a:xfrm>
            <a:custGeom>
              <a:avLst/>
              <a:gdLst>
                <a:gd name="T0" fmla="*/ 2741 w 2745"/>
                <a:gd name="T1" fmla="*/ 636 h 1451"/>
                <a:gd name="T2" fmla="*/ 2741 w 2745"/>
                <a:gd name="T3" fmla="*/ 636 h 1451"/>
                <a:gd name="T4" fmla="*/ 2741 w 2745"/>
                <a:gd name="T5" fmla="*/ 226 h 1451"/>
                <a:gd name="T6" fmla="*/ 1822 w 2745"/>
                <a:gd name="T7" fmla="*/ 225 h 1451"/>
                <a:gd name="T8" fmla="*/ 1504 w 2745"/>
                <a:gd name="T9" fmla="*/ 41 h 1451"/>
                <a:gd name="T10" fmla="*/ 1504 w 2745"/>
                <a:gd name="T11" fmla="*/ 41 h 1451"/>
                <a:gd name="T12" fmla="*/ 1219 w 2745"/>
                <a:gd name="T13" fmla="*/ 53 h 1451"/>
                <a:gd name="T14" fmla="*/ 922 w 2745"/>
                <a:gd name="T15" fmla="*/ 224 h 1451"/>
                <a:gd name="T16" fmla="*/ 2 w 2745"/>
                <a:gd name="T17" fmla="*/ 224 h 1451"/>
                <a:gd name="T18" fmla="*/ 2 w 2745"/>
                <a:gd name="T19" fmla="*/ 645 h 1451"/>
                <a:gd name="T20" fmla="*/ 2 w 2745"/>
                <a:gd name="T21" fmla="*/ 645 h 1451"/>
                <a:gd name="T22" fmla="*/ 51 w 2745"/>
                <a:gd name="T23" fmla="*/ 721 h 1451"/>
                <a:gd name="T24" fmla="*/ 1240 w 2745"/>
                <a:gd name="T25" fmla="*/ 1408 h 1451"/>
                <a:gd name="T26" fmla="*/ 1240 w 2745"/>
                <a:gd name="T27" fmla="*/ 1408 h 1451"/>
                <a:gd name="T28" fmla="*/ 1524 w 2745"/>
                <a:gd name="T29" fmla="*/ 1396 h 1451"/>
                <a:gd name="T30" fmla="*/ 2672 w 2745"/>
                <a:gd name="T31" fmla="*/ 733 h 1451"/>
                <a:gd name="T32" fmla="*/ 2672 w 2745"/>
                <a:gd name="T33" fmla="*/ 733 h 1451"/>
                <a:gd name="T34" fmla="*/ 2741 w 2745"/>
                <a:gd name="T35" fmla="*/ 63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1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1"/>
                  </a:lnTo>
                  <a:lnTo>
                    <a:pt x="1504" y="41"/>
                  </a:lnTo>
                  <a:cubicBezTo>
                    <a:pt x="1431" y="0"/>
                    <a:pt x="1303" y="5"/>
                    <a:pt x="1219" y="53"/>
                  </a:cubicBezTo>
                  <a:lnTo>
                    <a:pt x="922" y="224"/>
                  </a:lnTo>
                  <a:lnTo>
                    <a:pt x="2" y="224"/>
                  </a:lnTo>
                  <a:lnTo>
                    <a:pt x="2" y="645"/>
                  </a:lnTo>
                  <a:lnTo>
                    <a:pt x="2" y="645"/>
                  </a:lnTo>
                  <a:cubicBezTo>
                    <a:pt x="0" y="673"/>
                    <a:pt x="16" y="701"/>
                    <a:pt x="51" y="721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0"/>
                    <a:pt x="1440" y="1445"/>
                    <a:pt x="1524" y="1396"/>
                  </a:cubicBezTo>
                  <a:lnTo>
                    <a:pt x="2672" y="733"/>
                  </a:lnTo>
                  <a:lnTo>
                    <a:pt x="2672" y="733"/>
                  </a:lnTo>
                  <a:cubicBezTo>
                    <a:pt x="2720" y="705"/>
                    <a:pt x="2744" y="669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2" name="Freeform 434">
              <a:extLst>
                <a:ext uri="{FF2B5EF4-FFF2-40B4-BE49-F238E27FC236}">
                  <a16:creationId xmlns:a16="http://schemas.microsoft.com/office/drawing/2014/main" id="{914A90E7-D72E-CF40-AD16-FFFDDB144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8961"/>
              <a:ext cx="895773" cy="930339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0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3" name="Freeform 435">
              <a:extLst>
                <a:ext uri="{FF2B5EF4-FFF2-40B4-BE49-F238E27FC236}">
                  <a16:creationId xmlns:a16="http://schemas.microsoft.com/office/drawing/2014/main" id="{9C4C726C-82EC-AA47-B733-611090752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227215"/>
              <a:ext cx="69127" cy="345636"/>
            </a:xfrm>
            <a:custGeom>
              <a:avLst/>
              <a:gdLst>
                <a:gd name="T0" fmla="*/ 106 w 107"/>
                <a:gd name="T1" fmla="*/ 0 h 530"/>
                <a:gd name="T2" fmla="*/ 2 w 107"/>
                <a:gd name="T3" fmla="*/ 0 h 530"/>
                <a:gd name="T4" fmla="*/ 2 w 107"/>
                <a:gd name="T5" fmla="*/ 421 h 530"/>
                <a:gd name="T6" fmla="*/ 2 w 107"/>
                <a:gd name="T7" fmla="*/ 421 h 530"/>
                <a:gd name="T8" fmla="*/ 51 w 107"/>
                <a:gd name="T9" fmla="*/ 497 h 530"/>
                <a:gd name="T10" fmla="*/ 106 w 107"/>
                <a:gd name="T11" fmla="*/ 529 h 530"/>
                <a:gd name="T12" fmla="*/ 106 w 107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0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49"/>
                    <a:pt x="16" y="477"/>
                    <a:pt x="51" y="497"/>
                  </a:cubicBezTo>
                  <a:lnTo>
                    <a:pt x="106" y="529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4" name="Freeform 436">
              <a:extLst>
                <a:ext uri="{FF2B5EF4-FFF2-40B4-BE49-F238E27FC236}">
                  <a16:creationId xmlns:a16="http://schemas.microsoft.com/office/drawing/2014/main" id="{9B8816B8-9CCE-5347-8F6B-7DBB36D93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6938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5" name="Freeform 437">
              <a:extLst>
                <a:ext uri="{FF2B5EF4-FFF2-40B4-BE49-F238E27FC236}">
                  <a16:creationId xmlns:a16="http://schemas.microsoft.com/office/drawing/2014/main" id="{841BCED5-2C1A-854C-B6BB-35A0CA4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703000"/>
              <a:ext cx="1820351" cy="1051311"/>
            </a:xfrm>
            <a:custGeom>
              <a:avLst/>
              <a:gdLst>
                <a:gd name="T0" fmla="*/ 1262 w 2789"/>
                <a:gd name="T1" fmla="*/ 1566 h 1609"/>
                <a:gd name="T2" fmla="*/ 73 w 2789"/>
                <a:gd name="T3" fmla="*/ 881 h 1609"/>
                <a:gd name="T4" fmla="*/ 73 w 2789"/>
                <a:gd name="T5" fmla="*/ 881 h 1609"/>
                <a:gd name="T6" fmla="*/ 93 w 2789"/>
                <a:gd name="T7" fmla="*/ 716 h 1609"/>
                <a:gd name="T8" fmla="*/ 1241 w 2789"/>
                <a:gd name="T9" fmla="*/ 54 h 1609"/>
                <a:gd name="T10" fmla="*/ 1241 w 2789"/>
                <a:gd name="T11" fmla="*/ 54 h 1609"/>
                <a:gd name="T12" fmla="*/ 1526 w 2789"/>
                <a:gd name="T13" fmla="*/ 42 h 1609"/>
                <a:gd name="T14" fmla="*/ 2715 w 2789"/>
                <a:gd name="T15" fmla="*/ 728 h 1609"/>
                <a:gd name="T16" fmla="*/ 2715 w 2789"/>
                <a:gd name="T17" fmla="*/ 728 h 1609"/>
                <a:gd name="T18" fmla="*/ 2694 w 2789"/>
                <a:gd name="T19" fmla="*/ 893 h 1609"/>
                <a:gd name="T20" fmla="*/ 1546 w 2789"/>
                <a:gd name="T21" fmla="*/ 1554 h 1609"/>
                <a:gd name="T22" fmla="*/ 1546 w 2789"/>
                <a:gd name="T23" fmla="*/ 1554 h 1609"/>
                <a:gd name="T24" fmla="*/ 1262 w 2789"/>
                <a:gd name="T25" fmla="*/ 156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09">
                  <a:moveTo>
                    <a:pt x="1262" y="1566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4"/>
                  </a:lnTo>
                  <a:lnTo>
                    <a:pt x="1546" y="1554"/>
                  </a:lnTo>
                  <a:cubicBezTo>
                    <a:pt x="1462" y="1603"/>
                    <a:pt x="1334" y="1608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6" name="Freeform 438">
              <a:extLst>
                <a:ext uri="{FF2B5EF4-FFF2-40B4-BE49-F238E27FC236}">
                  <a16:creationId xmlns:a16="http://schemas.microsoft.com/office/drawing/2014/main" id="{C315EA1E-766F-F346-9CFC-1173F384F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5789409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9 h 1349"/>
                <a:gd name="T4" fmla="*/ 61 w 2336"/>
                <a:gd name="T5" fmla="*/ 739 h 1349"/>
                <a:gd name="T6" fmla="*/ 78 w 2336"/>
                <a:gd name="T7" fmla="*/ 601 h 1349"/>
                <a:gd name="T8" fmla="*/ 1040 w 2336"/>
                <a:gd name="T9" fmla="*/ 46 h 1349"/>
                <a:gd name="T10" fmla="*/ 1040 w 2336"/>
                <a:gd name="T11" fmla="*/ 46 h 1349"/>
                <a:gd name="T12" fmla="*/ 1278 w 2336"/>
                <a:gd name="T13" fmla="*/ 36 h 1349"/>
                <a:gd name="T14" fmla="*/ 2274 w 2336"/>
                <a:gd name="T15" fmla="*/ 611 h 1349"/>
                <a:gd name="T16" fmla="*/ 2274 w 2336"/>
                <a:gd name="T17" fmla="*/ 611 h 1349"/>
                <a:gd name="T18" fmla="*/ 2257 w 2336"/>
                <a:gd name="T19" fmla="*/ 749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9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3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7" name="Freeform 443">
              <a:extLst>
                <a:ext uri="{FF2B5EF4-FFF2-40B4-BE49-F238E27FC236}">
                  <a16:creationId xmlns:a16="http://schemas.microsoft.com/office/drawing/2014/main" id="{A2D9C78C-6FB4-9A49-8980-66721F0FD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1154"/>
              <a:ext cx="1791548" cy="947620"/>
            </a:xfrm>
            <a:custGeom>
              <a:avLst/>
              <a:gdLst>
                <a:gd name="T0" fmla="*/ 2741 w 2745"/>
                <a:gd name="T1" fmla="*/ 637 h 1452"/>
                <a:gd name="T2" fmla="*/ 2741 w 2745"/>
                <a:gd name="T3" fmla="*/ 637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3 h 1452"/>
                <a:gd name="T10" fmla="*/ 1504 w 2745"/>
                <a:gd name="T11" fmla="*/ 43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7 h 1452"/>
                <a:gd name="T20" fmla="*/ 2 w 2745"/>
                <a:gd name="T21" fmla="*/ 647 h 1452"/>
                <a:gd name="T22" fmla="*/ 51 w 2745"/>
                <a:gd name="T23" fmla="*/ 723 h 1452"/>
                <a:gd name="T24" fmla="*/ 1240 w 2745"/>
                <a:gd name="T25" fmla="*/ 1408 h 1452"/>
                <a:gd name="T26" fmla="*/ 1240 w 2745"/>
                <a:gd name="T27" fmla="*/ 1408 h 1452"/>
                <a:gd name="T28" fmla="*/ 1524 w 2745"/>
                <a:gd name="T29" fmla="*/ 1397 h 1452"/>
                <a:gd name="T30" fmla="*/ 2672 w 2745"/>
                <a:gd name="T31" fmla="*/ 735 h 1452"/>
                <a:gd name="T32" fmla="*/ 2672 w 2745"/>
                <a:gd name="T33" fmla="*/ 735 h 1452"/>
                <a:gd name="T34" fmla="*/ 2741 w 2745"/>
                <a:gd name="T35" fmla="*/ 637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7"/>
                  </a:moveTo>
                  <a:lnTo>
                    <a:pt x="2741" y="637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3"/>
                  </a:lnTo>
                  <a:lnTo>
                    <a:pt x="1504" y="43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7"/>
                  </a:lnTo>
                  <a:lnTo>
                    <a:pt x="2" y="647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1"/>
                    <a:pt x="1440" y="1445"/>
                    <a:pt x="1524" y="1397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7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8" name="Freeform 444">
              <a:extLst>
                <a:ext uri="{FF2B5EF4-FFF2-40B4-BE49-F238E27FC236}">
                  <a16:creationId xmlns:a16="http://schemas.microsoft.com/office/drawing/2014/main" id="{0BFE47BB-3ABB-DC47-AE0E-7CC9629B1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979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3 h 1425"/>
                <a:gd name="T12" fmla="*/ 2 w 1373"/>
                <a:gd name="T13" fmla="*/ 633 h 1425"/>
                <a:gd name="T14" fmla="*/ 51 w 1373"/>
                <a:gd name="T15" fmla="*/ 709 h 1425"/>
                <a:gd name="T16" fmla="*/ 1240 w 1373"/>
                <a:gd name="T17" fmla="*/ 1394 h 1425"/>
                <a:gd name="T18" fmla="*/ 1240 w 1373"/>
                <a:gd name="T19" fmla="*/ 1394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4"/>
                  </a:lnTo>
                  <a:lnTo>
                    <a:pt x="1240" y="1394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9" name="Freeform 445">
              <a:extLst>
                <a:ext uri="{FF2B5EF4-FFF2-40B4-BE49-F238E27FC236}">
                  <a16:creationId xmlns:a16="http://schemas.microsoft.com/office/drawing/2014/main" id="{E24D1089-130D-1641-B20F-316475777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798051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2 h 531"/>
                <a:gd name="T6" fmla="*/ 2 w 107"/>
                <a:gd name="T7" fmla="*/ 422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0" name="Freeform 446">
              <a:extLst>
                <a:ext uri="{FF2B5EF4-FFF2-40B4-BE49-F238E27FC236}">
                  <a16:creationId xmlns:a16="http://schemas.microsoft.com/office/drawing/2014/main" id="{AB65745A-10D5-5E41-9E07-1531D7A6E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261779"/>
              <a:ext cx="149776" cy="331236"/>
            </a:xfrm>
            <a:custGeom>
              <a:avLst/>
              <a:gdLst>
                <a:gd name="T0" fmla="*/ 0 w 228"/>
                <a:gd name="T1" fmla="*/ 480 h 508"/>
                <a:gd name="T2" fmla="*/ 0 w 228"/>
                <a:gd name="T3" fmla="*/ 480 h 508"/>
                <a:gd name="T4" fmla="*/ 227 w 228"/>
                <a:gd name="T5" fmla="*/ 478 h 508"/>
                <a:gd name="T6" fmla="*/ 227 w 228"/>
                <a:gd name="T7" fmla="*/ 0 h 508"/>
                <a:gd name="T8" fmla="*/ 0 w 228"/>
                <a:gd name="T9" fmla="*/ 0 h 508"/>
                <a:gd name="T10" fmla="*/ 0 w 228"/>
                <a:gd name="T11" fmla="*/ 48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8">
                  <a:moveTo>
                    <a:pt x="0" y="480"/>
                  </a:moveTo>
                  <a:lnTo>
                    <a:pt x="0" y="480"/>
                  </a:lnTo>
                  <a:cubicBezTo>
                    <a:pt x="63" y="507"/>
                    <a:pt x="154" y="506"/>
                    <a:pt x="227" y="478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1" name="Freeform 447">
              <a:extLst>
                <a:ext uri="{FF2B5EF4-FFF2-40B4-BE49-F238E27FC236}">
                  <a16:creationId xmlns:a16="http://schemas.microsoft.com/office/drawing/2014/main" id="{718E921B-A2D6-724A-9389-327A8F425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273837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2" name="Freeform 448">
              <a:extLst>
                <a:ext uri="{FF2B5EF4-FFF2-40B4-BE49-F238E27FC236}">
                  <a16:creationId xmlns:a16="http://schemas.microsoft.com/office/drawing/2014/main" id="{EC8471B8-6559-E540-8685-A8FA81C0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0443" y="5769249"/>
              <a:ext cx="1808830" cy="555897"/>
            </a:xfrm>
            <a:custGeom>
              <a:avLst/>
              <a:gdLst>
                <a:gd name="T0" fmla="*/ 2683 w 2769"/>
                <a:gd name="T1" fmla="*/ 52 h 850"/>
                <a:gd name="T2" fmla="*/ 1535 w 2769"/>
                <a:gd name="T3" fmla="*/ 715 h 850"/>
                <a:gd name="T4" fmla="*/ 1535 w 2769"/>
                <a:gd name="T5" fmla="*/ 715 h 850"/>
                <a:gd name="T6" fmla="*/ 1251 w 2769"/>
                <a:gd name="T7" fmla="*/ 726 h 850"/>
                <a:gd name="T8" fmla="*/ 62 w 2769"/>
                <a:gd name="T9" fmla="*/ 40 h 850"/>
                <a:gd name="T10" fmla="*/ 62 w 2769"/>
                <a:gd name="T11" fmla="*/ 40 h 850"/>
                <a:gd name="T12" fmla="*/ 26 w 2769"/>
                <a:gd name="T13" fmla="*/ 8 h 850"/>
                <a:gd name="T14" fmla="*/ 26 w 2769"/>
                <a:gd name="T15" fmla="*/ 8 h 850"/>
                <a:gd name="T16" fmla="*/ 62 w 2769"/>
                <a:gd name="T17" fmla="*/ 121 h 850"/>
                <a:gd name="T18" fmla="*/ 1251 w 2769"/>
                <a:gd name="T19" fmla="*/ 807 h 850"/>
                <a:gd name="T20" fmla="*/ 1251 w 2769"/>
                <a:gd name="T21" fmla="*/ 807 h 850"/>
                <a:gd name="T22" fmla="*/ 1535 w 2769"/>
                <a:gd name="T23" fmla="*/ 795 h 850"/>
                <a:gd name="T24" fmla="*/ 2683 w 2769"/>
                <a:gd name="T25" fmla="*/ 133 h 850"/>
                <a:gd name="T26" fmla="*/ 2683 w 2769"/>
                <a:gd name="T27" fmla="*/ 133 h 850"/>
                <a:gd name="T28" fmla="*/ 2739 w 2769"/>
                <a:gd name="T29" fmla="*/ 0 h 850"/>
                <a:gd name="T30" fmla="*/ 2739 w 2769"/>
                <a:gd name="T31" fmla="*/ 0 h 850"/>
                <a:gd name="T32" fmla="*/ 2683 w 2769"/>
                <a:gd name="T33" fmla="*/ 52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69" h="850">
                  <a:moveTo>
                    <a:pt x="2683" y="52"/>
                  </a:moveTo>
                  <a:lnTo>
                    <a:pt x="1535" y="715"/>
                  </a:lnTo>
                  <a:lnTo>
                    <a:pt x="1535" y="715"/>
                  </a:lnTo>
                  <a:cubicBezTo>
                    <a:pt x="1451" y="763"/>
                    <a:pt x="1323" y="769"/>
                    <a:pt x="1251" y="726"/>
                  </a:cubicBezTo>
                  <a:lnTo>
                    <a:pt x="62" y="40"/>
                  </a:lnTo>
                  <a:lnTo>
                    <a:pt x="62" y="40"/>
                  </a:lnTo>
                  <a:cubicBezTo>
                    <a:pt x="46" y="31"/>
                    <a:pt x="34" y="20"/>
                    <a:pt x="26" y="8"/>
                  </a:cubicBezTo>
                  <a:lnTo>
                    <a:pt x="26" y="8"/>
                  </a:lnTo>
                  <a:cubicBezTo>
                    <a:pt x="0" y="48"/>
                    <a:pt x="12" y="92"/>
                    <a:pt x="62" y="121"/>
                  </a:cubicBezTo>
                  <a:lnTo>
                    <a:pt x="1251" y="807"/>
                  </a:lnTo>
                  <a:lnTo>
                    <a:pt x="1251" y="807"/>
                  </a:lnTo>
                  <a:cubicBezTo>
                    <a:pt x="1323" y="849"/>
                    <a:pt x="1451" y="844"/>
                    <a:pt x="1535" y="795"/>
                  </a:cubicBezTo>
                  <a:lnTo>
                    <a:pt x="2683" y="133"/>
                  </a:lnTo>
                  <a:lnTo>
                    <a:pt x="2683" y="133"/>
                  </a:lnTo>
                  <a:cubicBezTo>
                    <a:pt x="2748" y="95"/>
                    <a:pt x="2768" y="42"/>
                    <a:pt x="2739" y="0"/>
                  </a:cubicBezTo>
                  <a:lnTo>
                    <a:pt x="2739" y="0"/>
                  </a:lnTo>
                  <a:cubicBezTo>
                    <a:pt x="2728" y="19"/>
                    <a:pt x="2709" y="37"/>
                    <a:pt x="2683" y="52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3" name="Freeform 572">
              <a:extLst>
                <a:ext uri="{FF2B5EF4-FFF2-40B4-BE49-F238E27FC236}">
                  <a16:creationId xmlns:a16="http://schemas.microsoft.com/office/drawing/2014/main" id="{3EBDE74F-FCD5-2A43-86A3-CC370171B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6827" y="5996592"/>
              <a:ext cx="1096742" cy="2646449"/>
            </a:xfrm>
            <a:custGeom>
              <a:avLst/>
              <a:gdLst>
                <a:gd name="connsiteX0" fmla="*/ 113433 w 1096742"/>
                <a:gd name="connsiteY0" fmla="*/ 2563271 h 2646449"/>
                <a:gd name="connsiteX1" fmla="*/ 136814 w 1096742"/>
                <a:gd name="connsiteY1" fmla="*/ 2565475 h 2646449"/>
                <a:gd name="connsiteX2" fmla="*/ 169288 w 1096742"/>
                <a:gd name="connsiteY2" fmla="*/ 2622927 h 2646449"/>
                <a:gd name="connsiteX3" fmla="*/ 136814 w 1096742"/>
                <a:gd name="connsiteY3" fmla="*/ 2641860 h 2646449"/>
                <a:gd name="connsiteX4" fmla="*/ 103691 w 1096742"/>
                <a:gd name="connsiteY4" fmla="*/ 2585061 h 2646449"/>
                <a:gd name="connsiteX5" fmla="*/ 113433 w 1096742"/>
                <a:gd name="connsiteY5" fmla="*/ 2563271 h 2646449"/>
                <a:gd name="connsiteX6" fmla="*/ 9742 w 1096742"/>
                <a:gd name="connsiteY6" fmla="*/ 2505665 h 2646449"/>
                <a:gd name="connsiteX7" fmla="*/ 33123 w 1096742"/>
                <a:gd name="connsiteY7" fmla="*/ 2507869 h 2646449"/>
                <a:gd name="connsiteX8" fmla="*/ 65597 w 1096742"/>
                <a:gd name="connsiteY8" fmla="*/ 2565321 h 2646449"/>
                <a:gd name="connsiteX9" fmla="*/ 33123 w 1096742"/>
                <a:gd name="connsiteY9" fmla="*/ 2584254 h 2646449"/>
                <a:gd name="connsiteX10" fmla="*/ 0 w 1096742"/>
                <a:gd name="connsiteY10" fmla="*/ 2527455 h 2646449"/>
                <a:gd name="connsiteX11" fmla="*/ 9742 w 1096742"/>
                <a:gd name="connsiteY11" fmla="*/ 2505665 h 2646449"/>
                <a:gd name="connsiteX12" fmla="*/ 113433 w 1096742"/>
                <a:gd name="connsiteY12" fmla="*/ 2439336 h 2646449"/>
                <a:gd name="connsiteX13" fmla="*/ 136814 w 1096742"/>
                <a:gd name="connsiteY13" fmla="*/ 2441621 h 2646449"/>
                <a:gd name="connsiteX14" fmla="*/ 169288 w 1096742"/>
                <a:gd name="connsiteY14" fmla="*/ 2499073 h 2646449"/>
                <a:gd name="connsiteX15" fmla="*/ 136814 w 1096742"/>
                <a:gd name="connsiteY15" fmla="*/ 2518006 h 2646449"/>
                <a:gd name="connsiteX16" fmla="*/ 103691 w 1096742"/>
                <a:gd name="connsiteY16" fmla="*/ 2460554 h 2646449"/>
                <a:gd name="connsiteX17" fmla="*/ 113433 w 1096742"/>
                <a:gd name="connsiteY17" fmla="*/ 2439336 h 2646449"/>
                <a:gd name="connsiteX18" fmla="*/ 9742 w 1096742"/>
                <a:gd name="connsiteY18" fmla="*/ 2381730 h 2646449"/>
                <a:gd name="connsiteX19" fmla="*/ 33123 w 1096742"/>
                <a:gd name="connsiteY19" fmla="*/ 2384015 h 2646449"/>
                <a:gd name="connsiteX20" fmla="*/ 65597 w 1096742"/>
                <a:gd name="connsiteY20" fmla="*/ 2441467 h 2646449"/>
                <a:gd name="connsiteX21" fmla="*/ 33123 w 1096742"/>
                <a:gd name="connsiteY21" fmla="*/ 2460400 h 2646449"/>
                <a:gd name="connsiteX22" fmla="*/ 0 w 1096742"/>
                <a:gd name="connsiteY22" fmla="*/ 2402948 h 2646449"/>
                <a:gd name="connsiteX23" fmla="*/ 9742 w 1096742"/>
                <a:gd name="connsiteY23" fmla="*/ 2381730 h 2646449"/>
                <a:gd name="connsiteX24" fmla="*/ 886057 w 1096742"/>
                <a:gd name="connsiteY24" fmla="*/ 2263022 h 2646449"/>
                <a:gd name="connsiteX25" fmla="*/ 895121 w 1096742"/>
                <a:gd name="connsiteY25" fmla="*/ 2282738 h 2646449"/>
                <a:gd name="connsiteX26" fmla="*/ 863764 w 1096742"/>
                <a:gd name="connsiteY26" fmla="*/ 2337261 h 2646449"/>
                <a:gd name="connsiteX27" fmla="*/ 832407 w 1096742"/>
                <a:gd name="connsiteY27" fmla="*/ 2319087 h 2646449"/>
                <a:gd name="connsiteX28" fmla="*/ 863764 w 1096742"/>
                <a:gd name="connsiteY28" fmla="*/ 2265213 h 2646449"/>
                <a:gd name="connsiteX29" fmla="*/ 886057 w 1096742"/>
                <a:gd name="connsiteY29" fmla="*/ 2263022 h 2646449"/>
                <a:gd name="connsiteX30" fmla="*/ 986849 w 1096742"/>
                <a:gd name="connsiteY30" fmla="*/ 2202965 h 2646449"/>
                <a:gd name="connsiteX31" fmla="*/ 995925 w 1096742"/>
                <a:gd name="connsiteY31" fmla="*/ 2223349 h 2646449"/>
                <a:gd name="connsiteX32" fmla="*/ 964902 w 1096742"/>
                <a:gd name="connsiteY32" fmla="*/ 2276847 h 2646449"/>
                <a:gd name="connsiteX33" fmla="*/ 933218 w 1096742"/>
                <a:gd name="connsiteY33" fmla="*/ 2258799 h 2646449"/>
                <a:gd name="connsiteX34" fmla="*/ 964902 w 1096742"/>
                <a:gd name="connsiteY34" fmla="*/ 2205302 h 2646449"/>
                <a:gd name="connsiteX35" fmla="*/ 986849 w 1096742"/>
                <a:gd name="connsiteY35" fmla="*/ 2202965 h 2646449"/>
                <a:gd name="connsiteX36" fmla="*/ 1087678 w 1096742"/>
                <a:gd name="connsiteY36" fmla="*/ 2145359 h 2646449"/>
                <a:gd name="connsiteX37" fmla="*/ 1096742 w 1096742"/>
                <a:gd name="connsiteY37" fmla="*/ 2165743 h 2646449"/>
                <a:gd name="connsiteX38" fmla="*/ 1065385 w 1096742"/>
                <a:gd name="connsiteY38" fmla="*/ 2218596 h 2646449"/>
                <a:gd name="connsiteX39" fmla="*/ 1034028 w 1096742"/>
                <a:gd name="connsiteY39" fmla="*/ 2201193 h 2646449"/>
                <a:gd name="connsiteX40" fmla="*/ 1065385 w 1096742"/>
                <a:gd name="connsiteY40" fmla="*/ 2147696 h 2646449"/>
                <a:gd name="connsiteX41" fmla="*/ 1087678 w 1096742"/>
                <a:gd name="connsiteY41" fmla="*/ 2145359 h 2646449"/>
                <a:gd name="connsiteX42" fmla="*/ 113433 w 1096742"/>
                <a:gd name="connsiteY42" fmla="*/ 2134105 h 2646449"/>
                <a:gd name="connsiteX43" fmla="*/ 136814 w 1096742"/>
                <a:gd name="connsiteY43" fmla="*/ 2136961 h 2646449"/>
                <a:gd name="connsiteX44" fmla="*/ 169288 w 1096742"/>
                <a:gd name="connsiteY44" fmla="*/ 2193761 h 2646449"/>
                <a:gd name="connsiteX45" fmla="*/ 136814 w 1096742"/>
                <a:gd name="connsiteY45" fmla="*/ 2212694 h 2646449"/>
                <a:gd name="connsiteX46" fmla="*/ 103691 w 1096742"/>
                <a:gd name="connsiteY46" fmla="*/ 2155242 h 2646449"/>
                <a:gd name="connsiteX47" fmla="*/ 113433 w 1096742"/>
                <a:gd name="connsiteY47" fmla="*/ 2134105 h 2646449"/>
                <a:gd name="connsiteX48" fmla="*/ 9742 w 1096742"/>
                <a:gd name="connsiteY48" fmla="*/ 2073619 h 2646449"/>
                <a:gd name="connsiteX49" fmla="*/ 33123 w 1096742"/>
                <a:gd name="connsiteY49" fmla="*/ 2075823 h 2646449"/>
                <a:gd name="connsiteX50" fmla="*/ 65597 w 1096742"/>
                <a:gd name="connsiteY50" fmla="*/ 2133275 h 2646449"/>
                <a:gd name="connsiteX51" fmla="*/ 33123 w 1096742"/>
                <a:gd name="connsiteY51" fmla="*/ 2152208 h 2646449"/>
                <a:gd name="connsiteX52" fmla="*/ 0 w 1096742"/>
                <a:gd name="connsiteY52" fmla="*/ 2095409 h 2646449"/>
                <a:gd name="connsiteX53" fmla="*/ 9742 w 1096742"/>
                <a:gd name="connsiteY53" fmla="*/ 2073619 h 2646449"/>
                <a:gd name="connsiteX54" fmla="*/ 113433 w 1096742"/>
                <a:gd name="connsiteY54" fmla="*/ 2010172 h 2646449"/>
                <a:gd name="connsiteX55" fmla="*/ 136814 w 1096742"/>
                <a:gd name="connsiteY55" fmla="*/ 2012457 h 2646449"/>
                <a:gd name="connsiteX56" fmla="*/ 169288 w 1096742"/>
                <a:gd name="connsiteY56" fmla="*/ 2069256 h 2646449"/>
                <a:gd name="connsiteX57" fmla="*/ 136814 w 1096742"/>
                <a:gd name="connsiteY57" fmla="*/ 2088842 h 2646449"/>
                <a:gd name="connsiteX58" fmla="*/ 103691 w 1096742"/>
                <a:gd name="connsiteY58" fmla="*/ 2031390 h 2646449"/>
                <a:gd name="connsiteX59" fmla="*/ 113433 w 1096742"/>
                <a:gd name="connsiteY59" fmla="*/ 2010172 h 2646449"/>
                <a:gd name="connsiteX60" fmla="*/ 9742 w 1096742"/>
                <a:gd name="connsiteY60" fmla="*/ 1949684 h 2646449"/>
                <a:gd name="connsiteX61" fmla="*/ 33123 w 1096742"/>
                <a:gd name="connsiteY61" fmla="*/ 1951969 h 2646449"/>
                <a:gd name="connsiteX62" fmla="*/ 65597 w 1096742"/>
                <a:gd name="connsiteY62" fmla="*/ 2009421 h 2646449"/>
                <a:gd name="connsiteX63" fmla="*/ 33123 w 1096742"/>
                <a:gd name="connsiteY63" fmla="*/ 2028354 h 2646449"/>
                <a:gd name="connsiteX64" fmla="*/ 0 w 1096742"/>
                <a:gd name="connsiteY64" fmla="*/ 1970902 h 2646449"/>
                <a:gd name="connsiteX65" fmla="*/ 9742 w 1096742"/>
                <a:gd name="connsiteY65" fmla="*/ 1949684 h 2646449"/>
                <a:gd name="connsiteX66" fmla="*/ 886057 w 1096742"/>
                <a:gd name="connsiteY66" fmla="*/ 1833964 h 2646449"/>
                <a:gd name="connsiteX67" fmla="*/ 895121 w 1096742"/>
                <a:gd name="connsiteY67" fmla="*/ 1854026 h 2646449"/>
                <a:gd name="connsiteX68" fmla="*/ 863764 w 1096742"/>
                <a:gd name="connsiteY68" fmla="*/ 1908168 h 2646449"/>
                <a:gd name="connsiteX69" fmla="*/ 832407 w 1096742"/>
                <a:gd name="connsiteY69" fmla="*/ 1890120 h 2646449"/>
                <a:gd name="connsiteX70" fmla="*/ 863764 w 1096742"/>
                <a:gd name="connsiteY70" fmla="*/ 1836623 h 2646449"/>
                <a:gd name="connsiteX71" fmla="*/ 886057 w 1096742"/>
                <a:gd name="connsiteY71" fmla="*/ 1833964 h 2646449"/>
                <a:gd name="connsiteX72" fmla="*/ 986849 w 1096742"/>
                <a:gd name="connsiteY72" fmla="*/ 1776331 h 2646449"/>
                <a:gd name="connsiteX73" fmla="*/ 995925 w 1096742"/>
                <a:gd name="connsiteY73" fmla="*/ 1796615 h 2646449"/>
                <a:gd name="connsiteX74" fmla="*/ 964902 w 1096742"/>
                <a:gd name="connsiteY74" fmla="*/ 1850489 h 2646449"/>
                <a:gd name="connsiteX75" fmla="*/ 933218 w 1096742"/>
                <a:gd name="connsiteY75" fmla="*/ 1832964 h 2646449"/>
                <a:gd name="connsiteX76" fmla="*/ 964902 w 1096742"/>
                <a:gd name="connsiteY76" fmla="*/ 1778441 h 2646449"/>
                <a:gd name="connsiteX77" fmla="*/ 986849 w 1096742"/>
                <a:gd name="connsiteY77" fmla="*/ 1776331 h 2646449"/>
                <a:gd name="connsiteX78" fmla="*/ 1087678 w 1096742"/>
                <a:gd name="connsiteY78" fmla="*/ 1718968 h 2646449"/>
                <a:gd name="connsiteX79" fmla="*/ 1096742 w 1096742"/>
                <a:gd name="connsiteY79" fmla="*/ 1739009 h 2646449"/>
                <a:gd name="connsiteX80" fmla="*/ 1065385 w 1096742"/>
                <a:gd name="connsiteY80" fmla="*/ 1792883 h 2646449"/>
                <a:gd name="connsiteX81" fmla="*/ 1034028 w 1096742"/>
                <a:gd name="connsiteY81" fmla="*/ 1774709 h 2646449"/>
                <a:gd name="connsiteX82" fmla="*/ 1065385 w 1096742"/>
                <a:gd name="connsiteY82" fmla="*/ 1720835 h 2646449"/>
                <a:gd name="connsiteX83" fmla="*/ 1087678 w 1096742"/>
                <a:gd name="connsiteY83" fmla="*/ 1718968 h 2646449"/>
                <a:gd name="connsiteX84" fmla="*/ 113433 w 1096742"/>
                <a:gd name="connsiteY84" fmla="*/ 1708065 h 2646449"/>
                <a:gd name="connsiteX85" fmla="*/ 136814 w 1096742"/>
                <a:gd name="connsiteY85" fmla="*/ 1710676 h 2646449"/>
                <a:gd name="connsiteX86" fmla="*/ 169288 w 1096742"/>
                <a:gd name="connsiteY86" fmla="*/ 1767476 h 2646449"/>
                <a:gd name="connsiteX87" fmla="*/ 136814 w 1096742"/>
                <a:gd name="connsiteY87" fmla="*/ 1786409 h 2646449"/>
                <a:gd name="connsiteX88" fmla="*/ 103691 w 1096742"/>
                <a:gd name="connsiteY88" fmla="*/ 1728957 h 2646449"/>
                <a:gd name="connsiteX89" fmla="*/ 113433 w 1096742"/>
                <a:gd name="connsiteY89" fmla="*/ 1708065 h 2646449"/>
                <a:gd name="connsiteX90" fmla="*/ 9742 w 1096742"/>
                <a:gd name="connsiteY90" fmla="*/ 1647281 h 2646449"/>
                <a:gd name="connsiteX91" fmla="*/ 33123 w 1096742"/>
                <a:gd name="connsiteY91" fmla="*/ 1649469 h 2646449"/>
                <a:gd name="connsiteX92" fmla="*/ 65597 w 1096742"/>
                <a:gd name="connsiteY92" fmla="*/ 1706541 h 2646449"/>
                <a:gd name="connsiteX93" fmla="*/ 33123 w 1096742"/>
                <a:gd name="connsiteY93" fmla="*/ 1725349 h 2646449"/>
                <a:gd name="connsiteX94" fmla="*/ 0 w 1096742"/>
                <a:gd name="connsiteY94" fmla="*/ 1668926 h 2646449"/>
                <a:gd name="connsiteX95" fmla="*/ 9742 w 1096742"/>
                <a:gd name="connsiteY95" fmla="*/ 1647281 h 2646449"/>
                <a:gd name="connsiteX96" fmla="*/ 113433 w 1096742"/>
                <a:gd name="connsiteY96" fmla="*/ 1583887 h 2646449"/>
                <a:gd name="connsiteX97" fmla="*/ 136814 w 1096742"/>
                <a:gd name="connsiteY97" fmla="*/ 1586172 h 2646449"/>
                <a:gd name="connsiteX98" fmla="*/ 169288 w 1096742"/>
                <a:gd name="connsiteY98" fmla="*/ 1642971 h 2646449"/>
                <a:gd name="connsiteX99" fmla="*/ 136814 w 1096742"/>
                <a:gd name="connsiteY99" fmla="*/ 1662557 h 2646449"/>
                <a:gd name="connsiteX100" fmla="*/ 103691 w 1096742"/>
                <a:gd name="connsiteY100" fmla="*/ 1605105 h 2646449"/>
                <a:gd name="connsiteX101" fmla="*/ 113433 w 1096742"/>
                <a:gd name="connsiteY101" fmla="*/ 1583887 h 2646449"/>
                <a:gd name="connsiteX102" fmla="*/ 9742 w 1096742"/>
                <a:gd name="connsiteY102" fmla="*/ 1523751 h 2646449"/>
                <a:gd name="connsiteX103" fmla="*/ 33123 w 1096742"/>
                <a:gd name="connsiteY103" fmla="*/ 1526264 h 2646449"/>
                <a:gd name="connsiteX104" fmla="*/ 65597 w 1096742"/>
                <a:gd name="connsiteY104" fmla="*/ 1583336 h 2646449"/>
                <a:gd name="connsiteX105" fmla="*/ 33123 w 1096742"/>
                <a:gd name="connsiteY105" fmla="*/ 1602144 h 2646449"/>
                <a:gd name="connsiteX106" fmla="*/ 0 w 1096742"/>
                <a:gd name="connsiteY106" fmla="*/ 1545072 h 2646449"/>
                <a:gd name="connsiteX107" fmla="*/ 9742 w 1096742"/>
                <a:gd name="connsiteY107" fmla="*/ 1523751 h 2646449"/>
                <a:gd name="connsiteX108" fmla="*/ 886057 w 1096742"/>
                <a:gd name="connsiteY108" fmla="*/ 1407652 h 2646449"/>
                <a:gd name="connsiteX109" fmla="*/ 895121 w 1096742"/>
                <a:gd name="connsiteY109" fmla="*/ 1427936 h 2646449"/>
                <a:gd name="connsiteX110" fmla="*/ 863764 w 1096742"/>
                <a:gd name="connsiteY110" fmla="*/ 1481810 h 2646449"/>
                <a:gd name="connsiteX111" fmla="*/ 832407 w 1096742"/>
                <a:gd name="connsiteY111" fmla="*/ 1463636 h 2646449"/>
                <a:gd name="connsiteX112" fmla="*/ 863764 w 1096742"/>
                <a:gd name="connsiteY112" fmla="*/ 1409762 h 2646449"/>
                <a:gd name="connsiteX113" fmla="*/ 886057 w 1096742"/>
                <a:gd name="connsiteY113" fmla="*/ 1407652 h 2646449"/>
                <a:gd name="connsiteX114" fmla="*/ 986849 w 1096742"/>
                <a:gd name="connsiteY114" fmla="*/ 1347167 h 2646449"/>
                <a:gd name="connsiteX115" fmla="*/ 995925 w 1096742"/>
                <a:gd name="connsiteY115" fmla="*/ 1367451 h 2646449"/>
                <a:gd name="connsiteX116" fmla="*/ 964902 w 1096742"/>
                <a:gd name="connsiteY116" fmla="*/ 1421325 h 2646449"/>
                <a:gd name="connsiteX117" fmla="*/ 933218 w 1096742"/>
                <a:gd name="connsiteY117" fmla="*/ 1403151 h 2646449"/>
                <a:gd name="connsiteX118" fmla="*/ 964902 w 1096742"/>
                <a:gd name="connsiteY118" fmla="*/ 1349277 h 2646449"/>
                <a:gd name="connsiteX119" fmla="*/ 986849 w 1096742"/>
                <a:gd name="connsiteY119" fmla="*/ 1347167 h 2646449"/>
                <a:gd name="connsiteX120" fmla="*/ 1087678 w 1096742"/>
                <a:gd name="connsiteY120" fmla="*/ 1289910 h 2646449"/>
                <a:gd name="connsiteX121" fmla="*/ 1096742 w 1096742"/>
                <a:gd name="connsiteY121" fmla="*/ 1310294 h 2646449"/>
                <a:gd name="connsiteX122" fmla="*/ 1065385 w 1096742"/>
                <a:gd name="connsiteY122" fmla="*/ 1363147 h 2646449"/>
                <a:gd name="connsiteX123" fmla="*/ 1034028 w 1096742"/>
                <a:gd name="connsiteY123" fmla="*/ 1345744 h 2646449"/>
                <a:gd name="connsiteX124" fmla="*/ 1065385 w 1096742"/>
                <a:gd name="connsiteY124" fmla="*/ 1292247 h 2646449"/>
                <a:gd name="connsiteX125" fmla="*/ 1087678 w 1096742"/>
                <a:gd name="connsiteY125" fmla="*/ 1289910 h 2646449"/>
                <a:gd name="connsiteX126" fmla="*/ 113433 w 1096742"/>
                <a:gd name="connsiteY126" fmla="*/ 1278656 h 2646449"/>
                <a:gd name="connsiteX127" fmla="*/ 136814 w 1096742"/>
                <a:gd name="connsiteY127" fmla="*/ 1280860 h 2646449"/>
                <a:gd name="connsiteX128" fmla="*/ 169288 w 1096742"/>
                <a:gd name="connsiteY128" fmla="*/ 1338312 h 2646449"/>
                <a:gd name="connsiteX129" fmla="*/ 136814 w 1096742"/>
                <a:gd name="connsiteY129" fmla="*/ 1357245 h 2646449"/>
                <a:gd name="connsiteX130" fmla="*/ 103691 w 1096742"/>
                <a:gd name="connsiteY130" fmla="*/ 1300446 h 2646449"/>
                <a:gd name="connsiteX131" fmla="*/ 113433 w 1096742"/>
                <a:gd name="connsiteY131" fmla="*/ 1278656 h 2646449"/>
                <a:gd name="connsiteX132" fmla="*/ 9742 w 1096742"/>
                <a:gd name="connsiteY132" fmla="*/ 1218088 h 2646449"/>
                <a:gd name="connsiteX133" fmla="*/ 33123 w 1096742"/>
                <a:gd name="connsiteY133" fmla="*/ 1220373 h 2646449"/>
                <a:gd name="connsiteX134" fmla="*/ 65597 w 1096742"/>
                <a:gd name="connsiteY134" fmla="*/ 1277825 h 2646449"/>
                <a:gd name="connsiteX135" fmla="*/ 33123 w 1096742"/>
                <a:gd name="connsiteY135" fmla="*/ 1296758 h 2646449"/>
                <a:gd name="connsiteX136" fmla="*/ 0 w 1096742"/>
                <a:gd name="connsiteY136" fmla="*/ 1239306 h 2646449"/>
                <a:gd name="connsiteX137" fmla="*/ 9742 w 1096742"/>
                <a:gd name="connsiteY137" fmla="*/ 1218088 h 2646449"/>
                <a:gd name="connsiteX138" fmla="*/ 113433 w 1096742"/>
                <a:gd name="connsiteY138" fmla="*/ 1154721 h 2646449"/>
                <a:gd name="connsiteX139" fmla="*/ 136814 w 1096742"/>
                <a:gd name="connsiteY139" fmla="*/ 1157006 h 2646449"/>
                <a:gd name="connsiteX140" fmla="*/ 169288 w 1096742"/>
                <a:gd name="connsiteY140" fmla="*/ 1214458 h 2646449"/>
                <a:gd name="connsiteX141" fmla="*/ 136814 w 1096742"/>
                <a:gd name="connsiteY141" fmla="*/ 1232738 h 2646449"/>
                <a:gd name="connsiteX142" fmla="*/ 103691 w 1096742"/>
                <a:gd name="connsiteY142" fmla="*/ 1175939 h 2646449"/>
                <a:gd name="connsiteX143" fmla="*/ 113433 w 1096742"/>
                <a:gd name="connsiteY143" fmla="*/ 1154721 h 2646449"/>
                <a:gd name="connsiteX144" fmla="*/ 9742 w 1096742"/>
                <a:gd name="connsiteY144" fmla="*/ 1094235 h 2646449"/>
                <a:gd name="connsiteX145" fmla="*/ 33123 w 1096742"/>
                <a:gd name="connsiteY145" fmla="*/ 1096520 h 2646449"/>
                <a:gd name="connsiteX146" fmla="*/ 65597 w 1096742"/>
                <a:gd name="connsiteY146" fmla="*/ 1153319 h 2646449"/>
                <a:gd name="connsiteX147" fmla="*/ 33123 w 1096742"/>
                <a:gd name="connsiteY147" fmla="*/ 1172905 h 2646449"/>
                <a:gd name="connsiteX148" fmla="*/ 0 w 1096742"/>
                <a:gd name="connsiteY148" fmla="*/ 1115453 h 2646449"/>
                <a:gd name="connsiteX149" fmla="*/ 9742 w 1096742"/>
                <a:gd name="connsiteY149" fmla="*/ 1094235 h 2646449"/>
                <a:gd name="connsiteX150" fmla="*/ 886057 w 1096742"/>
                <a:gd name="connsiteY150" fmla="*/ 978676 h 2646449"/>
                <a:gd name="connsiteX151" fmla="*/ 895121 w 1096742"/>
                <a:gd name="connsiteY151" fmla="*/ 998577 h 2646449"/>
                <a:gd name="connsiteX152" fmla="*/ 863764 w 1096742"/>
                <a:gd name="connsiteY152" fmla="*/ 1052074 h 2646449"/>
                <a:gd name="connsiteX153" fmla="*/ 832407 w 1096742"/>
                <a:gd name="connsiteY153" fmla="*/ 1034671 h 2646449"/>
                <a:gd name="connsiteX154" fmla="*/ 863764 w 1096742"/>
                <a:gd name="connsiteY154" fmla="*/ 980529 h 2646449"/>
                <a:gd name="connsiteX155" fmla="*/ 886057 w 1096742"/>
                <a:gd name="connsiteY155" fmla="*/ 978676 h 2646449"/>
                <a:gd name="connsiteX156" fmla="*/ 986849 w 1096742"/>
                <a:gd name="connsiteY156" fmla="*/ 921070 h 2646449"/>
                <a:gd name="connsiteX157" fmla="*/ 995925 w 1096742"/>
                <a:gd name="connsiteY157" fmla="*/ 940971 h 2646449"/>
                <a:gd name="connsiteX158" fmla="*/ 964902 w 1096742"/>
                <a:gd name="connsiteY158" fmla="*/ 994468 h 2646449"/>
                <a:gd name="connsiteX159" fmla="*/ 933218 w 1096742"/>
                <a:gd name="connsiteY159" fmla="*/ 977065 h 2646449"/>
                <a:gd name="connsiteX160" fmla="*/ 964902 w 1096742"/>
                <a:gd name="connsiteY160" fmla="*/ 922923 h 2646449"/>
                <a:gd name="connsiteX161" fmla="*/ 986849 w 1096742"/>
                <a:gd name="connsiteY161" fmla="*/ 921070 h 2646449"/>
                <a:gd name="connsiteX162" fmla="*/ 1087678 w 1096742"/>
                <a:gd name="connsiteY162" fmla="*/ 860720 h 2646449"/>
                <a:gd name="connsiteX163" fmla="*/ 1096742 w 1096742"/>
                <a:gd name="connsiteY163" fmla="*/ 880679 h 2646449"/>
                <a:gd name="connsiteX164" fmla="*/ 1065385 w 1096742"/>
                <a:gd name="connsiteY164" fmla="*/ 934553 h 2646449"/>
                <a:gd name="connsiteX165" fmla="*/ 1034028 w 1096742"/>
                <a:gd name="connsiteY165" fmla="*/ 916379 h 2646449"/>
                <a:gd name="connsiteX166" fmla="*/ 1065385 w 1096742"/>
                <a:gd name="connsiteY166" fmla="*/ 863154 h 2646449"/>
                <a:gd name="connsiteX167" fmla="*/ 1087678 w 1096742"/>
                <a:gd name="connsiteY167" fmla="*/ 860720 h 2646449"/>
                <a:gd name="connsiteX168" fmla="*/ 113433 w 1096742"/>
                <a:gd name="connsiteY168" fmla="*/ 852371 h 2646449"/>
                <a:gd name="connsiteX169" fmla="*/ 136814 w 1096742"/>
                <a:gd name="connsiteY169" fmla="*/ 854575 h 2646449"/>
                <a:gd name="connsiteX170" fmla="*/ 169288 w 1096742"/>
                <a:gd name="connsiteY170" fmla="*/ 912027 h 2646449"/>
                <a:gd name="connsiteX171" fmla="*/ 136814 w 1096742"/>
                <a:gd name="connsiteY171" fmla="*/ 930960 h 2646449"/>
                <a:gd name="connsiteX172" fmla="*/ 103691 w 1096742"/>
                <a:gd name="connsiteY172" fmla="*/ 874161 h 2646449"/>
                <a:gd name="connsiteX173" fmla="*/ 113433 w 1096742"/>
                <a:gd name="connsiteY173" fmla="*/ 852371 h 2646449"/>
                <a:gd name="connsiteX174" fmla="*/ 9742 w 1096742"/>
                <a:gd name="connsiteY174" fmla="*/ 791884 h 2646449"/>
                <a:gd name="connsiteX175" fmla="*/ 33123 w 1096742"/>
                <a:gd name="connsiteY175" fmla="*/ 794088 h 2646449"/>
                <a:gd name="connsiteX176" fmla="*/ 65597 w 1096742"/>
                <a:gd name="connsiteY176" fmla="*/ 851540 h 2646449"/>
                <a:gd name="connsiteX177" fmla="*/ 33123 w 1096742"/>
                <a:gd name="connsiteY177" fmla="*/ 870473 h 2646449"/>
                <a:gd name="connsiteX178" fmla="*/ 0 w 1096742"/>
                <a:gd name="connsiteY178" fmla="*/ 813674 h 2646449"/>
                <a:gd name="connsiteX179" fmla="*/ 9742 w 1096742"/>
                <a:gd name="connsiteY179" fmla="*/ 791884 h 2646449"/>
                <a:gd name="connsiteX180" fmla="*/ 113433 w 1096742"/>
                <a:gd name="connsiteY180" fmla="*/ 728436 h 2646449"/>
                <a:gd name="connsiteX181" fmla="*/ 136814 w 1096742"/>
                <a:gd name="connsiteY181" fmla="*/ 730721 h 2646449"/>
                <a:gd name="connsiteX182" fmla="*/ 169288 w 1096742"/>
                <a:gd name="connsiteY182" fmla="*/ 788173 h 2646449"/>
                <a:gd name="connsiteX183" fmla="*/ 136814 w 1096742"/>
                <a:gd name="connsiteY183" fmla="*/ 807106 h 2646449"/>
                <a:gd name="connsiteX184" fmla="*/ 103691 w 1096742"/>
                <a:gd name="connsiteY184" fmla="*/ 749654 h 2646449"/>
                <a:gd name="connsiteX185" fmla="*/ 113433 w 1096742"/>
                <a:gd name="connsiteY185" fmla="*/ 728436 h 2646449"/>
                <a:gd name="connsiteX186" fmla="*/ 9742 w 1096742"/>
                <a:gd name="connsiteY186" fmla="*/ 667951 h 2646449"/>
                <a:gd name="connsiteX187" fmla="*/ 33123 w 1096742"/>
                <a:gd name="connsiteY187" fmla="*/ 670236 h 2646449"/>
                <a:gd name="connsiteX188" fmla="*/ 65597 w 1096742"/>
                <a:gd name="connsiteY188" fmla="*/ 727688 h 2646449"/>
                <a:gd name="connsiteX189" fmla="*/ 33123 w 1096742"/>
                <a:gd name="connsiteY189" fmla="*/ 746621 h 2646449"/>
                <a:gd name="connsiteX190" fmla="*/ 0 w 1096742"/>
                <a:gd name="connsiteY190" fmla="*/ 689169 h 2646449"/>
                <a:gd name="connsiteX191" fmla="*/ 9742 w 1096742"/>
                <a:gd name="connsiteY191" fmla="*/ 667951 h 2646449"/>
                <a:gd name="connsiteX192" fmla="*/ 886057 w 1096742"/>
                <a:gd name="connsiteY192" fmla="*/ 549322 h 2646449"/>
                <a:gd name="connsiteX193" fmla="*/ 895121 w 1096742"/>
                <a:gd name="connsiteY193" fmla="*/ 569606 h 2646449"/>
                <a:gd name="connsiteX194" fmla="*/ 863764 w 1096742"/>
                <a:gd name="connsiteY194" fmla="*/ 623480 h 2646449"/>
                <a:gd name="connsiteX195" fmla="*/ 841471 w 1096742"/>
                <a:gd name="connsiteY195" fmla="*/ 625671 h 2646449"/>
                <a:gd name="connsiteX196" fmla="*/ 835866 w 1096742"/>
                <a:gd name="connsiteY196" fmla="*/ 613478 h 2646449"/>
                <a:gd name="connsiteX197" fmla="*/ 585767 w 1096742"/>
                <a:gd name="connsiteY197" fmla="*/ 757574 h 2646449"/>
                <a:gd name="connsiteX198" fmla="*/ 577620 w 1096742"/>
                <a:gd name="connsiteY198" fmla="*/ 784367 h 2646449"/>
                <a:gd name="connsiteX199" fmla="*/ 555572 w 1096742"/>
                <a:gd name="connsiteY199" fmla="*/ 807248 h 2646449"/>
                <a:gd name="connsiteX200" fmla="*/ 524215 w 1096742"/>
                <a:gd name="connsiteY200" fmla="*/ 789845 h 2646449"/>
                <a:gd name="connsiteX201" fmla="*/ 555572 w 1096742"/>
                <a:gd name="connsiteY201" fmla="*/ 735703 h 2646449"/>
                <a:gd name="connsiteX202" fmla="*/ 577620 w 1096742"/>
                <a:gd name="connsiteY202" fmla="*/ 733850 h 2646449"/>
                <a:gd name="connsiteX203" fmla="*/ 582874 w 1096742"/>
                <a:gd name="connsiteY203" fmla="*/ 745083 h 2646449"/>
                <a:gd name="connsiteX204" fmla="*/ 834107 w 1096742"/>
                <a:gd name="connsiteY204" fmla="*/ 600112 h 2646449"/>
                <a:gd name="connsiteX205" fmla="*/ 841471 w 1096742"/>
                <a:gd name="connsiteY205" fmla="*/ 574799 h 2646449"/>
                <a:gd name="connsiteX206" fmla="*/ 863764 w 1096742"/>
                <a:gd name="connsiteY206" fmla="*/ 551432 h 2646449"/>
                <a:gd name="connsiteX207" fmla="*/ 886057 w 1096742"/>
                <a:gd name="connsiteY207" fmla="*/ 549322 h 2646449"/>
                <a:gd name="connsiteX208" fmla="*/ 986849 w 1096742"/>
                <a:gd name="connsiteY208" fmla="*/ 492041 h 2646449"/>
                <a:gd name="connsiteX209" fmla="*/ 995925 w 1096742"/>
                <a:gd name="connsiteY209" fmla="*/ 512000 h 2646449"/>
                <a:gd name="connsiteX210" fmla="*/ 964902 w 1096742"/>
                <a:gd name="connsiteY210" fmla="*/ 565874 h 2646449"/>
                <a:gd name="connsiteX211" fmla="*/ 933218 w 1096742"/>
                <a:gd name="connsiteY211" fmla="*/ 547700 h 2646449"/>
                <a:gd name="connsiteX212" fmla="*/ 964902 w 1096742"/>
                <a:gd name="connsiteY212" fmla="*/ 494475 h 2646449"/>
                <a:gd name="connsiteX213" fmla="*/ 986849 w 1096742"/>
                <a:gd name="connsiteY213" fmla="*/ 492041 h 2646449"/>
                <a:gd name="connsiteX214" fmla="*/ 1087678 w 1096742"/>
                <a:gd name="connsiteY214" fmla="*/ 434164 h 2646449"/>
                <a:gd name="connsiteX215" fmla="*/ 1096742 w 1096742"/>
                <a:gd name="connsiteY215" fmla="*/ 454592 h 2646449"/>
                <a:gd name="connsiteX216" fmla="*/ 1065385 w 1096742"/>
                <a:gd name="connsiteY216" fmla="*/ 508194 h 2646449"/>
                <a:gd name="connsiteX217" fmla="*/ 1034028 w 1096742"/>
                <a:gd name="connsiteY217" fmla="*/ 490545 h 2646449"/>
                <a:gd name="connsiteX218" fmla="*/ 1065385 w 1096742"/>
                <a:gd name="connsiteY218" fmla="*/ 436289 h 2646449"/>
                <a:gd name="connsiteX219" fmla="*/ 1087678 w 1096742"/>
                <a:gd name="connsiteY219" fmla="*/ 434164 h 2646449"/>
                <a:gd name="connsiteX220" fmla="*/ 113433 w 1096742"/>
                <a:gd name="connsiteY220" fmla="*/ 426141 h 2646449"/>
                <a:gd name="connsiteX221" fmla="*/ 136814 w 1096742"/>
                <a:gd name="connsiteY221" fmla="*/ 429017 h 2646449"/>
                <a:gd name="connsiteX222" fmla="*/ 169288 w 1096742"/>
                <a:gd name="connsiteY222" fmla="*/ 486198 h 2646449"/>
                <a:gd name="connsiteX223" fmla="*/ 136814 w 1096742"/>
                <a:gd name="connsiteY223" fmla="*/ 505258 h 2646449"/>
                <a:gd name="connsiteX224" fmla="*/ 103691 w 1096742"/>
                <a:gd name="connsiteY224" fmla="*/ 447420 h 2646449"/>
                <a:gd name="connsiteX225" fmla="*/ 113433 w 1096742"/>
                <a:gd name="connsiteY225" fmla="*/ 426141 h 2646449"/>
                <a:gd name="connsiteX226" fmla="*/ 9742 w 1096742"/>
                <a:gd name="connsiteY226" fmla="*/ 368399 h 2646449"/>
                <a:gd name="connsiteX227" fmla="*/ 33123 w 1096742"/>
                <a:gd name="connsiteY227" fmla="*/ 370684 h 2646449"/>
                <a:gd name="connsiteX228" fmla="*/ 65597 w 1096742"/>
                <a:gd name="connsiteY228" fmla="*/ 428136 h 2646449"/>
                <a:gd name="connsiteX229" fmla="*/ 33123 w 1096742"/>
                <a:gd name="connsiteY229" fmla="*/ 447069 h 2646449"/>
                <a:gd name="connsiteX230" fmla="*/ 0 w 1096742"/>
                <a:gd name="connsiteY230" fmla="*/ 389617 h 2646449"/>
                <a:gd name="connsiteX231" fmla="*/ 9742 w 1096742"/>
                <a:gd name="connsiteY231" fmla="*/ 368399 h 2646449"/>
                <a:gd name="connsiteX232" fmla="*/ 113433 w 1096742"/>
                <a:gd name="connsiteY232" fmla="*/ 302205 h 2646449"/>
                <a:gd name="connsiteX233" fmla="*/ 136814 w 1096742"/>
                <a:gd name="connsiteY233" fmla="*/ 304506 h 2646449"/>
                <a:gd name="connsiteX234" fmla="*/ 169288 w 1096742"/>
                <a:gd name="connsiteY234" fmla="*/ 361686 h 2646449"/>
                <a:gd name="connsiteX235" fmla="*/ 136814 w 1096742"/>
                <a:gd name="connsiteY235" fmla="*/ 381404 h 2646449"/>
                <a:gd name="connsiteX236" fmla="*/ 103691 w 1096742"/>
                <a:gd name="connsiteY236" fmla="*/ 323566 h 2646449"/>
                <a:gd name="connsiteX237" fmla="*/ 113433 w 1096742"/>
                <a:gd name="connsiteY237" fmla="*/ 302205 h 2646449"/>
                <a:gd name="connsiteX238" fmla="*/ 577620 w 1096742"/>
                <a:gd name="connsiteY238" fmla="*/ 290095 h 2646449"/>
                <a:gd name="connsiteX239" fmla="*/ 586929 w 1096742"/>
                <a:gd name="connsiteY239" fmla="*/ 310379 h 2646449"/>
                <a:gd name="connsiteX240" fmla="*/ 555572 w 1096742"/>
                <a:gd name="connsiteY240" fmla="*/ 364253 h 2646449"/>
                <a:gd name="connsiteX241" fmla="*/ 524215 w 1096742"/>
                <a:gd name="connsiteY241" fmla="*/ 346079 h 2646449"/>
                <a:gd name="connsiteX242" fmla="*/ 555572 w 1096742"/>
                <a:gd name="connsiteY242" fmla="*/ 292205 h 2646449"/>
                <a:gd name="connsiteX243" fmla="*/ 577620 w 1096742"/>
                <a:gd name="connsiteY243" fmla="*/ 290095 h 2646449"/>
                <a:gd name="connsiteX244" fmla="*/ 9742 w 1096742"/>
                <a:gd name="connsiteY244" fmla="*/ 244545 h 2646449"/>
                <a:gd name="connsiteX245" fmla="*/ 33123 w 1096742"/>
                <a:gd name="connsiteY245" fmla="*/ 246830 h 2646449"/>
                <a:gd name="connsiteX246" fmla="*/ 65597 w 1096742"/>
                <a:gd name="connsiteY246" fmla="*/ 303629 h 2646449"/>
                <a:gd name="connsiteX247" fmla="*/ 33123 w 1096742"/>
                <a:gd name="connsiteY247" fmla="*/ 323215 h 2646449"/>
                <a:gd name="connsiteX248" fmla="*/ 0 w 1096742"/>
                <a:gd name="connsiteY248" fmla="*/ 265763 h 2646449"/>
                <a:gd name="connsiteX249" fmla="*/ 9742 w 1096742"/>
                <a:gd name="connsiteY249" fmla="*/ 244545 h 2646449"/>
                <a:gd name="connsiteX250" fmla="*/ 886057 w 1096742"/>
                <a:gd name="connsiteY250" fmla="*/ 120105 h 2646449"/>
                <a:gd name="connsiteX251" fmla="*/ 895121 w 1096742"/>
                <a:gd name="connsiteY251" fmla="*/ 140247 h 2646449"/>
                <a:gd name="connsiteX252" fmla="*/ 863764 w 1096742"/>
                <a:gd name="connsiteY252" fmla="*/ 193744 h 2646449"/>
                <a:gd name="connsiteX253" fmla="*/ 832407 w 1096742"/>
                <a:gd name="connsiteY253" fmla="*/ 175697 h 2646449"/>
                <a:gd name="connsiteX254" fmla="*/ 863764 w 1096742"/>
                <a:gd name="connsiteY254" fmla="*/ 122199 h 2646449"/>
                <a:gd name="connsiteX255" fmla="*/ 886057 w 1096742"/>
                <a:gd name="connsiteY255" fmla="*/ 120105 h 2646449"/>
                <a:gd name="connsiteX256" fmla="*/ 986849 w 1096742"/>
                <a:gd name="connsiteY256" fmla="*/ 62552 h 2646449"/>
                <a:gd name="connsiteX257" fmla="*/ 995925 w 1096742"/>
                <a:gd name="connsiteY257" fmla="*/ 82836 h 2646449"/>
                <a:gd name="connsiteX258" fmla="*/ 964902 w 1096742"/>
                <a:gd name="connsiteY258" fmla="*/ 136710 h 2646449"/>
                <a:gd name="connsiteX259" fmla="*/ 933218 w 1096742"/>
                <a:gd name="connsiteY259" fmla="*/ 118536 h 2646449"/>
                <a:gd name="connsiteX260" fmla="*/ 964902 w 1096742"/>
                <a:gd name="connsiteY260" fmla="*/ 64662 h 2646449"/>
                <a:gd name="connsiteX261" fmla="*/ 986849 w 1096742"/>
                <a:gd name="connsiteY261" fmla="*/ 62552 h 2646449"/>
                <a:gd name="connsiteX262" fmla="*/ 1087678 w 1096742"/>
                <a:gd name="connsiteY262" fmla="*/ 2065 h 2646449"/>
                <a:gd name="connsiteX263" fmla="*/ 1096742 w 1096742"/>
                <a:gd name="connsiteY263" fmla="*/ 22349 h 2646449"/>
                <a:gd name="connsiteX264" fmla="*/ 1065385 w 1096742"/>
                <a:gd name="connsiteY264" fmla="*/ 76223 h 2646449"/>
                <a:gd name="connsiteX265" fmla="*/ 1034028 w 1096742"/>
                <a:gd name="connsiteY265" fmla="*/ 58049 h 2646449"/>
                <a:gd name="connsiteX266" fmla="*/ 1065385 w 1096742"/>
                <a:gd name="connsiteY266" fmla="*/ 4175 h 2646449"/>
                <a:gd name="connsiteX267" fmla="*/ 1087678 w 1096742"/>
                <a:gd name="connsiteY267" fmla="*/ 2065 h 26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096742" h="2646449">
                  <a:moveTo>
                    <a:pt x="113433" y="2563271"/>
                  </a:moveTo>
                  <a:cubicBezTo>
                    <a:pt x="119441" y="2559762"/>
                    <a:pt x="127722" y="2560252"/>
                    <a:pt x="136814" y="2565475"/>
                  </a:cubicBezTo>
                  <a:cubicBezTo>
                    <a:pt x="154999" y="2576574"/>
                    <a:pt x="169288" y="2602035"/>
                    <a:pt x="169288" y="2622927"/>
                  </a:cubicBezTo>
                  <a:cubicBezTo>
                    <a:pt x="169288" y="2644472"/>
                    <a:pt x="154999" y="2652306"/>
                    <a:pt x="136814" y="2641860"/>
                  </a:cubicBezTo>
                  <a:cubicBezTo>
                    <a:pt x="118629" y="2631414"/>
                    <a:pt x="103691" y="2605953"/>
                    <a:pt x="103691" y="2585061"/>
                  </a:cubicBezTo>
                  <a:cubicBezTo>
                    <a:pt x="103691" y="2574289"/>
                    <a:pt x="107426" y="2566781"/>
                    <a:pt x="113433" y="2563271"/>
                  </a:cubicBezTo>
                  <a:close/>
                  <a:moveTo>
                    <a:pt x="9742" y="2505665"/>
                  </a:moveTo>
                  <a:cubicBezTo>
                    <a:pt x="15750" y="2502156"/>
                    <a:pt x="24031" y="2502646"/>
                    <a:pt x="33123" y="2507869"/>
                  </a:cubicBezTo>
                  <a:cubicBezTo>
                    <a:pt x="51308" y="2518968"/>
                    <a:pt x="65597" y="2544429"/>
                    <a:pt x="65597" y="2565321"/>
                  </a:cubicBezTo>
                  <a:cubicBezTo>
                    <a:pt x="65597" y="2586213"/>
                    <a:pt x="51308" y="2594700"/>
                    <a:pt x="33123" y="2584254"/>
                  </a:cubicBezTo>
                  <a:cubicBezTo>
                    <a:pt x="14938" y="2573808"/>
                    <a:pt x="0" y="2548347"/>
                    <a:pt x="0" y="2527455"/>
                  </a:cubicBezTo>
                  <a:cubicBezTo>
                    <a:pt x="0" y="2516682"/>
                    <a:pt x="3735" y="2509174"/>
                    <a:pt x="9742" y="2505665"/>
                  </a:cubicBezTo>
                  <a:close/>
                  <a:moveTo>
                    <a:pt x="113433" y="2439336"/>
                  </a:moveTo>
                  <a:cubicBezTo>
                    <a:pt x="119441" y="2435908"/>
                    <a:pt x="127722" y="2436398"/>
                    <a:pt x="136814" y="2441621"/>
                  </a:cubicBezTo>
                  <a:cubicBezTo>
                    <a:pt x="154999" y="2452067"/>
                    <a:pt x="169288" y="2477529"/>
                    <a:pt x="169288" y="2499073"/>
                  </a:cubicBezTo>
                  <a:cubicBezTo>
                    <a:pt x="169288" y="2519965"/>
                    <a:pt x="154999" y="2528452"/>
                    <a:pt x="136814" y="2518006"/>
                  </a:cubicBezTo>
                  <a:cubicBezTo>
                    <a:pt x="118629" y="2506908"/>
                    <a:pt x="103691" y="2482099"/>
                    <a:pt x="103691" y="2460554"/>
                  </a:cubicBezTo>
                  <a:cubicBezTo>
                    <a:pt x="103691" y="2450108"/>
                    <a:pt x="107426" y="2442763"/>
                    <a:pt x="113433" y="2439336"/>
                  </a:cubicBezTo>
                  <a:close/>
                  <a:moveTo>
                    <a:pt x="9742" y="2381730"/>
                  </a:moveTo>
                  <a:cubicBezTo>
                    <a:pt x="15750" y="2378302"/>
                    <a:pt x="24031" y="2378792"/>
                    <a:pt x="33123" y="2384015"/>
                  </a:cubicBezTo>
                  <a:cubicBezTo>
                    <a:pt x="51308" y="2394461"/>
                    <a:pt x="65597" y="2419923"/>
                    <a:pt x="65597" y="2441467"/>
                  </a:cubicBezTo>
                  <a:cubicBezTo>
                    <a:pt x="65597" y="2462359"/>
                    <a:pt x="51308" y="2470846"/>
                    <a:pt x="33123" y="2460400"/>
                  </a:cubicBezTo>
                  <a:cubicBezTo>
                    <a:pt x="14938" y="2449954"/>
                    <a:pt x="0" y="2423840"/>
                    <a:pt x="0" y="2402948"/>
                  </a:cubicBezTo>
                  <a:cubicBezTo>
                    <a:pt x="0" y="2392502"/>
                    <a:pt x="3735" y="2385157"/>
                    <a:pt x="9742" y="2381730"/>
                  </a:cubicBezTo>
                  <a:close/>
                  <a:moveTo>
                    <a:pt x="886057" y="2263022"/>
                  </a:moveTo>
                  <a:cubicBezTo>
                    <a:pt x="891691" y="2266186"/>
                    <a:pt x="895121" y="2273001"/>
                    <a:pt x="895121" y="2282738"/>
                  </a:cubicBezTo>
                  <a:cubicBezTo>
                    <a:pt x="895121" y="2303509"/>
                    <a:pt x="881402" y="2327525"/>
                    <a:pt x="863764" y="2337261"/>
                  </a:cubicBezTo>
                  <a:cubicBezTo>
                    <a:pt x="846126" y="2346997"/>
                    <a:pt x="832407" y="2339208"/>
                    <a:pt x="832407" y="2319087"/>
                  </a:cubicBezTo>
                  <a:cubicBezTo>
                    <a:pt x="832407" y="2299614"/>
                    <a:pt x="846126" y="2274949"/>
                    <a:pt x="863764" y="2265213"/>
                  </a:cubicBezTo>
                  <a:cubicBezTo>
                    <a:pt x="872583" y="2260344"/>
                    <a:pt x="880422" y="2259858"/>
                    <a:pt x="886057" y="2263022"/>
                  </a:cubicBezTo>
                  <a:close/>
                  <a:moveTo>
                    <a:pt x="986849" y="2202965"/>
                  </a:moveTo>
                  <a:cubicBezTo>
                    <a:pt x="992460" y="2206269"/>
                    <a:pt x="995925" y="2213359"/>
                    <a:pt x="995925" y="2223349"/>
                  </a:cubicBezTo>
                  <a:cubicBezTo>
                    <a:pt x="995925" y="2242686"/>
                    <a:pt x="982063" y="2266534"/>
                    <a:pt x="964902" y="2276847"/>
                  </a:cubicBezTo>
                  <a:cubicBezTo>
                    <a:pt x="947080" y="2286515"/>
                    <a:pt x="933218" y="2278780"/>
                    <a:pt x="933218" y="2258799"/>
                  </a:cubicBezTo>
                  <a:cubicBezTo>
                    <a:pt x="933218" y="2239463"/>
                    <a:pt x="947080" y="2214970"/>
                    <a:pt x="964902" y="2205302"/>
                  </a:cubicBezTo>
                  <a:cubicBezTo>
                    <a:pt x="973483" y="2200146"/>
                    <a:pt x="981238" y="2199662"/>
                    <a:pt x="986849" y="2202965"/>
                  </a:cubicBezTo>
                  <a:close/>
                  <a:moveTo>
                    <a:pt x="1087678" y="2145359"/>
                  </a:moveTo>
                  <a:cubicBezTo>
                    <a:pt x="1093312" y="2148663"/>
                    <a:pt x="1096742" y="2155753"/>
                    <a:pt x="1096742" y="2165743"/>
                  </a:cubicBezTo>
                  <a:cubicBezTo>
                    <a:pt x="1096742" y="2185080"/>
                    <a:pt x="1083023" y="2208928"/>
                    <a:pt x="1065385" y="2218596"/>
                  </a:cubicBezTo>
                  <a:cubicBezTo>
                    <a:pt x="1047747" y="2228909"/>
                    <a:pt x="1034028" y="2220530"/>
                    <a:pt x="1034028" y="2201193"/>
                  </a:cubicBezTo>
                  <a:cubicBezTo>
                    <a:pt x="1034028" y="2181212"/>
                    <a:pt x="1047747" y="2157364"/>
                    <a:pt x="1065385" y="2147696"/>
                  </a:cubicBezTo>
                  <a:cubicBezTo>
                    <a:pt x="1074204" y="2142540"/>
                    <a:pt x="1082043" y="2142056"/>
                    <a:pt x="1087678" y="2145359"/>
                  </a:cubicBezTo>
                  <a:close/>
                  <a:moveTo>
                    <a:pt x="113433" y="2134105"/>
                  </a:moveTo>
                  <a:cubicBezTo>
                    <a:pt x="119441" y="2130759"/>
                    <a:pt x="127722" y="2131412"/>
                    <a:pt x="136814" y="2136961"/>
                  </a:cubicBezTo>
                  <a:cubicBezTo>
                    <a:pt x="154999" y="2146754"/>
                    <a:pt x="169288" y="2172869"/>
                    <a:pt x="169288" y="2193761"/>
                  </a:cubicBezTo>
                  <a:cubicBezTo>
                    <a:pt x="169288" y="2215305"/>
                    <a:pt x="154999" y="2223140"/>
                    <a:pt x="136814" y="2212694"/>
                  </a:cubicBezTo>
                  <a:cubicBezTo>
                    <a:pt x="118629" y="2202248"/>
                    <a:pt x="103691" y="2176786"/>
                    <a:pt x="103691" y="2155242"/>
                  </a:cubicBezTo>
                  <a:cubicBezTo>
                    <a:pt x="103691" y="2144796"/>
                    <a:pt x="107426" y="2137451"/>
                    <a:pt x="113433" y="2134105"/>
                  </a:cubicBezTo>
                  <a:close/>
                  <a:moveTo>
                    <a:pt x="9742" y="2073619"/>
                  </a:moveTo>
                  <a:cubicBezTo>
                    <a:pt x="15750" y="2070110"/>
                    <a:pt x="24031" y="2070600"/>
                    <a:pt x="33123" y="2075823"/>
                  </a:cubicBezTo>
                  <a:cubicBezTo>
                    <a:pt x="51308" y="2086921"/>
                    <a:pt x="65597" y="2112383"/>
                    <a:pt x="65597" y="2133275"/>
                  </a:cubicBezTo>
                  <a:cubicBezTo>
                    <a:pt x="65597" y="2154167"/>
                    <a:pt x="51308" y="2162654"/>
                    <a:pt x="33123" y="2152208"/>
                  </a:cubicBezTo>
                  <a:cubicBezTo>
                    <a:pt x="14938" y="2141762"/>
                    <a:pt x="0" y="2116300"/>
                    <a:pt x="0" y="2095409"/>
                  </a:cubicBezTo>
                  <a:cubicBezTo>
                    <a:pt x="0" y="2084637"/>
                    <a:pt x="3735" y="2077129"/>
                    <a:pt x="9742" y="2073619"/>
                  </a:cubicBezTo>
                  <a:close/>
                  <a:moveTo>
                    <a:pt x="113433" y="2010172"/>
                  </a:moveTo>
                  <a:cubicBezTo>
                    <a:pt x="119441" y="2006744"/>
                    <a:pt x="127722" y="2007234"/>
                    <a:pt x="136814" y="2012457"/>
                  </a:cubicBezTo>
                  <a:cubicBezTo>
                    <a:pt x="154999" y="2022902"/>
                    <a:pt x="169288" y="2048364"/>
                    <a:pt x="169288" y="2069256"/>
                  </a:cubicBezTo>
                  <a:cubicBezTo>
                    <a:pt x="169288" y="2090801"/>
                    <a:pt x="154999" y="2099288"/>
                    <a:pt x="136814" y="2088842"/>
                  </a:cubicBezTo>
                  <a:cubicBezTo>
                    <a:pt x="118629" y="2078396"/>
                    <a:pt x="103691" y="2052281"/>
                    <a:pt x="103691" y="2031390"/>
                  </a:cubicBezTo>
                  <a:cubicBezTo>
                    <a:pt x="103691" y="2020944"/>
                    <a:pt x="107426" y="2013599"/>
                    <a:pt x="113433" y="2010172"/>
                  </a:cubicBezTo>
                  <a:close/>
                  <a:moveTo>
                    <a:pt x="9742" y="1949684"/>
                  </a:moveTo>
                  <a:cubicBezTo>
                    <a:pt x="15750" y="1946256"/>
                    <a:pt x="24031" y="1946746"/>
                    <a:pt x="33123" y="1951969"/>
                  </a:cubicBezTo>
                  <a:cubicBezTo>
                    <a:pt x="51308" y="1962414"/>
                    <a:pt x="65597" y="1987876"/>
                    <a:pt x="65597" y="2009421"/>
                  </a:cubicBezTo>
                  <a:cubicBezTo>
                    <a:pt x="65597" y="2030313"/>
                    <a:pt x="51308" y="2038800"/>
                    <a:pt x="33123" y="2028354"/>
                  </a:cubicBezTo>
                  <a:cubicBezTo>
                    <a:pt x="14938" y="2017255"/>
                    <a:pt x="0" y="1992446"/>
                    <a:pt x="0" y="1970902"/>
                  </a:cubicBezTo>
                  <a:cubicBezTo>
                    <a:pt x="0" y="1960456"/>
                    <a:pt x="3735" y="1953111"/>
                    <a:pt x="9742" y="1949684"/>
                  </a:cubicBezTo>
                  <a:close/>
                  <a:moveTo>
                    <a:pt x="886057" y="1833964"/>
                  </a:moveTo>
                  <a:cubicBezTo>
                    <a:pt x="891691" y="1837106"/>
                    <a:pt x="895121" y="1844035"/>
                    <a:pt x="895121" y="1854026"/>
                  </a:cubicBezTo>
                  <a:cubicBezTo>
                    <a:pt x="895121" y="1874007"/>
                    <a:pt x="881402" y="1897855"/>
                    <a:pt x="863764" y="1908168"/>
                  </a:cubicBezTo>
                  <a:cubicBezTo>
                    <a:pt x="846126" y="1917836"/>
                    <a:pt x="832407" y="1909457"/>
                    <a:pt x="832407" y="1890120"/>
                  </a:cubicBezTo>
                  <a:cubicBezTo>
                    <a:pt x="832407" y="1870139"/>
                    <a:pt x="846126" y="1846291"/>
                    <a:pt x="863764" y="1836623"/>
                  </a:cubicBezTo>
                  <a:cubicBezTo>
                    <a:pt x="872583" y="1831466"/>
                    <a:pt x="880422" y="1830822"/>
                    <a:pt x="886057" y="1833964"/>
                  </a:cubicBezTo>
                  <a:close/>
                  <a:moveTo>
                    <a:pt x="986849" y="1776331"/>
                  </a:moveTo>
                  <a:cubicBezTo>
                    <a:pt x="992460" y="1779576"/>
                    <a:pt x="995925" y="1786554"/>
                    <a:pt x="995925" y="1796615"/>
                  </a:cubicBezTo>
                  <a:cubicBezTo>
                    <a:pt x="995925" y="1816737"/>
                    <a:pt x="982063" y="1840753"/>
                    <a:pt x="964902" y="1850489"/>
                  </a:cubicBezTo>
                  <a:cubicBezTo>
                    <a:pt x="947080" y="1860225"/>
                    <a:pt x="933218" y="1852436"/>
                    <a:pt x="933218" y="1832964"/>
                  </a:cubicBezTo>
                  <a:cubicBezTo>
                    <a:pt x="933218" y="1812842"/>
                    <a:pt x="947080" y="1788177"/>
                    <a:pt x="964902" y="1778441"/>
                  </a:cubicBezTo>
                  <a:cubicBezTo>
                    <a:pt x="973483" y="1773573"/>
                    <a:pt x="981238" y="1773086"/>
                    <a:pt x="986849" y="1776331"/>
                  </a:cubicBezTo>
                  <a:close/>
                  <a:moveTo>
                    <a:pt x="1087678" y="1718968"/>
                  </a:moveTo>
                  <a:cubicBezTo>
                    <a:pt x="1093312" y="1722295"/>
                    <a:pt x="1096742" y="1729272"/>
                    <a:pt x="1096742" y="1739009"/>
                  </a:cubicBezTo>
                  <a:cubicBezTo>
                    <a:pt x="1096742" y="1759131"/>
                    <a:pt x="1083023" y="1783147"/>
                    <a:pt x="1065385" y="1792883"/>
                  </a:cubicBezTo>
                  <a:cubicBezTo>
                    <a:pt x="1047747" y="1802619"/>
                    <a:pt x="1034028" y="1794830"/>
                    <a:pt x="1034028" y="1774709"/>
                  </a:cubicBezTo>
                  <a:cubicBezTo>
                    <a:pt x="1034028" y="1755236"/>
                    <a:pt x="1047747" y="1731220"/>
                    <a:pt x="1065385" y="1720835"/>
                  </a:cubicBezTo>
                  <a:cubicBezTo>
                    <a:pt x="1074204" y="1715966"/>
                    <a:pt x="1082043" y="1715642"/>
                    <a:pt x="1087678" y="1718968"/>
                  </a:cubicBezTo>
                  <a:close/>
                  <a:moveTo>
                    <a:pt x="113433" y="1708065"/>
                  </a:moveTo>
                  <a:cubicBezTo>
                    <a:pt x="119441" y="1704637"/>
                    <a:pt x="127722" y="1705127"/>
                    <a:pt x="136814" y="1710676"/>
                  </a:cubicBezTo>
                  <a:cubicBezTo>
                    <a:pt x="154999" y="1720469"/>
                    <a:pt x="169288" y="1746584"/>
                    <a:pt x="169288" y="1767476"/>
                  </a:cubicBezTo>
                  <a:cubicBezTo>
                    <a:pt x="169288" y="1788368"/>
                    <a:pt x="154999" y="1796855"/>
                    <a:pt x="136814" y="1786409"/>
                  </a:cubicBezTo>
                  <a:cubicBezTo>
                    <a:pt x="118629" y="1775963"/>
                    <a:pt x="103691" y="1750501"/>
                    <a:pt x="103691" y="1728957"/>
                  </a:cubicBezTo>
                  <a:cubicBezTo>
                    <a:pt x="103691" y="1718837"/>
                    <a:pt x="107426" y="1711492"/>
                    <a:pt x="113433" y="1708065"/>
                  </a:cubicBezTo>
                  <a:close/>
                  <a:moveTo>
                    <a:pt x="9742" y="1647281"/>
                  </a:moveTo>
                  <a:cubicBezTo>
                    <a:pt x="15750" y="1643795"/>
                    <a:pt x="24031" y="1644281"/>
                    <a:pt x="33123" y="1649469"/>
                  </a:cubicBezTo>
                  <a:cubicBezTo>
                    <a:pt x="51308" y="1659846"/>
                    <a:pt x="65597" y="1685788"/>
                    <a:pt x="65597" y="1706541"/>
                  </a:cubicBezTo>
                  <a:cubicBezTo>
                    <a:pt x="65597" y="1727943"/>
                    <a:pt x="51308" y="1736374"/>
                    <a:pt x="33123" y="1725349"/>
                  </a:cubicBezTo>
                  <a:cubicBezTo>
                    <a:pt x="14938" y="1714972"/>
                    <a:pt x="0" y="1689679"/>
                    <a:pt x="0" y="1668926"/>
                  </a:cubicBezTo>
                  <a:cubicBezTo>
                    <a:pt x="0" y="1658225"/>
                    <a:pt x="3735" y="1650767"/>
                    <a:pt x="9742" y="1647281"/>
                  </a:cubicBezTo>
                  <a:close/>
                  <a:moveTo>
                    <a:pt x="113433" y="1583887"/>
                  </a:moveTo>
                  <a:cubicBezTo>
                    <a:pt x="119441" y="1580459"/>
                    <a:pt x="127722" y="1580949"/>
                    <a:pt x="136814" y="1586172"/>
                  </a:cubicBezTo>
                  <a:cubicBezTo>
                    <a:pt x="154999" y="1596617"/>
                    <a:pt x="169288" y="1622079"/>
                    <a:pt x="169288" y="1642971"/>
                  </a:cubicBezTo>
                  <a:cubicBezTo>
                    <a:pt x="169288" y="1664516"/>
                    <a:pt x="154999" y="1673003"/>
                    <a:pt x="136814" y="1662557"/>
                  </a:cubicBezTo>
                  <a:cubicBezTo>
                    <a:pt x="118629" y="1652111"/>
                    <a:pt x="103691" y="1626649"/>
                    <a:pt x="103691" y="1605105"/>
                  </a:cubicBezTo>
                  <a:cubicBezTo>
                    <a:pt x="103691" y="1594659"/>
                    <a:pt x="107426" y="1587314"/>
                    <a:pt x="113433" y="1583887"/>
                  </a:cubicBezTo>
                  <a:close/>
                  <a:moveTo>
                    <a:pt x="9742" y="1523751"/>
                  </a:moveTo>
                  <a:cubicBezTo>
                    <a:pt x="15750" y="1520265"/>
                    <a:pt x="24031" y="1520751"/>
                    <a:pt x="33123" y="1526264"/>
                  </a:cubicBezTo>
                  <a:cubicBezTo>
                    <a:pt x="51308" y="1536641"/>
                    <a:pt x="65597" y="1561934"/>
                    <a:pt x="65597" y="1583336"/>
                  </a:cubicBezTo>
                  <a:cubicBezTo>
                    <a:pt x="65597" y="1604089"/>
                    <a:pt x="51308" y="1612520"/>
                    <a:pt x="33123" y="1602144"/>
                  </a:cubicBezTo>
                  <a:cubicBezTo>
                    <a:pt x="14938" y="1591767"/>
                    <a:pt x="0" y="1566474"/>
                    <a:pt x="0" y="1545072"/>
                  </a:cubicBezTo>
                  <a:cubicBezTo>
                    <a:pt x="0" y="1534695"/>
                    <a:pt x="3735" y="1527237"/>
                    <a:pt x="9742" y="1523751"/>
                  </a:cubicBezTo>
                  <a:close/>
                  <a:moveTo>
                    <a:pt x="886057" y="1407652"/>
                  </a:moveTo>
                  <a:cubicBezTo>
                    <a:pt x="891691" y="1410897"/>
                    <a:pt x="895121" y="1417875"/>
                    <a:pt x="895121" y="1427936"/>
                  </a:cubicBezTo>
                  <a:cubicBezTo>
                    <a:pt x="895121" y="1448058"/>
                    <a:pt x="881402" y="1472074"/>
                    <a:pt x="863764" y="1481810"/>
                  </a:cubicBezTo>
                  <a:cubicBezTo>
                    <a:pt x="846126" y="1491546"/>
                    <a:pt x="832407" y="1483757"/>
                    <a:pt x="832407" y="1463636"/>
                  </a:cubicBezTo>
                  <a:cubicBezTo>
                    <a:pt x="832407" y="1444163"/>
                    <a:pt x="846126" y="1419498"/>
                    <a:pt x="863764" y="1409762"/>
                  </a:cubicBezTo>
                  <a:cubicBezTo>
                    <a:pt x="872583" y="1404894"/>
                    <a:pt x="880422" y="1404407"/>
                    <a:pt x="886057" y="1407652"/>
                  </a:cubicBezTo>
                  <a:close/>
                  <a:moveTo>
                    <a:pt x="986849" y="1347167"/>
                  </a:moveTo>
                  <a:cubicBezTo>
                    <a:pt x="992460" y="1350412"/>
                    <a:pt x="995925" y="1357390"/>
                    <a:pt x="995925" y="1367451"/>
                  </a:cubicBezTo>
                  <a:cubicBezTo>
                    <a:pt x="995925" y="1386923"/>
                    <a:pt x="982063" y="1411589"/>
                    <a:pt x="964902" y="1421325"/>
                  </a:cubicBezTo>
                  <a:cubicBezTo>
                    <a:pt x="947080" y="1431061"/>
                    <a:pt x="933218" y="1423272"/>
                    <a:pt x="933218" y="1403151"/>
                  </a:cubicBezTo>
                  <a:cubicBezTo>
                    <a:pt x="933218" y="1383029"/>
                    <a:pt x="947080" y="1359013"/>
                    <a:pt x="964902" y="1349277"/>
                  </a:cubicBezTo>
                  <a:cubicBezTo>
                    <a:pt x="973483" y="1344409"/>
                    <a:pt x="981238" y="1343922"/>
                    <a:pt x="986849" y="1347167"/>
                  </a:cubicBezTo>
                  <a:close/>
                  <a:moveTo>
                    <a:pt x="1087678" y="1289910"/>
                  </a:moveTo>
                  <a:cubicBezTo>
                    <a:pt x="1093312" y="1293214"/>
                    <a:pt x="1096742" y="1300304"/>
                    <a:pt x="1096742" y="1310294"/>
                  </a:cubicBezTo>
                  <a:cubicBezTo>
                    <a:pt x="1096742" y="1329631"/>
                    <a:pt x="1083023" y="1353479"/>
                    <a:pt x="1065385" y="1363147"/>
                  </a:cubicBezTo>
                  <a:cubicBezTo>
                    <a:pt x="1047747" y="1373460"/>
                    <a:pt x="1034028" y="1365081"/>
                    <a:pt x="1034028" y="1345744"/>
                  </a:cubicBezTo>
                  <a:cubicBezTo>
                    <a:pt x="1034028" y="1325763"/>
                    <a:pt x="1047747" y="1301915"/>
                    <a:pt x="1065385" y="1292247"/>
                  </a:cubicBezTo>
                  <a:cubicBezTo>
                    <a:pt x="1074204" y="1287090"/>
                    <a:pt x="1082043" y="1286607"/>
                    <a:pt x="1087678" y="1289910"/>
                  </a:cubicBezTo>
                  <a:close/>
                  <a:moveTo>
                    <a:pt x="113433" y="1278656"/>
                  </a:moveTo>
                  <a:cubicBezTo>
                    <a:pt x="119441" y="1275147"/>
                    <a:pt x="127722" y="1275637"/>
                    <a:pt x="136814" y="1280860"/>
                  </a:cubicBezTo>
                  <a:cubicBezTo>
                    <a:pt x="154999" y="1291305"/>
                    <a:pt x="169288" y="1316767"/>
                    <a:pt x="169288" y="1338312"/>
                  </a:cubicBezTo>
                  <a:cubicBezTo>
                    <a:pt x="169288" y="1359204"/>
                    <a:pt x="154999" y="1367691"/>
                    <a:pt x="136814" y="1357245"/>
                  </a:cubicBezTo>
                  <a:cubicBezTo>
                    <a:pt x="118629" y="1346799"/>
                    <a:pt x="103691" y="1321337"/>
                    <a:pt x="103691" y="1300446"/>
                  </a:cubicBezTo>
                  <a:cubicBezTo>
                    <a:pt x="103691" y="1289674"/>
                    <a:pt x="107426" y="1282166"/>
                    <a:pt x="113433" y="1278656"/>
                  </a:cubicBezTo>
                  <a:close/>
                  <a:moveTo>
                    <a:pt x="9742" y="1218088"/>
                  </a:moveTo>
                  <a:cubicBezTo>
                    <a:pt x="15750" y="1214660"/>
                    <a:pt x="24031" y="1215150"/>
                    <a:pt x="33123" y="1220373"/>
                  </a:cubicBezTo>
                  <a:cubicBezTo>
                    <a:pt x="51308" y="1230818"/>
                    <a:pt x="65597" y="1256933"/>
                    <a:pt x="65597" y="1277825"/>
                  </a:cubicBezTo>
                  <a:cubicBezTo>
                    <a:pt x="65597" y="1298717"/>
                    <a:pt x="51308" y="1307204"/>
                    <a:pt x="33123" y="1296758"/>
                  </a:cubicBezTo>
                  <a:cubicBezTo>
                    <a:pt x="14938" y="1286312"/>
                    <a:pt x="0" y="1260850"/>
                    <a:pt x="0" y="1239306"/>
                  </a:cubicBezTo>
                  <a:cubicBezTo>
                    <a:pt x="0" y="1228860"/>
                    <a:pt x="3735" y="1221515"/>
                    <a:pt x="9742" y="1218088"/>
                  </a:cubicBezTo>
                  <a:close/>
                  <a:moveTo>
                    <a:pt x="113433" y="1154721"/>
                  </a:moveTo>
                  <a:cubicBezTo>
                    <a:pt x="119441" y="1151293"/>
                    <a:pt x="127722" y="1151783"/>
                    <a:pt x="136814" y="1157006"/>
                  </a:cubicBezTo>
                  <a:cubicBezTo>
                    <a:pt x="154999" y="1167451"/>
                    <a:pt x="169288" y="1192913"/>
                    <a:pt x="169288" y="1214458"/>
                  </a:cubicBezTo>
                  <a:cubicBezTo>
                    <a:pt x="169288" y="1235350"/>
                    <a:pt x="154999" y="1243837"/>
                    <a:pt x="136814" y="1232738"/>
                  </a:cubicBezTo>
                  <a:cubicBezTo>
                    <a:pt x="118629" y="1222945"/>
                    <a:pt x="103691" y="1196830"/>
                    <a:pt x="103691" y="1175939"/>
                  </a:cubicBezTo>
                  <a:cubicBezTo>
                    <a:pt x="103691" y="1165493"/>
                    <a:pt x="107426" y="1158148"/>
                    <a:pt x="113433" y="1154721"/>
                  </a:cubicBezTo>
                  <a:close/>
                  <a:moveTo>
                    <a:pt x="9742" y="1094235"/>
                  </a:moveTo>
                  <a:cubicBezTo>
                    <a:pt x="15750" y="1090807"/>
                    <a:pt x="24031" y="1091297"/>
                    <a:pt x="33123" y="1096520"/>
                  </a:cubicBezTo>
                  <a:cubicBezTo>
                    <a:pt x="51308" y="1106965"/>
                    <a:pt x="65597" y="1132427"/>
                    <a:pt x="65597" y="1153319"/>
                  </a:cubicBezTo>
                  <a:cubicBezTo>
                    <a:pt x="65597" y="1174864"/>
                    <a:pt x="51308" y="1183351"/>
                    <a:pt x="33123" y="1172905"/>
                  </a:cubicBezTo>
                  <a:cubicBezTo>
                    <a:pt x="14938" y="1162459"/>
                    <a:pt x="0" y="1136344"/>
                    <a:pt x="0" y="1115453"/>
                  </a:cubicBezTo>
                  <a:cubicBezTo>
                    <a:pt x="0" y="1105007"/>
                    <a:pt x="3735" y="1097662"/>
                    <a:pt x="9742" y="1094235"/>
                  </a:cubicBezTo>
                  <a:close/>
                  <a:moveTo>
                    <a:pt x="886057" y="978676"/>
                  </a:moveTo>
                  <a:cubicBezTo>
                    <a:pt x="891691" y="981980"/>
                    <a:pt x="895121" y="988909"/>
                    <a:pt x="895121" y="998577"/>
                  </a:cubicBezTo>
                  <a:cubicBezTo>
                    <a:pt x="895121" y="1018558"/>
                    <a:pt x="881402" y="1042406"/>
                    <a:pt x="863764" y="1052074"/>
                  </a:cubicBezTo>
                  <a:cubicBezTo>
                    <a:pt x="846126" y="1062387"/>
                    <a:pt x="832407" y="1054008"/>
                    <a:pt x="832407" y="1034671"/>
                  </a:cubicBezTo>
                  <a:cubicBezTo>
                    <a:pt x="832407" y="1014690"/>
                    <a:pt x="846126" y="990842"/>
                    <a:pt x="863764" y="980529"/>
                  </a:cubicBezTo>
                  <a:cubicBezTo>
                    <a:pt x="872583" y="975695"/>
                    <a:pt x="880422" y="975373"/>
                    <a:pt x="886057" y="978676"/>
                  </a:cubicBezTo>
                  <a:close/>
                  <a:moveTo>
                    <a:pt x="986849" y="921070"/>
                  </a:moveTo>
                  <a:cubicBezTo>
                    <a:pt x="992460" y="924374"/>
                    <a:pt x="995925" y="931303"/>
                    <a:pt x="995925" y="940971"/>
                  </a:cubicBezTo>
                  <a:cubicBezTo>
                    <a:pt x="995925" y="960952"/>
                    <a:pt x="982063" y="984800"/>
                    <a:pt x="964902" y="994468"/>
                  </a:cubicBezTo>
                  <a:cubicBezTo>
                    <a:pt x="947080" y="1004781"/>
                    <a:pt x="933218" y="996402"/>
                    <a:pt x="933218" y="977065"/>
                  </a:cubicBezTo>
                  <a:cubicBezTo>
                    <a:pt x="933218" y="957084"/>
                    <a:pt x="947080" y="933236"/>
                    <a:pt x="964902" y="922923"/>
                  </a:cubicBezTo>
                  <a:cubicBezTo>
                    <a:pt x="973483" y="918089"/>
                    <a:pt x="981238" y="917767"/>
                    <a:pt x="986849" y="921070"/>
                  </a:cubicBezTo>
                  <a:close/>
                  <a:moveTo>
                    <a:pt x="1087678" y="860720"/>
                  </a:moveTo>
                  <a:cubicBezTo>
                    <a:pt x="1093312" y="863965"/>
                    <a:pt x="1096742" y="870943"/>
                    <a:pt x="1096742" y="880679"/>
                  </a:cubicBezTo>
                  <a:cubicBezTo>
                    <a:pt x="1096742" y="900801"/>
                    <a:pt x="1083023" y="924817"/>
                    <a:pt x="1065385" y="934553"/>
                  </a:cubicBezTo>
                  <a:cubicBezTo>
                    <a:pt x="1047747" y="944289"/>
                    <a:pt x="1034028" y="936500"/>
                    <a:pt x="1034028" y="916379"/>
                  </a:cubicBezTo>
                  <a:cubicBezTo>
                    <a:pt x="1034028" y="896906"/>
                    <a:pt x="1047747" y="872890"/>
                    <a:pt x="1065385" y="863154"/>
                  </a:cubicBezTo>
                  <a:cubicBezTo>
                    <a:pt x="1074204" y="857961"/>
                    <a:pt x="1082043" y="857474"/>
                    <a:pt x="1087678" y="860720"/>
                  </a:cubicBezTo>
                  <a:close/>
                  <a:moveTo>
                    <a:pt x="113433" y="852371"/>
                  </a:moveTo>
                  <a:cubicBezTo>
                    <a:pt x="119441" y="848862"/>
                    <a:pt x="127722" y="849352"/>
                    <a:pt x="136814" y="854575"/>
                  </a:cubicBezTo>
                  <a:cubicBezTo>
                    <a:pt x="154999" y="865673"/>
                    <a:pt x="169288" y="891135"/>
                    <a:pt x="169288" y="912027"/>
                  </a:cubicBezTo>
                  <a:cubicBezTo>
                    <a:pt x="169288" y="932919"/>
                    <a:pt x="154999" y="941406"/>
                    <a:pt x="136814" y="930960"/>
                  </a:cubicBezTo>
                  <a:cubicBezTo>
                    <a:pt x="118629" y="920514"/>
                    <a:pt x="103691" y="895052"/>
                    <a:pt x="103691" y="874161"/>
                  </a:cubicBezTo>
                  <a:cubicBezTo>
                    <a:pt x="103691" y="863389"/>
                    <a:pt x="107426" y="855881"/>
                    <a:pt x="113433" y="852371"/>
                  </a:cubicBezTo>
                  <a:close/>
                  <a:moveTo>
                    <a:pt x="9742" y="791884"/>
                  </a:moveTo>
                  <a:cubicBezTo>
                    <a:pt x="15750" y="788375"/>
                    <a:pt x="24031" y="788865"/>
                    <a:pt x="33123" y="794088"/>
                  </a:cubicBezTo>
                  <a:cubicBezTo>
                    <a:pt x="51308" y="804533"/>
                    <a:pt x="65597" y="830648"/>
                    <a:pt x="65597" y="851540"/>
                  </a:cubicBezTo>
                  <a:cubicBezTo>
                    <a:pt x="65597" y="872432"/>
                    <a:pt x="51308" y="880919"/>
                    <a:pt x="33123" y="870473"/>
                  </a:cubicBezTo>
                  <a:cubicBezTo>
                    <a:pt x="14938" y="860027"/>
                    <a:pt x="0" y="833912"/>
                    <a:pt x="0" y="813674"/>
                  </a:cubicBezTo>
                  <a:cubicBezTo>
                    <a:pt x="0" y="802902"/>
                    <a:pt x="3735" y="795394"/>
                    <a:pt x="9742" y="791884"/>
                  </a:cubicBezTo>
                  <a:close/>
                  <a:moveTo>
                    <a:pt x="113433" y="728436"/>
                  </a:moveTo>
                  <a:cubicBezTo>
                    <a:pt x="119441" y="725008"/>
                    <a:pt x="127722" y="725498"/>
                    <a:pt x="136814" y="730721"/>
                  </a:cubicBezTo>
                  <a:cubicBezTo>
                    <a:pt x="154999" y="741166"/>
                    <a:pt x="169288" y="766628"/>
                    <a:pt x="169288" y="788173"/>
                  </a:cubicBezTo>
                  <a:cubicBezTo>
                    <a:pt x="169288" y="809065"/>
                    <a:pt x="154999" y="817552"/>
                    <a:pt x="136814" y="807106"/>
                  </a:cubicBezTo>
                  <a:cubicBezTo>
                    <a:pt x="118629" y="796660"/>
                    <a:pt x="103691" y="770545"/>
                    <a:pt x="103691" y="749654"/>
                  </a:cubicBezTo>
                  <a:cubicBezTo>
                    <a:pt x="103691" y="739208"/>
                    <a:pt x="107426" y="731863"/>
                    <a:pt x="113433" y="728436"/>
                  </a:cubicBezTo>
                  <a:close/>
                  <a:moveTo>
                    <a:pt x="9742" y="667951"/>
                  </a:moveTo>
                  <a:cubicBezTo>
                    <a:pt x="15750" y="664523"/>
                    <a:pt x="24031" y="665013"/>
                    <a:pt x="33123" y="670236"/>
                  </a:cubicBezTo>
                  <a:cubicBezTo>
                    <a:pt x="51308" y="680681"/>
                    <a:pt x="65597" y="706143"/>
                    <a:pt x="65597" y="727688"/>
                  </a:cubicBezTo>
                  <a:cubicBezTo>
                    <a:pt x="65597" y="747927"/>
                    <a:pt x="51308" y="757067"/>
                    <a:pt x="33123" y="746621"/>
                  </a:cubicBezTo>
                  <a:cubicBezTo>
                    <a:pt x="14938" y="736175"/>
                    <a:pt x="0" y="710060"/>
                    <a:pt x="0" y="689169"/>
                  </a:cubicBezTo>
                  <a:cubicBezTo>
                    <a:pt x="0" y="678723"/>
                    <a:pt x="3735" y="671378"/>
                    <a:pt x="9742" y="667951"/>
                  </a:cubicBezTo>
                  <a:close/>
                  <a:moveTo>
                    <a:pt x="886057" y="549322"/>
                  </a:moveTo>
                  <a:cubicBezTo>
                    <a:pt x="891691" y="552567"/>
                    <a:pt x="895121" y="559545"/>
                    <a:pt x="895121" y="569606"/>
                  </a:cubicBezTo>
                  <a:cubicBezTo>
                    <a:pt x="895121" y="589728"/>
                    <a:pt x="881402" y="613744"/>
                    <a:pt x="863764" y="623480"/>
                  </a:cubicBezTo>
                  <a:cubicBezTo>
                    <a:pt x="854945" y="628348"/>
                    <a:pt x="847106" y="628835"/>
                    <a:pt x="841471" y="625671"/>
                  </a:cubicBezTo>
                  <a:lnTo>
                    <a:pt x="835866" y="613478"/>
                  </a:lnTo>
                  <a:lnTo>
                    <a:pt x="585767" y="757574"/>
                  </a:lnTo>
                  <a:lnTo>
                    <a:pt x="577620" y="784367"/>
                  </a:lnTo>
                  <a:cubicBezTo>
                    <a:pt x="571904" y="794035"/>
                    <a:pt x="564065" y="802414"/>
                    <a:pt x="555572" y="807248"/>
                  </a:cubicBezTo>
                  <a:cubicBezTo>
                    <a:pt x="537934" y="817561"/>
                    <a:pt x="524215" y="809182"/>
                    <a:pt x="524215" y="789845"/>
                  </a:cubicBezTo>
                  <a:cubicBezTo>
                    <a:pt x="524215" y="769864"/>
                    <a:pt x="537934" y="746016"/>
                    <a:pt x="555572" y="735703"/>
                  </a:cubicBezTo>
                  <a:cubicBezTo>
                    <a:pt x="564065" y="730869"/>
                    <a:pt x="571904" y="730547"/>
                    <a:pt x="577620" y="733850"/>
                  </a:cubicBezTo>
                  <a:lnTo>
                    <a:pt x="582874" y="745083"/>
                  </a:lnTo>
                  <a:lnTo>
                    <a:pt x="834107" y="600112"/>
                  </a:lnTo>
                  <a:lnTo>
                    <a:pt x="841471" y="574799"/>
                  </a:lnTo>
                  <a:cubicBezTo>
                    <a:pt x="847106" y="564901"/>
                    <a:pt x="854945" y="556300"/>
                    <a:pt x="863764" y="551432"/>
                  </a:cubicBezTo>
                  <a:cubicBezTo>
                    <a:pt x="872583" y="546564"/>
                    <a:pt x="880422" y="546077"/>
                    <a:pt x="886057" y="549322"/>
                  </a:cubicBezTo>
                  <a:close/>
                  <a:moveTo>
                    <a:pt x="986849" y="492041"/>
                  </a:moveTo>
                  <a:cubicBezTo>
                    <a:pt x="992460" y="495286"/>
                    <a:pt x="995925" y="502264"/>
                    <a:pt x="995925" y="512000"/>
                  </a:cubicBezTo>
                  <a:cubicBezTo>
                    <a:pt x="995925" y="532122"/>
                    <a:pt x="982063" y="555489"/>
                    <a:pt x="964902" y="565874"/>
                  </a:cubicBezTo>
                  <a:cubicBezTo>
                    <a:pt x="947080" y="575610"/>
                    <a:pt x="933218" y="567821"/>
                    <a:pt x="933218" y="547700"/>
                  </a:cubicBezTo>
                  <a:cubicBezTo>
                    <a:pt x="933218" y="528227"/>
                    <a:pt x="947080" y="504860"/>
                    <a:pt x="964902" y="494475"/>
                  </a:cubicBezTo>
                  <a:cubicBezTo>
                    <a:pt x="973483" y="489282"/>
                    <a:pt x="981238" y="488795"/>
                    <a:pt x="986849" y="492041"/>
                  </a:cubicBezTo>
                  <a:close/>
                  <a:moveTo>
                    <a:pt x="1087678" y="434164"/>
                  </a:moveTo>
                  <a:cubicBezTo>
                    <a:pt x="1093312" y="437433"/>
                    <a:pt x="1096742" y="444460"/>
                    <a:pt x="1096742" y="454592"/>
                  </a:cubicBezTo>
                  <a:cubicBezTo>
                    <a:pt x="1096742" y="474202"/>
                    <a:pt x="1083023" y="498389"/>
                    <a:pt x="1065385" y="508194"/>
                  </a:cubicBezTo>
                  <a:cubicBezTo>
                    <a:pt x="1047747" y="518000"/>
                    <a:pt x="1034028" y="509502"/>
                    <a:pt x="1034028" y="490545"/>
                  </a:cubicBezTo>
                  <a:cubicBezTo>
                    <a:pt x="1034028" y="470280"/>
                    <a:pt x="1047747" y="446094"/>
                    <a:pt x="1065385" y="436289"/>
                  </a:cubicBezTo>
                  <a:cubicBezTo>
                    <a:pt x="1074204" y="431386"/>
                    <a:pt x="1082043" y="430896"/>
                    <a:pt x="1087678" y="434164"/>
                  </a:cubicBezTo>
                  <a:close/>
                  <a:moveTo>
                    <a:pt x="113433" y="426141"/>
                  </a:moveTo>
                  <a:cubicBezTo>
                    <a:pt x="119441" y="422773"/>
                    <a:pt x="127722" y="423430"/>
                    <a:pt x="136814" y="429017"/>
                  </a:cubicBezTo>
                  <a:cubicBezTo>
                    <a:pt x="154999" y="438876"/>
                    <a:pt x="169288" y="465166"/>
                    <a:pt x="169288" y="486198"/>
                  </a:cubicBezTo>
                  <a:cubicBezTo>
                    <a:pt x="169288" y="506572"/>
                    <a:pt x="154999" y="515117"/>
                    <a:pt x="136814" y="505258"/>
                  </a:cubicBezTo>
                  <a:cubicBezTo>
                    <a:pt x="118629" y="494742"/>
                    <a:pt x="103691" y="469109"/>
                    <a:pt x="103691" y="447420"/>
                  </a:cubicBezTo>
                  <a:cubicBezTo>
                    <a:pt x="103691" y="436904"/>
                    <a:pt x="107426" y="429510"/>
                    <a:pt x="113433" y="426141"/>
                  </a:cubicBezTo>
                  <a:close/>
                  <a:moveTo>
                    <a:pt x="9742" y="368399"/>
                  </a:moveTo>
                  <a:cubicBezTo>
                    <a:pt x="15750" y="364971"/>
                    <a:pt x="24031" y="365461"/>
                    <a:pt x="33123" y="370684"/>
                  </a:cubicBezTo>
                  <a:cubicBezTo>
                    <a:pt x="51308" y="381782"/>
                    <a:pt x="65597" y="406591"/>
                    <a:pt x="65597" y="428136"/>
                  </a:cubicBezTo>
                  <a:cubicBezTo>
                    <a:pt x="65597" y="449028"/>
                    <a:pt x="51308" y="457515"/>
                    <a:pt x="33123" y="447069"/>
                  </a:cubicBezTo>
                  <a:cubicBezTo>
                    <a:pt x="14938" y="436623"/>
                    <a:pt x="0" y="411161"/>
                    <a:pt x="0" y="389617"/>
                  </a:cubicBezTo>
                  <a:cubicBezTo>
                    <a:pt x="0" y="379171"/>
                    <a:pt x="3735" y="371826"/>
                    <a:pt x="9742" y="368399"/>
                  </a:cubicBezTo>
                  <a:close/>
                  <a:moveTo>
                    <a:pt x="113433" y="302205"/>
                  </a:moveTo>
                  <a:cubicBezTo>
                    <a:pt x="119441" y="298755"/>
                    <a:pt x="127722" y="299248"/>
                    <a:pt x="136814" y="304506"/>
                  </a:cubicBezTo>
                  <a:cubicBezTo>
                    <a:pt x="154999" y="315022"/>
                    <a:pt x="169288" y="340654"/>
                    <a:pt x="169288" y="361686"/>
                  </a:cubicBezTo>
                  <a:cubicBezTo>
                    <a:pt x="169288" y="383376"/>
                    <a:pt x="154999" y="391263"/>
                    <a:pt x="136814" y="381404"/>
                  </a:cubicBezTo>
                  <a:cubicBezTo>
                    <a:pt x="118629" y="370231"/>
                    <a:pt x="103691" y="344598"/>
                    <a:pt x="103691" y="323566"/>
                  </a:cubicBezTo>
                  <a:cubicBezTo>
                    <a:pt x="103691" y="313050"/>
                    <a:pt x="107426" y="305656"/>
                    <a:pt x="113433" y="302205"/>
                  </a:cubicBezTo>
                  <a:close/>
                  <a:moveTo>
                    <a:pt x="577620" y="290095"/>
                  </a:moveTo>
                  <a:cubicBezTo>
                    <a:pt x="583336" y="293340"/>
                    <a:pt x="586929" y="300318"/>
                    <a:pt x="586929" y="310379"/>
                  </a:cubicBezTo>
                  <a:cubicBezTo>
                    <a:pt x="586929" y="330501"/>
                    <a:pt x="572557" y="354517"/>
                    <a:pt x="555572" y="364253"/>
                  </a:cubicBezTo>
                  <a:cubicBezTo>
                    <a:pt x="537934" y="373989"/>
                    <a:pt x="524215" y="366200"/>
                    <a:pt x="524215" y="346079"/>
                  </a:cubicBezTo>
                  <a:cubicBezTo>
                    <a:pt x="524215" y="326606"/>
                    <a:pt x="537934" y="301941"/>
                    <a:pt x="555572" y="292205"/>
                  </a:cubicBezTo>
                  <a:cubicBezTo>
                    <a:pt x="564065" y="287337"/>
                    <a:pt x="571904" y="286850"/>
                    <a:pt x="577620" y="290095"/>
                  </a:cubicBezTo>
                  <a:close/>
                  <a:moveTo>
                    <a:pt x="9742" y="244545"/>
                  </a:moveTo>
                  <a:cubicBezTo>
                    <a:pt x="15750" y="241117"/>
                    <a:pt x="24031" y="241607"/>
                    <a:pt x="33123" y="246830"/>
                  </a:cubicBezTo>
                  <a:cubicBezTo>
                    <a:pt x="51308" y="257275"/>
                    <a:pt x="65597" y="282737"/>
                    <a:pt x="65597" y="303629"/>
                  </a:cubicBezTo>
                  <a:cubicBezTo>
                    <a:pt x="65597" y="325174"/>
                    <a:pt x="51308" y="333661"/>
                    <a:pt x="33123" y="323215"/>
                  </a:cubicBezTo>
                  <a:cubicBezTo>
                    <a:pt x="14938" y="312116"/>
                    <a:pt x="0" y="286654"/>
                    <a:pt x="0" y="265763"/>
                  </a:cubicBezTo>
                  <a:cubicBezTo>
                    <a:pt x="0" y="255317"/>
                    <a:pt x="3735" y="247972"/>
                    <a:pt x="9742" y="244545"/>
                  </a:cubicBezTo>
                  <a:close/>
                  <a:moveTo>
                    <a:pt x="886057" y="120105"/>
                  </a:moveTo>
                  <a:cubicBezTo>
                    <a:pt x="891691" y="123327"/>
                    <a:pt x="895121" y="130256"/>
                    <a:pt x="895121" y="140247"/>
                  </a:cubicBezTo>
                  <a:cubicBezTo>
                    <a:pt x="895121" y="160228"/>
                    <a:pt x="881402" y="184076"/>
                    <a:pt x="863764" y="193744"/>
                  </a:cubicBezTo>
                  <a:cubicBezTo>
                    <a:pt x="846126" y="204057"/>
                    <a:pt x="832407" y="195678"/>
                    <a:pt x="832407" y="175697"/>
                  </a:cubicBezTo>
                  <a:cubicBezTo>
                    <a:pt x="832407" y="156360"/>
                    <a:pt x="846126" y="132512"/>
                    <a:pt x="863764" y="122199"/>
                  </a:cubicBezTo>
                  <a:cubicBezTo>
                    <a:pt x="872583" y="117365"/>
                    <a:pt x="880422" y="116882"/>
                    <a:pt x="886057" y="120105"/>
                  </a:cubicBezTo>
                  <a:close/>
                  <a:moveTo>
                    <a:pt x="986849" y="62552"/>
                  </a:moveTo>
                  <a:cubicBezTo>
                    <a:pt x="992460" y="65797"/>
                    <a:pt x="995925" y="72775"/>
                    <a:pt x="995925" y="82836"/>
                  </a:cubicBezTo>
                  <a:cubicBezTo>
                    <a:pt x="995925" y="102308"/>
                    <a:pt x="982063" y="126974"/>
                    <a:pt x="964902" y="136710"/>
                  </a:cubicBezTo>
                  <a:cubicBezTo>
                    <a:pt x="947080" y="146446"/>
                    <a:pt x="933218" y="138657"/>
                    <a:pt x="933218" y="118536"/>
                  </a:cubicBezTo>
                  <a:cubicBezTo>
                    <a:pt x="933218" y="99063"/>
                    <a:pt x="947080" y="74398"/>
                    <a:pt x="964902" y="64662"/>
                  </a:cubicBezTo>
                  <a:cubicBezTo>
                    <a:pt x="973483" y="59794"/>
                    <a:pt x="981238" y="59307"/>
                    <a:pt x="986849" y="62552"/>
                  </a:cubicBezTo>
                  <a:close/>
                  <a:moveTo>
                    <a:pt x="1087678" y="2065"/>
                  </a:moveTo>
                  <a:cubicBezTo>
                    <a:pt x="1093312" y="5310"/>
                    <a:pt x="1096742" y="12288"/>
                    <a:pt x="1096742" y="22349"/>
                  </a:cubicBezTo>
                  <a:cubicBezTo>
                    <a:pt x="1096742" y="41821"/>
                    <a:pt x="1083023" y="66487"/>
                    <a:pt x="1065385" y="76223"/>
                  </a:cubicBezTo>
                  <a:cubicBezTo>
                    <a:pt x="1047747" y="85959"/>
                    <a:pt x="1034028" y="78170"/>
                    <a:pt x="1034028" y="58049"/>
                  </a:cubicBezTo>
                  <a:cubicBezTo>
                    <a:pt x="1034028" y="37927"/>
                    <a:pt x="1047747" y="13911"/>
                    <a:pt x="1065385" y="4175"/>
                  </a:cubicBezTo>
                  <a:cubicBezTo>
                    <a:pt x="1074204" y="-693"/>
                    <a:pt x="1082043" y="-1180"/>
                    <a:pt x="1087678" y="2065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4" name="Freeform 454">
              <a:extLst>
                <a:ext uri="{FF2B5EF4-FFF2-40B4-BE49-F238E27FC236}">
                  <a16:creationId xmlns:a16="http://schemas.microsoft.com/office/drawing/2014/main" id="{BD1BA6E0-5D58-DE4A-9B10-4A6C34A09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2" y="5538823"/>
              <a:ext cx="852570" cy="492531"/>
            </a:xfrm>
            <a:custGeom>
              <a:avLst/>
              <a:gdLst>
                <a:gd name="T0" fmla="*/ 591 w 1306"/>
                <a:gd name="T1" fmla="*/ 733 h 754"/>
                <a:gd name="T2" fmla="*/ 34 w 1306"/>
                <a:gd name="T3" fmla="*/ 412 h 754"/>
                <a:gd name="T4" fmla="*/ 34 w 1306"/>
                <a:gd name="T5" fmla="*/ 412 h 754"/>
                <a:gd name="T6" fmla="*/ 44 w 1306"/>
                <a:gd name="T7" fmla="*/ 335 h 754"/>
                <a:gd name="T8" fmla="*/ 581 w 1306"/>
                <a:gd name="T9" fmla="*/ 25 h 754"/>
                <a:gd name="T10" fmla="*/ 581 w 1306"/>
                <a:gd name="T11" fmla="*/ 25 h 754"/>
                <a:gd name="T12" fmla="*/ 714 w 1306"/>
                <a:gd name="T13" fmla="*/ 20 h 754"/>
                <a:gd name="T14" fmla="*/ 1271 w 1306"/>
                <a:gd name="T15" fmla="*/ 341 h 754"/>
                <a:gd name="T16" fmla="*/ 1271 w 1306"/>
                <a:gd name="T17" fmla="*/ 341 h 754"/>
                <a:gd name="T18" fmla="*/ 1261 w 1306"/>
                <a:gd name="T19" fmla="*/ 418 h 754"/>
                <a:gd name="T20" fmla="*/ 724 w 1306"/>
                <a:gd name="T21" fmla="*/ 728 h 754"/>
                <a:gd name="T22" fmla="*/ 724 w 1306"/>
                <a:gd name="T23" fmla="*/ 728 h 754"/>
                <a:gd name="T24" fmla="*/ 591 w 1306"/>
                <a:gd name="T25" fmla="*/ 733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6" h="754">
                  <a:moveTo>
                    <a:pt x="591" y="733"/>
                  </a:moveTo>
                  <a:lnTo>
                    <a:pt x="34" y="412"/>
                  </a:lnTo>
                  <a:lnTo>
                    <a:pt x="34" y="412"/>
                  </a:lnTo>
                  <a:cubicBezTo>
                    <a:pt x="0" y="393"/>
                    <a:pt x="5" y="358"/>
                    <a:pt x="44" y="335"/>
                  </a:cubicBezTo>
                  <a:lnTo>
                    <a:pt x="581" y="25"/>
                  </a:lnTo>
                  <a:lnTo>
                    <a:pt x="581" y="25"/>
                  </a:lnTo>
                  <a:cubicBezTo>
                    <a:pt x="621" y="3"/>
                    <a:pt x="680" y="0"/>
                    <a:pt x="714" y="20"/>
                  </a:cubicBezTo>
                  <a:lnTo>
                    <a:pt x="1271" y="341"/>
                  </a:lnTo>
                  <a:lnTo>
                    <a:pt x="1271" y="341"/>
                  </a:lnTo>
                  <a:cubicBezTo>
                    <a:pt x="1305" y="361"/>
                    <a:pt x="1301" y="395"/>
                    <a:pt x="1261" y="418"/>
                  </a:cubicBezTo>
                  <a:lnTo>
                    <a:pt x="724" y="728"/>
                  </a:lnTo>
                  <a:lnTo>
                    <a:pt x="724" y="728"/>
                  </a:lnTo>
                  <a:cubicBezTo>
                    <a:pt x="684" y="751"/>
                    <a:pt x="625" y="753"/>
                    <a:pt x="591" y="73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5" name="Freeform 455">
              <a:extLst>
                <a:ext uri="{FF2B5EF4-FFF2-40B4-BE49-F238E27FC236}">
                  <a16:creationId xmlns:a16="http://schemas.microsoft.com/office/drawing/2014/main" id="{45A93916-7FC1-844D-A1A7-B57231147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4371" y="5777888"/>
              <a:ext cx="118093" cy="69127"/>
            </a:xfrm>
            <a:custGeom>
              <a:avLst/>
              <a:gdLst>
                <a:gd name="T0" fmla="*/ 82 w 182"/>
                <a:gd name="T1" fmla="*/ 101 h 105"/>
                <a:gd name="T2" fmla="*/ 5 w 182"/>
                <a:gd name="T3" fmla="*/ 56 h 105"/>
                <a:gd name="T4" fmla="*/ 5 w 182"/>
                <a:gd name="T5" fmla="*/ 56 h 105"/>
                <a:gd name="T6" fmla="*/ 6 w 182"/>
                <a:gd name="T7" fmla="*/ 46 h 105"/>
                <a:gd name="T8" fmla="*/ 81 w 182"/>
                <a:gd name="T9" fmla="*/ 3 h 105"/>
                <a:gd name="T10" fmla="*/ 81 w 182"/>
                <a:gd name="T11" fmla="*/ 3 h 105"/>
                <a:gd name="T12" fmla="*/ 99 w 182"/>
                <a:gd name="T13" fmla="*/ 2 h 105"/>
                <a:gd name="T14" fmla="*/ 176 w 182"/>
                <a:gd name="T15" fmla="*/ 46 h 105"/>
                <a:gd name="T16" fmla="*/ 176 w 182"/>
                <a:gd name="T17" fmla="*/ 46 h 105"/>
                <a:gd name="T18" fmla="*/ 175 w 182"/>
                <a:gd name="T19" fmla="*/ 57 h 105"/>
                <a:gd name="T20" fmla="*/ 101 w 182"/>
                <a:gd name="T21" fmla="*/ 100 h 105"/>
                <a:gd name="T22" fmla="*/ 101 w 182"/>
                <a:gd name="T23" fmla="*/ 100 h 105"/>
                <a:gd name="T24" fmla="*/ 82 w 182"/>
                <a:gd name="T25" fmla="*/ 10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" h="105">
                  <a:moveTo>
                    <a:pt x="82" y="101"/>
                  </a:moveTo>
                  <a:lnTo>
                    <a:pt x="5" y="56"/>
                  </a:lnTo>
                  <a:lnTo>
                    <a:pt x="5" y="56"/>
                  </a:lnTo>
                  <a:cubicBezTo>
                    <a:pt x="0" y="54"/>
                    <a:pt x="1" y="49"/>
                    <a:pt x="6" y="46"/>
                  </a:cubicBezTo>
                  <a:lnTo>
                    <a:pt x="81" y="3"/>
                  </a:lnTo>
                  <a:lnTo>
                    <a:pt x="81" y="3"/>
                  </a:lnTo>
                  <a:cubicBezTo>
                    <a:pt x="86" y="0"/>
                    <a:pt x="94" y="0"/>
                    <a:pt x="99" y="2"/>
                  </a:cubicBezTo>
                  <a:lnTo>
                    <a:pt x="176" y="46"/>
                  </a:lnTo>
                  <a:lnTo>
                    <a:pt x="176" y="46"/>
                  </a:lnTo>
                  <a:cubicBezTo>
                    <a:pt x="181" y="49"/>
                    <a:pt x="180" y="54"/>
                    <a:pt x="175" y="57"/>
                  </a:cubicBezTo>
                  <a:lnTo>
                    <a:pt x="101" y="100"/>
                  </a:lnTo>
                  <a:lnTo>
                    <a:pt x="101" y="100"/>
                  </a:lnTo>
                  <a:cubicBezTo>
                    <a:pt x="95" y="103"/>
                    <a:pt x="87" y="104"/>
                    <a:pt x="82" y="101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6" name="Freeform 456">
              <a:extLst>
                <a:ext uri="{FF2B5EF4-FFF2-40B4-BE49-F238E27FC236}">
                  <a16:creationId xmlns:a16="http://schemas.microsoft.com/office/drawing/2014/main" id="{8243A72D-9CE8-D549-956D-17F759411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3" y="5538824"/>
              <a:ext cx="849690" cy="270748"/>
            </a:xfrm>
            <a:custGeom>
              <a:avLst/>
              <a:gdLst>
                <a:gd name="T0" fmla="*/ 34 w 1303"/>
                <a:gd name="T1" fmla="*/ 412 h 415"/>
                <a:gd name="T2" fmla="*/ 36 w 1303"/>
                <a:gd name="T3" fmla="*/ 414 h 415"/>
                <a:gd name="T4" fmla="*/ 36 w 1303"/>
                <a:gd name="T5" fmla="*/ 414 h 415"/>
                <a:gd name="T6" fmla="*/ 44 w 1303"/>
                <a:gd name="T7" fmla="*/ 408 h 415"/>
                <a:gd name="T8" fmla="*/ 581 w 1303"/>
                <a:gd name="T9" fmla="*/ 98 h 415"/>
                <a:gd name="T10" fmla="*/ 581 w 1303"/>
                <a:gd name="T11" fmla="*/ 98 h 415"/>
                <a:gd name="T12" fmla="*/ 714 w 1303"/>
                <a:gd name="T13" fmla="*/ 92 h 415"/>
                <a:gd name="T14" fmla="*/ 1269 w 1303"/>
                <a:gd name="T15" fmla="*/ 412 h 415"/>
                <a:gd name="T16" fmla="*/ 1269 w 1303"/>
                <a:gd name="T17" fmla="*/ 412 h 415"/>
                <a:gd name="T18" fmla="*/ 1271 w 1303"/>
                <a:gd name="T19" fmla="*/ 341 h 415"/>
                <a:gd name="T20" fmla="*/ 714 w 1303"/>
                <a:gd name="T21" fmla="*/ 20 h 415"/>
                <a:gd name="T22" fmla="*/ 714 w 1303"/>
                <a:gd name="T23" fmla="*/ 20 h 415"/>
                <a:gd name="T24" fmla="*/ 581 w 1303"/>
                <a:gd name="T25" fmla="*/ 25 h 415"/>
                <a:gd name="T26" fmla="*/ 44 w 1303"/>
                <a:gd name="T27" fmla="*/ 335 h 415"/>
                <a:gd name="T28" fmla="*/ 44 w 1303"/>
                <a:gd name="T29" fmla="*/ 335 h 415"/>
                <a:gd name="T30" fmla="*/ 34 w 1303"/>
                <a:gd name="T31" fmla="*/ 41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3" h="415">
                  <a:moveTo>
                    <a:pt x="34" y="412"/>
                  </a:moveTo>
                  <a:lnTo>
                    <a:pt x="36" y="414"/>
                  </a:lnTo>
                  <a:lnTo>
                    <a:pt x="36" y="414"/>
                  </a:lnTo>
                  <a:cubicBezTo>
                    <a:pt x="38" y="412"/>
                    <a:pt x="41" y="409"/>
                    <a:pt x="44" y="408"/>
                  </a:cubicBezTo>
                  <a:lnTo>
                    <a:pt x="581" y="98"/>
                  </a:lnTo>
                  <a:lnTo>
                    <a:pt x="581" y="98"/>
                  </a:lnTo>
                  <a:cubicBezTo>
                    <a:pt x="621" y="75"/>
                    <a:pt x="680" y="73"/>
                    <a:pt x="714" y="92"/>
                  </a:cubicBezTo>
                  <a:lnTo>
                    <a:pt x="1269" y="412"/>
                  </a:lnTo>
                  <a:lnTo>
                    <a:pt x="1269" y="412"/>
                  </a:lnTo>
                  <a:cubicBezTo>
                    <a:pt x="1301" y="390"/>
                    <a:pt x="1302" y="359"/>
                    <a:pt x="1271" y="341"/>
                  </a:cubicBezTo>
                  <a:lnTo>
                    <a:pt x="714" y="20"/>
                  </a:lnTo>
                  <a:lnTo>
                    <a:pt x="714" y="20"/>
                  </a:lnTo>
                  <a:cubicBezTo>
                    <a:pt x="680" y="0"/>
                    <a:pt x="621" y="3"/>
                    <a:pt x="581" y="25"/>
                  </a:cubicBezTo>
                  <a:lnTo>
                    <a:pt x="44" y="335"/>
                  </a:lnTo>
                  <a:lnTo>
                    <a:pt x="44" y="335"/>
                  </a:lnTo>
                  <a:cubicBezTo>
                    <a:pt x="5" y="358"/>
                    <a:pt x="0" y="393"/>
                    <a:pt x="34" y="412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7" name="Freeform 481">
              <a:extLst>
                <a:ext uri="{FF2B5EF4-FFF2-40B4-BE49-F238E27FC236}">
                  <a16:creationId xmlns:a16="http://schemas.microsoft.com/office/drawing/2014/main" id="{E226B533-52F5-8D40-820A-77D41C397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1761" y="10225074"/>
              <a:ext cx="1618730" cy="936099"/>
            </a:xfrm>
            <a:custGeom>
              <a:avLst/>
              <a:gdLst>
                <a:gd name="T0" fmla="*/ 1605 w 2477"/>
                <a:gd name="T1" fmla="*/ 927 h 1431"/>
                <a:gd name="T2" fmla="*/ 1605 w 2477"/>
                <a:gd name="T3" fmla="*/ 927 h 1431"/>
                <a:gd name="T4" fmla="*/ 872 w 2477"/>
                <a:gd name="T5" fmla="*/ 927 h 1431"/>
                <a:gd name="T6" fmla="*/ 872 w 2477"/>
                <a:gd name="T7" fmla="*/ 927 h 1431"/>
                <a:gd name="T8" fmla="*/ 872 w 2477"/>
                <a:gd name="T9" fmla="*/ 503 h 1431"/>
                <a:gd name="T10" fmla="*/ 872 w 2477"/>
                <a:gd name="T11" fmla="*/ 503 h 1431"/>
                <a:gd name="T12" fmla="*/ 1605 w 2477"/>
                <a:gd name="T13" fmla="*/ 503 h 1431"/>
                <a:gd name="T14" fmla="*/ 1605 w 2477"/>
                <a:gd name="T15" fmla="*/ 503 h 1431"/>
                <a:gd name="T16" fmla="*/ 1605 w 2477"/>
                <a:gd name="T17" fmla="*/ 927 h 1431"/>
                <a:gd name="T18" fmla="*/ 2036 w 2477"/>
                <a:gd name="T19" fmla="*/ 255 h 1431"/>
                <a:gd name="T20" fmla="*/ 2036 w 2477"/>
                <a:gd name="T21" fmla="*/ 255 h 1431"/>
                <a:gd name="T22" fmla="*/ 441 w 2477"/>
                <a:gd name="T23" fmla="*/ 255 h 1431"/>
                <a:gd name="T24" fmla="*/ 441 w 2477"/>
                <a:gd name="T25" fmla="*/ 255 h 1431"/>
                <a:gd name="T26" fmla="*/ 441 w 2477"/>
                <a:gd name="T27" fmla="*/ 1175 h 1431"/>
                <a:gd name="T28" fmla="*/ 441 w 2477"/>
                <a:gd name="T29" fmla="*/ 1175 h 1431"/>
                <a:gd name="T30" fmla="*/ 2036 w 2477"/>
                <a:gd name="T31" fmla="*/ 1175 h 1431"/>
                <a:gd name="T32" fmla="*/ 2036 w 2477"/>
                <a:gd name="T33" fmla="*/ 1175 h 1431"/>
                <a:gd name="T34" fmla="*/ 2036 w 2477"/>
                <a:gd name="T35" fmla="*/ 25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77" h="1431">
                  <a:moveTo>
                    <a:pt x="1605" y="927"/>
                  </a:moveTo>
                  <a:lnTo>
                    <a:pt x="1605" y="927"/>
                  </a:lnTo>
                  <a:cubicBezTo>
                    <a:pt x="1402" y="1043"/>
                    <a:pt x="1075" y="1043"/>
                    <a:pt x="872" y="927"/>
                  </a:cubicBezTo>
                  <a:lnTo>
                    <a:pt x="872" y="927"/>
                  </a:lnTo>
                  <a:cubicBezTo>
                    <a:pt x="669" y="809"/>
                    <a:pt x="669" y="620"/>
                    <a:pt x="872" y="503"/>
                  </a:cubicBezTo>
                  <a:lnTo>
                    <a:pt x="872" y="503"/>
                  </a:lnTo>
                  <a:cubicBezTo>
                    <a:pt x="1074" y="386"/>
                    <a:pt x="1402" y="386"/>
                    <a:pt x="1605" y="503"/>
                  </a:cubicBezTo>
                  <a:lnTo>
                    <a:pt x="1605" y="503"/>
                  </a:lnTo>
                  <a:cubicBezTo>
                    <a:pt x="1807" y="620"/>
                    <a:pt x="1807" y="809"/>
                    <a:pt x="1605" y="927"/>
                  </a:cubicBezTo>
                  <a:close/>
                  <a:moveTo>
                    <a:pt x="2036" y="255"/>
                  </a:moveTo>
                  <a:lnTo>
                    <a:pt x="2036" y="255"/>
                  </a:lnTo>
                  <a:cubicBezTo>
                    <a:pt x="1595" y="0"/>
                    <a:pt x="881" y="0"/>
                    <a:pt x="441" y="255"/>
                  </a:cubicBezTo>
                  <a:lnTo>
                    <a:pt x="441" y="255"/>
                  </a:lnTo>
                  <a:cubicBezTo>
                    <a:pt x="0" y="509"/>
                    <a:pt x="0" y="921"/>
                    <a:pt x="441" y="1175"/>
                  </a:cubicBezTo>
                  <a:lnTo>
                    <a:pt x="441" y="1175"/>
                  </a:lnTo>
                  <a:cubicBezTo>
                    <a:pt x="881" y="1430"/>
                    <a:pt x="1595" y="1430"/>
                    <a:pt x="2036" y="1175"/>
                  </a:cubicBezTo>
                  <a:lnTo>
                    <a:pt x="2036" y="1175"/>
                  </a:lnTo>
                  <a:cubicBezTo>
                    <a:pt x="2476" y="921"/>
                    <a:pt x="2476" y="509"/>
                    <a:pt x="2036" y="2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8" name="Freeform 577">
              <a:extLst>
                <a:ext uri="{FF2B5EF4-FFF2-40B4-BE49-F238E27FC236}">
                  <a16:creationId xmlns:a16="http://schemas.microsoft.com/office/drawing/2014/main" id="{265B2ED9-4A53-C743-9B5E-37276F42A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4"/>
              <a:ext cx="1399171" cy="612853"/>
            </a:xfrm>
            <a:custGeom>
              <a:avLst/>
              <a:gdLst>
                <a:gd name="connsiteX0" fmla="*/ 0 w 1399171"/>
                <a:gd name="connsiteY0" fmla="*/ 97931 h 612853"/>
                <a:gd name="connsiteX1" fmla="*/ 126080 w 1399171"/>
                <a:gd name="connsiteY1" fmla="*/ 231719 h 612853"/>
                <a:gd name="connsiteX2" fmla="*/ 126080 w 1399171"/>
                <a:gd name="connsiteY2" fmla="*/ 612853 h 612853"/>
                <a:gd name="connsiteX3" fmla="*/ 0 w 1399171"/>
                <a:gd name="connsiteY3" fmla="*/ 479065 h 612853"/>
                <a:gd name="connsiteX4" fmla="*/ 1157881 w 1399171"/>
                <a:gd name="connsiteY4" fmla="*/ 0 h 612853"/>
                <a:gd name="connsiteX5" fmla="*/ 1399171 w 1399171"/>
                <a:gd name="connsiteY5" fmla="*/ 3265 h 612853"/>
                <a:gd name="connsiteX6" fmla="*/ 1399171 w 1399171"/>
                <a:gd name="connsiteY6" fmla="*/ 385308 h 612853"/>
                <a:gd name="connsiteX7" fmla="*/ 1157881 w 1399171"/>
                <a:gd name="connsiteY7" fmla="*/ 381390 h 61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9171" h="612853">
                  <a:moveTo>
                    <a:pt x="0" y="97931"/>
                  </a:moveTo>
                  <a:lnTo>
                    <a:pt x="126080" y="231719"/>
                  </a:lnTo>
                  <a:lnTo>
                    <a:pt x="126080" y="612853"/>
                  </a:lnTo>
                  <a:lnTo>
                    <a:pt x="0" y="479065"/>
                  </a:lnTo>
                  <a:close/>
                  <a:moveTo>
                    <a:pt x="1157881" y="0"/>
                  </a:moveTo>
                  <a:lnTo>
                    <a:pt x="1399171" y="3265"/>
                  </a:lnTo>
                  <a:lnTo>
                    <a:pt x="1399171" y="385308"/>
                  </a:lnTo>
                  <a:lnTo>
                    <a:pt x="1157881" y="38139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9" name="Freeform 578">
              <a:extLst>
                <a:ext uri="{FF2B5EF4-FFF2-40B4-BE49-F238E27FC236}">
                  <a16:creationId xmlns:a16="http://schemas.microsoft.com/office/drawing/2014/main" id="{E5AB2ACC-44FC-2941-B4AA-13D130CEF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2"/>
              <a:ext cx="1396293" cy="618612"/>
            </a:xfrm>
            <a:custGeom>
              <a:avLst/>
              <a:gdLst>
                <a:gd name="connsiteX0" fmla="*/ 1154353 w 1396293"/>
                <a:gd name="connsiteY0" fmla="*/ 0 h 618612"/>
                <a:gd name="connsiteX1" fmla="*/ 1154353 w 1396293"/>
                <a:gd name="connsiteY1" fmla="*/ 277577 h 618612"/>
                <a:gd name="connsiteX2" fmla="*/ 1225511 w 1396293"/>
                <a:gd name="connsiteY2" fmla="*/ 299133 h 618612"/>
                <a:gd name="connsiteX3" fmla="*/ 1359737 w 1396293"/>
                <a:gd name="connsiteY3" fmla="*/ 362227 h 618612"/>
                <a:gd name="connsiteX4" fmla="*/ 1396293 w 1396293"/>
                <a:gd name="connsiteY4" fmla="*/ 385773 h 618612"/>
                <a:gd name="connsiteX5" fmla="*/ 1156071 w 1396293"/>
                <a:gd name="connsiteY5" fmla="*/ 381849 h 618612"/>
                <a:gd name="connsiteX6" fmla="*/ 1000057 w 1396293"/>
                <a:gd name="connsiteY6" fmla="*/ 529008 h 618612"/>
                <a:gd name="connsiteX7" fmla="*/ 999863 w 1396293"/>
                <a:gd name="connsiteY7" fmla="*/ 528943 h 618612"/>
                <a:gd name="connsiteX8" fmla="*/ 999465 w 1396293"/>
                <a:gd name="connsiteY8" fmla="*/ 529322 h 618612"/>
                <a:gd name="connsiteX9" fmla="*/ 999465 w 1396293"/>
                <a:gd name="connsiteY9" fmla="*/ 528811 h 618612"/>
                <a:gd name="connsiteX10" fmla="*/ 905205 w 1396293"/>
                <a:gd name="connsiteY10" fmla="*/ 497415 h 618612"/>
                <a:gd name="connsiteX11" fmla="*/ 592662 w 1396293"/>
                <a:gd name="connsiteY11" fmla="*/ 500312 h 618612"/>
                <a:gd name="connsiteX12" fmla="*/ 471341 w 1396293"/>
                <a:gd name="connsiteY12" fmla="*/ 548615 h 618612"/>
                <a:gd name="connsiteX13" fmla="*/ 470808 w 1396293"/>
                <a:gd name="connsiteY13" fmla="*/ 549049 h 618612"/>
                <a:gd name="connsiteX14" fmla="*/ 388403 w 1396293"/>
                <a:gd name="connsiteY14" fmla="*/ 618612 h 618612"/>
                <a:gd name="connsiteX15" fmla="*/ 125986 w 1396293"/>
                <a:gd name="connsiteY15" fmla="*/ 614034 h 618612"/>
                <a:gd name="connsiteX16" fmla="*/ 0 w 1396293"/>
                <a:gd name="connsiteY16" fmla="*/ 479955 h 618612"/>
                <a:gd name="connsiteX17" fmla="*/ 66502 w 1396293"/>
                <a:gd name="connsiteY17" fmla="*/ 418638 h 618612"/>
                <a:gd name="connsiteX18" fmla="*/ 126733 w 1396293"/>
                <a:gd name="connsiteY18" fmla="*/ 378014 h 618612"/>
                <a:gd name="connsiteX19" fmla="*/ 126733 w 1396293"/>
                <a:gd name="connsiteY19" fmla="*/ 230426 h 618612"/>
                <a:gd name="connsiteX20" fmla="*/ 388190 w 1396293"/>
                <a:gd name="connsiteY20" fmla="*/ 234338 h 618612"/>
                <a:gd name="connsiteX21" fmla="*/ 388190 w 1396293"/>
                <a:gd name="connsiteY21" fmla="*/ 267681 h 618612"/>
                <a:gd name="connsiteX22" fmla="*/ 388965 w 1396293"/>
                <a:gd name="connsiteY22" fmla="*/ 267446 h 618612"/>
                <a:gd name="connsiteX23" fmla="*/ 388965 w 1396293"/>
                <a:gd name="connsiteY23" fmla="*/ 234054 h 618612"/>
                <a:gd name="connsiteX24" fmla="*/ 400736 w 1396293"/>
                <a:gd name="connsiteY24" fmla="*/ 133578 h 618612"/>
                <a:gd name="connsiteX25" fmla="*/ 755817 w 1396293"/>
                <a:gd name="connsiteY25" fmla="*/ 25925 h 618612"/>
                <a:gd name="connsiteX26" fmla="*/ 1001541 w 1396293"/>
                <a:gd name="connsiteY26" fmla="*/ 144597 h 61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96293" h="618612">
                  <a:moveTo>
                    <a:pt x="1154353" y="0"/>
                  </a:moveTo>
                  <a:lnTo>
                    <a:pt x="1154353" y="277577"/>
                  </a:lnTo>
                  <a:lnTo>
                    <a:pt x="1225511" y="299133"/>
                  </a:lnTo>
                  <a:cubicBezTo>
                    <a:pt x="1272947" y="317160"/>
                    <a:pt x="1317959" y="338191"/>
                    <a:pt x="1359737" y="362227"/>
                  </a:cubicBezTo>
                  <a:cubicBezTo>
                    <a:pt x="1372793" y="370076"/>
                    <a:pt x="1384543" y="377924"/>
                    <a:pt x="1396293" y="385773"/>
                  </a:cubicBezTo>
                  <a:lnTo>
                    <a:pt x="1156071" y="381849"/>
                  </a:lnTo>
                  <a:lnTo>
                    <a:pt x="1000057" y="529008"/>
                  </a:lnTo>
                  <a:lnTo>
                    <a:pt x="999863" y="528943"/>
                  </a:lnTo>
                  <a:lnTo>
                    <a:pt x="999465" y="529322"/>
                  </a:lnTo>
                  <a:lnTo>
                    <a:pt x="999465" y="528811"/>
                  </a:lnTo>
                  <a:lnTo>
                    <a:pt x="905205" y="497415"/>
                  </a:lnTo>
                  <a:cubicBezTo>
                    <a:pt x="805000" y="473962"/>
                    <a:pt x="691757" y="474927"/>
                    <a:pt x="592662" y="500312"/>
                  </a:cubicBezTo>
                  <a:lnTo>
                    <a:pt x="471341" y="548615"/>
                  </a:lnTo>
                  <a:lnTo>
                    <a:pt x="470808" y="549049"/>
                  </a:lnTo>
                  <a:lnTo>
                    <a:pt x="388403" y="618612"/>
                  </a:lnTo>
                  <a:lnTo>
                    <a:pt x="125986" y="614034"/>
                  </a:lnTo>
                  <a:lnTo>
                    <a:pt x="0" y="479955"/>
                  </a:lnTo>
                  <a:cubicBezTo>
                    <a:pt x="19257" y="458698"/>
                    <a:pt x="41452" y="438260"/>
                    <a:pt x="66502" y="418638"/>
                  </a:cubicBezTo>
                  <a:lnTo>
                    <a:pt x="126733" y="378014"/>
                  </a:lnTo>
                  <a:lnTo>
                    <a:pt x="126733" y="230426"/>
                  </a:lnTo>
                  <a:lnTo>
                    <a:pt x="388190" y="234338"/>
                  </a:lnTo>
                  <a:lnTo>
                    <a:pt x="388190" y="267681"/>
                  </a:lnTo>
                  <a:lnTo>
                    <a:pt x="388965" y="267446"/>
                  </a:lnTo>
                  <a:lnTo>
                    <a:pt x="388965" y="234054"/>
                  </a:lnTo>
                  <a:cubicBezTo>
                    <a:pt x="388965" y="234054"/>
                    <a:pt x="383080" y="138145"/>
                    <a:pt x="400736" y="133578"/>
                  </a:cubicBezTo>
                  <a:cubicBezTo>
                    <a:pt x="417738" y="129663"/>
                    <a:pt x="755817" y="25925"/>
                    <a:pt x="755817" y="25925"/>
                  </a:cubicBezTo>
                  <a:lnTo>
                    <a:pt x="1001541" y="144597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0" name="Freeform 488">
              <a:extLst>
                <a:ext uri="{FF2B5EF4-FFF2-40B4-BE49-F238E27FC236}">
                  <a16:creationId xmlns:a16="http://schemas.microsoft.com/office/drawing/2014/main" id="{B528E76E-481E-0741-A5D4-710F002BE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337941"/>
              <a:ext cx="1396946" cy="449327"/>
            </a:xfrm>
            <a:custGeom>
              <a:avLst/>
              <a:gdLst>
                <a:gd name="T0" fmla="*/ 193 w 2140"/>
                <a:gd name="T1" fmla="*/ 680 h 687"/>
                <a:gd name="T2" fmla="*/ 595 w 2140"/>
                <a:gd name="T3" fmla="*/ 686 h 687"/>
                <a:gd name="T4" fmla="*/ 595 w 2140"/>
                <a:gd name="T5" fmla="*/ 686 h 687"/>
                <a:gd name="T6" fmla="*/ 722 w 2140"/>
                <a:gd name="T7" fmla="*/ 579 h 687"/>
                <a:gd name="T8" fmla="*/ 722 w 2140"/>
                <a:gd name="T9" fmla="*/ 579 h 687"/>
                <a:gd name="T10" fmla="*/ 1532 w 2140"/>
                <a:gd name="T11" fmla="*/ 549 h 687"/>
                <a:gd name="T12" fmla="*/ 1771 w 2140"/>
                <a:gd name="T13" fmla="*/ 325 h 687"/>
                <a:gd name="T14" fmla="*/ 2139 w 2140"/>
                <a:gd name="T15" fmla="*/ 330 h 687"/>
                <a:gd name="T16" fmla="*/ 2139 w 2140"/>
                <a:gd name="T17" fmla="*/ 330 h 687"/>
                <a:gd name="T18" fmla="*/ 2083 w 2140"/>
                <a:gd name="T19" fmla="*/ 296 h 687"/>
                <a:gd name="T20" fmla="*/ 2083 w 2140"/>
                <a:gd name="T21" fmla="*/ 296 h 687"/>
                <a:gd name="T22" fmla="*/ 230 w 2140"/>
                <a:gd name="T23" fmla="*/ 296 h 687"/>
                <a:gd name="T24" fmla="*/ 230 w 2140"/>
                <a:gd name="T25" fmla="*/ 296 h 687"/>
                <a:gd name="T26" fmla="*/ 0 w 2140"/>
                <a:gd name="T27" fmla="*/ 475 h 687"/>
                <a:gd name="T28" fmla="*/ 193 w 2140"/>
                <a:gd name="T29" fmla="*/ 680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0" h="687">
                  <a:moveTo>
                    <a:pt x="193" y="680"/>
                  </a:moveTo>
                  <a:lnTo>
                    <a:pt x="595" y="686"/>
                  </a:lnTo>
                  <a:lnTo>
                    <a:pt x="595" y="686"/>
                  </a:lnTo>
                  <a:cubicBezTo>
                    <a:pt x="625" y="647"/>
                    <a:pt x="667" y="611"/>
                    <a:pt x="722" y="579"/>
                  </a:cubicBezTo>
                  <a:lnTo>
                    <a:pt x="722" y="579"/>
                  </a:lnTo>
                  <a:cubicBezTo>
                    <a:pt x="943" y="452"/>
                    <a:pt x="1291" y="442"/>
                    <a:pt x="1532" y="549"/>
                  </a:cubicBezTo>
                  <a:lnTo>
                    <a:pt x="1771" y="325"/>
                  </a:lnTo>
                  <a:lnTo>
                    <a:pt x="2139" y="330"/>
                  </a:lnTo>
                  <a:lnTo>
                    <a:pt x="2139" y="330"/>
                  </a:lnTo>
                  <a:cubicBezTo>
                    <a:pt x="2121" y="319"/>
                    <a:pt x="2103" y="307"/>
                    <a:pt x="2083" y="296"/>
                  </a:cubicBezTo>
                  <a:lnTo>
                    <a:pt x="2083" y="296"/>
                  </a:lnTo>
                  <a:cubicBezTo>
                    <a:pt x="1571" y="0"/>
                    <a:pt x="742" y="0"/>
                    <a:pt x="230" y="296"/>
                  </a:cubicBezTo>
                  <a:lnTo>
                    <a:pt x="230" y="296"/>
                  </a:lnTo>
                  <a:cubicBezTo>
                    <a:pt x="136" y="350"/>
                    <a:pt x="59" y="410"/>
                    <a:pt x="0" y="475"/>
                  </a:cubicBezTo>
                  <a:lnTo>
                    <a:pt x="193" y="68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1" name="Freeform 580">
              <a:extLst>
                <a:ext uri="{FF2B5EF4-FFF2-40B4-BE49-F238E27FC236}">
                  <a16:creationId xmlns:a16="http://schemas.microsoft.com/office/drawing/2014/main" id="{E54925E1-1E15-0E41-86AA-2155FE549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1" y="9744065"/>
              <a:ext cx="705023" cy="1004570"/>
            </a:xfrm>
            <a:custGeom>
              <a:avLst/>
              <a:gdLst>
                <a:gd name="connsiteX0" fmla="*/ 172819 w 705023"/>
                <a:gd name="connsiteY0" fmla="*/ 0 h 1004570"/>
                <a:gd name="connsiteX1" fmla="*/ 380861 w 705023"/>
                <a:gd name="connsiteY1" fmla="*/ 85723 h 1004570"/>
                <a:gd name="connsiteX2" fmla="*/ 392237 w 705023"/>
                <a:gd name="connsiteY2" fmla="*/ 193040 h 1004570"/>
                <a:gd name="connsiteX3" fmla="*/ 396799 w 705023"/>
                <a:gd name="connsiteY3" fmla="*/ 254763 h 1004570"/>
                <a:gd name="connsiteX4" fmla="*/ 528429 w 705023"/>
                <a:gd name="connsiteY4" fmla="*/ 256721 h 1004570"/>
                <a:gd name="connsiteX5" fmla="*/ 703715 w 705023"/>
                <a:gd name="connsiteY5" fmla="*/ 118091 h 1004570"/>
                <a:gd name="connsiteX6" fmla="*/ 705023 w 705023"/>
                <a:gd name="connsiteY6" fmla="*/ 523292 h 1004570"/>
                <a:gd name="connsiteX7" fmla="*/ 699965 w 705023"/>
                <a:gd name="connsiteY7" fmla="*/ 528110 h 1004570"/>
                <a:gd name="connsiteX8" fmla="*/ 698017 w 705023"/>
                <a:gd name="connsiteY8" fmla="*/ 572669 h 1004570"/>
                <a:gd name="connsiteX9" fmla="*/ 452663 w 705023"/>
                <a:gd name="connsiteY9" fmla="*/ 869790 h 1004570"/>
                <a:gd name="connsiteX10" fmla="*/ 15678 w 705023"/>
                <a:gd name="connsiteY10" fmla="*/ 1004570 h 1004570"/>
                <a:gd name="connsiteX11" fmla="*/ 19801 w 705023"/>
                <a:gd name="connsiteY11" fmla="*/ 1000717 h 1004570"/>
                <a:gd name="connsiteX12" fmla="*/ 17283 w 705023"/>
                <a:gd name="connsiteY12" fmla="*/ 1001691 h 1004570"/>
                <a:gd name="connsiteX13" fmla="*/ 17283 w 705023"/>
                <a:gd name="connsiteY13" fmla="*/ 752778 h 1004570"/>
                <a:gd name="connsiteX14" fmla="*/ 1 w 705023"/>
                <a:gd name="connsiteY14" fmla="*/ 734356 h 1004570"/>
                <a:gd name="connsiteX15" fmla="*/ 533 w 705023"/>
                <a:gd name="connsiteY15" fmla="*/ 734192 h 1004570"/>
                <a:gd name="connsiteX16" fmla="*/ 0 w 705023"/>
                <a:gd name="connsiteY16" fmla="*/ 733612 h 1004570"/>
                <a:gd name="connsiteX17" fmla="*/ 0 w 705023"/>
                <a:gd name="connsiteY17" fmla="*/ 351397 h 1004570"/>
                <a:gd name="connsiteX18" fmla="*/ 155779 w 705023"/>
                <a:gd name="connsiteY18" fmla="*/ 369691 h 1004570"/>
                <a:gd name="connsiteX19" fmla="*/ 165751 w 705023"/>
                <a:gd name="connsiteY19" fmla="*/ 466336 h 1004570"/>
                <a:gd name="connsiteX20" fmla="*/ 170699 w 705023"/>
                <a:gd name="connsiteY20" fmla="*/ 520432 h 1004570"/>
                <a:gd name="connsiteX21" fmla="*/ 239767 w 705023"/>
                <a:gd name="connsiteY21" fmla="*/ 475597 h 1004570"/>
                <a:gd name="connsiteX22" fmla="*/ 233619 w 705023"/>
                <a:gd name="connsiteY22" fmla="*/ 456802 h 1004570"/>
                <a:gd name="connsiteX23" fmla="*/ 171791 w 705023"/>
                <a:gd name="connsiteY23" fmla="*/ 383012 h 1004570"/>
                <a:gd name="connsiteX24" fmla="*/ 217501 w 705023"/>
                <a:gd name="connsiteY24" fmla="*/ 340047 h 1004570"/>
                <a:gd name="connsiteX25" fmla="*/ 172819 w 705023"/>
                <a:gd name="connsiteY25" fmla="*/ 350743 h 100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05023" h="1004570">
                  <a:moveTo>
                    <a:pt x="172819" y="0"/>
                  </a:moveTo>
                  <a:cubicBezTo>
                    <a:pt x="172819" y="0"/>
                    <a:pt x="376309" y="79833"/>
                    <a:pt x="380861" y="85723"/>
                  </a:cubicBezTo>
                  <a:cubicBezTo>
                    <a:pt x="383461" y="88341"/>
                    <a:pt x="388173" y="141017"/>
                    <a:pt x="392237" y="193040"/>
                  </a:cubicBezTo>
                  <a:lnTo>
                    <a:pt x="396799" y="254763"/>
                  </a:lnTo>
                  <a:lnTo>
                    <a:pt x="528429" y="256721"/>
                  </a:lnTo>
                  <a:lnTo>
                    <a:pt x="703715" y="118091"/>
                  </a:lnTo>
                  <a:lnTo>
                    <a:pt x="705023" y="523292"/>
                  </a:lnTo>
                  <a:lnTo>
                    <a:pt x="699965" y="528110"/>
                  </a:lnTo>
                  <a:lnTo>
                    <a:pt x="698017" y="572669"/>
                  </a:lnTo>
                  <a:cubicBezTo>
                    <a:pt x="677849" y="681033"/>
                    <a:pt x="596039" y="786371"/>
                    <a:pt x="452663" y="869790"/>
                  </a:cubicBezTo>
                  <a:cubicBezTo>
                    <a:pt x="328555" y="941105"/>
                    <a:pt x="175709" y="985596"/>
                    <a:pt x="15678" y="1004570"/>
                  </a:cubicBezTo>
                  <a:lnTo>
                    <a:pt x="19801" y="1000717"/>
                  </a:lnTo>
                  <a:lnTo>
                    <a:pt x="17283" y="1001691"/>
                  </a:lnTo>
                  <a:lnTo>
                    <a:pt x="17283" y="752778"/>
                  </a:lnTo>
                  <a:lnTo>
                    <a:pt x="1" y="734356"/>
                  </a:lnTo>
                  <a:lnTo>
                    <a:pt x="533" y="734192"/>
                  </a:lnTo>
                  <a:lnTo>
                    <a:pt x="0" y="733612"/>
                  </a:lnTo>
                  <a:lnTo>
                    <a:pt x="0" y="351397"/>
                  </a:lnTo>
                  <a:cubicBezTo>
                    <a:pt x="0" y="351397"/>
                    <a:pt x="153183" y="363811"/>
                    <a:pt x="155779" y="369691"/>
                  </a:cubicBezTo>
                  <a:cubicBezTo>
                    <a:pt x="156753" y="371896"/>
                    <a:pt x="160921" y="414252"/>
                    <a:pt x="165751" y="466336"/>
                  </a:cubicBezTo>
                  <a:lnTo>
                    <a:pt x="170699" y="520432"/>
                  </a:lnTo>
                  <a:lnTo>
                    <a:pt x="239767" y="475597"/>
                  </a:lnTo>
                  <a:lnTo>
                    <a:pt x="233619" y="456802"/>
                  </a:lnTo>
                  <a:cubicBezTo>
                    <a:pt x="220985" y="430774"/>
                    <a:pt x="200369" y="405748"/>
                    <a:pt x="171791" y="383012"/>
                  </a:cubicBezTo>
                  <a:lnTo>
                    <a:pt x="217501" y="340047"/>
                  </a:lnTo>
                  <a:lnTo>
                    <a:pt x="172819" y="3507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2" name="Freeform 493">
              <a:extLst>
                <a:ext uri="{FF2B5EF4-FFF2-40B4-BE49-F238E27FC236}">
                  <a16:creationId xmlns:a16="http://schemas.microsoft.com/office/drawing/2014/main" id="{B7259202-44D5-DF46-8421-3BA7987AA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2" y="9614450"/>
              <a:ext cx="780563" cy="751760"/>
            </a:xfrm>
            <a:custGeom>
              <a:avLst/>
              <a:gdLst>
                <a:gd name="T0" fmla="*/ 474 w 1195"/>
                <a:gd name="T1" fmla="*/ 0 h 1149"/>
                <a:gd name="T2" fmla="*/ 263 w 1195"/>
                <a:gd name="T3" fmla="*/ 198 h 1149"/>
                <a:gd name="T4" fmla="*/ 263 w 1195"/>
                <a:gd name="T5" fmla="*/ 198 h 1149"/>
                <a:gd name="T6" fmla="*/ 201 w 1195"/>
                <a:gd name="T7" fmla="*/ 657 h 1149"/>
                <a:gd name="T8" fmla="*/ 201 w 1195"/>
                <a:gd name="T9" fmla="*/ 657 h 1149"/>
                <a:gd name="T10" fmla="*/ 0 w 1195"/>
                <a:gd name="T11" fmla="*/ 734 h 1149"/>
                <a:gd name="T12" fmla="*/ 218 w 1195"/>
                <a:gd name="T13" fmla="*/ 966 h 1149"/>
                <a:gd name="T14" fmla="*/ 24 w 1195"/>
                <a:gd name="T15" fmla="*/ 1148 h 1149"/>
                <a:gd name="T16" fmla="*/ 24 w 1195"/>
                <a:gd name="T17" fmla="*/ 1148 h 1149"/>
                <a:gd name="T18" fmla="*/ 693 w 1195"/>
                <a:gd name="T19" fmla="*/ 941 h 1149"/>
                <a:gd name="T20" fmla="*/ 693 w 1195"/>
                <a:gd name="T21" fmla="*/ 941 h 1149"/>
                <a:gd name="T22" fmla="*/ 878 w 1195"/>
                <a:gd name="T23" fmla="*/ 6 h 1149"/>
                <a:gd name="T24" fmla="*/ 474 w 1195"/>
                <a:gd name="T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5" h="1149">
                  <a:moveTo>
                    <a:pt x="474" y="0"/>
                  </a:moveTo>
                  <a:lnTo>
                    <a:pt x="263" y="198"/>
                  </a:lnTo>
                  <a:lnTo>
                    <a:pt x="263" y="198"/>
                  </a:lnTo>
                  <a:cubicBezTo>
                    <a:pt x="438" y="336"/>
                    <a:pt x="418" y="532"/>
                    <a:pt x="201" y="657"/>
                  </a:cubicBezTo>
                  <a:lnTo>
                    <a:pt x="201" y="657"/>
                  </a:lnTo>
                  <a:cubicBezTo>
                    <a:pt x="142" y="691"/>
                    <a:pt x="73" y="717"/>
                    <a:pt x="0" y="734"/>
                  </a:cubicBezTo>
                  <a:lnTo>
                    <a:pt x="218" y="966"/>
                  </a:lnTo>
                  <a:lnTo>
                    <a:pt x="24" y="1148"/>
                  </a:lnTo>
                  <a:lnTo>
                    <a:pt x="24" y="1148"/>
                  </a:lnTo>
                  <a:cubicBezTo>
                    <a:pt x="269" y="1120"/>
                    <a:pt x="503" y="1050"/>
                    <a:pt x="693" y="941"/>
                  </a:cubicBezTo>
                  <a:lnTo>
                    <a:pt x="693" y="941"/>
                  </a:lnTo>
                  <a:cubicBezTo>
                    <a:pt x="1132" y="687"/>
                    <a:pt x="1194" y="297"/>
                    <a:pt x="878" y="6"/>
                  </a:cubicBezTo>
                  <a:lnTo>
                    <a:pt x="474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3" name="Freeform 582">
              <a:extLst>
                <a:ext uri="{FF2B5EF4-FFF2-40B4-BE49-F238E27FC236}">
                  <a16:creationId xmlns:a16="http://schemas.microsoft.com/office/drawing/2014/main" id="{121E4B50-5769-3141-B73D-C3FC7FFC81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9885198"/>
              <a:ext cx="1024735" cy="872080"/>
            </a:xfrm>
            <a:custGeom>
              <a:avLst/>
              <a:gdLst>
                <a:gd name="connsiteX0" fmla="*/ 0 w 1024735"/>
                <a:gd name="connsiteY0" fmla="*/ 0 h 872080"/>
                <a:gd name="connsiteX1" fmla="*/ 129537 w 1024735"/>
                <a:gd name="connsiteY1" fmla="*/ 52259 h 872080"/>
                <a:gd name="connsiteX2" fmla="*/ 886479 w 1024735"/>
                <a:gd name="connsiteY2" fmla="*/ 490586 h 872080"/>
                <a:gd name="connsiteX3" fmla="*/ 886479 w 1024735"/>
                <a:gd name="connsiteY3" fmla="*/ 607894 h 872080"/>
                <a:gd name="connsiteX4" fmla="*/ 899277 w 1024735"/>
                <a:gd name="connsiteY4" fmla="*/ 607967 h 872080"/>
                <a:gd name="connsiteX5" fmla="*/ 1024735 w 1024735"/>
                <a:gd name="connsiteY5" fmla="*/ 740484 h 872080"/>
                <a:gd name="connsiteX6" fmla="*/ 886862 w 1024735"/>
                <a:gd name="connsiteY6" fmla="*/ 870390 h 872080"/>
                <a:gd name="connsiteX7" fmla="*/ 886479 w 1024735"/>
                <a:gd name="connsiteY7" fmla="*/ 870376 h 872080"/>
                <a:gd name="connsiteX8" fmla="*/ 886479 w 1024735"/>
                <a:gd name="connsiteY8" fmla="*/ 872080 h 872080"/>
                <a:gd name="connsiteX9" fmla="*/ 883173 w 1024735"/>
                <a:gd name="connsiteY9" fmla="*/ 870250 h 872080"/>
                <a:gd name="connsiteX10" fmla="*/ 715675 w 1024735"/>
                <a:gd name="connsiteY10" fmla="*/ 863913 h 872080"/>
                <a:gd name="connsiteX11" fmla="*/ 251732 w 1024735"/>
                <a:gd name="connsiteY11" fmla="*/ 726123 h 872080"/>
                <a:gd name="connsiteX12" fmla="*/ 4267 w 1024735"/>
                <a:gd name="connsiteY12" fmla="*/ 418979 h 872080"/>
                <a:gd name="connsiteX13" fmla="*/ 3201 w 1024735"/>
                <a:gd name="connsiteY13" fmla="*/ 383266 h 872080"/>
                <a:gd name="connsiteX14" fmla="*/ 0 w 1024735"/>
                <a:gd name="connsiteY14" fmla="*/ 381494 h 87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24735" h="872080">
                  <a:moveTo>
                    <a:pt x="0" y="0"/>
                  </a:moveTo>
                  <a:lnTo>
                    <a:pt x="129537" y="52259"/>
                  </a:lnTo>
                  <a:lnTo>
                    <a:pt x="886479" y="490586"/>
                  </a:lnTo>
                  <a:lnTo>
                    <a:pt x="886479" y="607894"/>
                  </a:lnTo>
                  <a:lnTo>
                    <a:pt x="899277" y="607967"/>
                  </a:lnTo>
                  <a:lnTo>
                    <a:pt x="1024735" y="740484"/>
                  </a:lnTo>
                  <a:lnTo>
                    <a:pt x="886862" y="870390"/>
                  </a:lnTo>
                  <a:lnTo>
                    <a:pt x="886479" y="870376"/>
                  </a:lnTo>
                  <a:lnTo>
                    <a:pt x="886479" y="872080"/>
                  </a:lnTo>
                  <a:lnTo>
                    <a:pt x="883173" y="870250"/>
                  </a:lnTo>
                  <a:lnTo>
                    <a:pt x="715675" y="863913"/>
                  </a:lnTo>
                  <a:cubicBezTo>
                    <a:pt x="545774" y="847542"/>
                    <a:pt x="382581" y="801521"/>
                    <a:pt x="251732" y="726123"/>
                  </a:cubicBezTo>
                  <a:cubicBezTo>
                    <a:pt x="103486" y="640444"/>
                    <a:pt x="20838" y="531050"/>
                    <a:pt x="4267" y="418979"/>
                  </a:cubicBezTo>
                  <a:lnTo>
                    <a:pt x="3201" y="383266"/>
                  </a:lnTo>
                  <a:lnTo>
                    <a:pt x="0" y="3814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4" name="Freeform 496">
              <a:extLst>
                <a:ext uri="{FF2B5EF4-FFF2-40B4-BE49-F238E27FC236}">
                  <a16:creationId xmlns:a16="http://schemas.microsoft.com/office/drawing/2014/main" id="{80A37F5B-18C8-EB44-90B0-0092BDC30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9929" y="10245238"/>
              <a:ext cx="138255" cy="512694"/>
            </a:xfrm>
            <a:custGeom>
              <a:avLst/>
              <a:gdLst>
                <a:gd name="T0" fmla="*/ 211 w 212"/>
                <a:gd name="T1" fmla="*/ 0 h 784"/>
                <a:gd name="T2" fmla="*/ 211 w 212"/>
                <a:gd name="T3" fmla="*/ 584 h 784"/>
                <a:gd name="T4" fmla="*/ 0 w 212"/>
                <a:gd name="T5" fmla="*/ 783 h 784"/>
                <a:gd name="T6" fmla="*/ 0 w 212"/>
                <a:gd name="T7" fmla="*/ 199 h 784"/>
                <a:gd name="T8" fmla="*/ 211 w 212"/>
                <a:gd name="T9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84">
                  <a:moveTo>
                    <a:pt x="211" y="0"/>
                  </a:moveTo>
                  <a:lnTo>
                    <a:pt x="211" y="584"/>
                  </a:lnTo>
                  <a:lnTo>
                    <a:pt x="0" y="783"/>
                  </a:lnTo>
                  <a:lnTo>
                    <a:pt x="0" y="199"/>
                  </a:lnTo>
                  <a:lnTo>
                    <a:pt x="211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5" name="Freeform 497">
              <a:extLst>
                <a:ext uri="{FF2B5EF4-FFF2-40B4-BE49-F238E27FC236}">
                  <a16:creationId xmlns:a16="http://schemas.microsoft.com/office/drawing/2014/main" id="{C560D082-D24F-6C43-9AA0-EA39511EC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0951" y="9723902"/>
              <a:ext cx="1080112" cy="656709"/>
            </a:xfrm>
            <a:custGeom>
              <a:avLst/>
              <a:gdLst>
                <a:gd name="T0" fmla="*/ 1652 w 1653"/>
                <a:gd name="T1" fmla="*/ 798 h 1005"/>
                <a:gd name="T2" fmla="*/ 1460 w 1653"/>
                <a:gd name="T3" fmla="*/ 594 h 1005"/>
                <a:gd name="T4" fmla="*/ 1460 w 1653"/>
                <a:gd name="T5" fmla="*/ 594 h 1005"/>
                <a:gd name="T6" fmla="*/ 961 w 1653"/>
                <a:gd name="T7" fmla="*/ 492 h 1005"/>
                <a:gd name="T8" fmla="*/ 961 w 1653"/>
                <a:gd name="T9" fmla="*/ 492 h 1005"/>
                <a:gd name="T10" fmla="*/ 786 w 1653"/>
                <a:gd name="T11" fmla="*/ 193 h 1005"/>
                <a:gd name="T12" fmla="*/ 330 w 1653"/>
                <a:gd name="T13" fmla="*/ 187 h 1005"/>
                <a:gd name="T14" fmla="*/ 154 w 1653"/>
                <a:gd name="T15" fmla="*/ 0 h 1005"/>
                <a:gd name="T16" fmla="*/ 154 w 1653"/>
                <a:gd name="T17" fmla="*/ 0 h 1005"/>
                <a:gd name="T18" fmla="*/ 469 w 1653"/>
                <a:gd name="T19" fmla="*/ 776 h 1005"/>
                <a:gd name="T20" fmla="*/ 469 w 1653"/>
                <a:gd name="T21" fmla="*/ 776 h 1005"/>
                <a:gd name="T22" fmla="*/ 1441 w 1653"/>
                <a:gd name="T23" fmla="*/ 997 h 1005"/>
                <a:gd name="T24" fmla="*/ 1652 w 1653"/>
                <a:gd name="T25" fmla="*/ 79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53" h="1005">
                  <a:moveTo>
                    <a:pt x="1652" y="798"/>
                  </a:moveTo>
                  <a:lnTo>
                    <a:pt x="1460" y="594"/>
                  </a:lnTo>
                  <a:lnTo>
                    <a:pt x="1460" y="594"/>
                  </a:lnTo>
                  <a:cubicBezTo>
                    <a:pt x="1282" y="605"/>
                    <a:pt x="1098" y="571"/>
                    <a:pt x="961" y="492"/>
                  </a:cubicBezTo>
                  <a:lnTo>
                    <a:pt x="961" y="492"/>
                  </a:lnTo>
                  <a:cubicBezTo>
                    <a:pt x="820" y="411"/>
                    <a:pt x="762" y="300"/>
                    <a:pt x="786" y="193"/>
                  </a:cubicBezTo>
                  <a:lnTo>
                    <a:pt x="330" y="187"/>
                  </a:lnTo>
                  <a:lnTo>
                    <a:pt x="154" y="0"/>
                  </a:lnTo>
                  <a:lnTo>
                    <a:pt x="154" y="0"/>
                  </a:lnTo>
                  <a:cubicBezTo>
                    <a:pt x="0" y="263"/>
                    <a:pt x="106" y="566"/>
                    <a:pt x="469" y="776"/>
                  </a:cubicBezTo>
                  <a:lnTo>
                    <a:pt x="469" y="776"/>
                  </a:lnTo>
                  <a:cubicBezTo>
                    <a:pt x="736" y="930"/>
                    <a:pt x="1091" y="1004"/>
                    <a:pt x="1441" y="997"/>
                  </a:cubicBezTo>
                  <a:lnTo>
                    <a:pt x="1652" y="798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6" name="Freeform 498">
              <a:extLst>
                <a:ext uri="{FF2B5EF4-FFF2-40B4-BE49-F238E27FC236}">
                  <a16:creationId xmlns:a16="http://schemas.microsoft.com/office/drawing/2014/main" id="{038E1D27-F9C0-CB4A-BE45-0A405CB4F1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0070" y="4380943"/>
              <a:ext cx="829527" cy="1085873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2 h 1664"/>
                <a:gd name="T4" fmla="*/ 154 w 1272"/>
                <a:gd name="T5" fmla="*/ 12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4 h 1664"/>
                <a:gd name="T20" fmla="*/ 70 w 1272"/>
                <a:gd name="T21" fmla="*/ 844 h 1664"/>
                <a:gd name="T22" fmla="*/ 154 w 1272"/>
                <a:gd name="T23" fmla="*/ 1003 h 1664"/>
                <a:gd name="T24" fmla="*/ 1142 w 1272"/>
                <a:gd name="T25" fmla="*/ 1574 h 1664"/>
                <a:gd name="T26" fmla="*/ 1142 w 1272"/>
                <a:gd name="T27" fmla="*/ 1663 h 1664"/>
                <a:gd name="T28" fmla="*/ 1244 w 1272"/>
                <a:gd name="T29" fmla="*/ 1604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1"/>
                    <a:pt x="114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4" y="82"/>
                    <a:pt x="70" y="91"/>
                  </a:cubicBezTo>
                  <a:lnTo>
                    <a:pt x="70" y="844"/>
                  </a:lnTo>
                  <a:lnTo>
                    <a:pt x="70" y="844"/>
                  </a:lnTo>
                  <a:cubicBezTo>
                    <a:pt x="70" y="906"/>
                    <a:pt x="107" y="977"/>
                    <a:pt x="154" y="1003"/>
                  </a:cubicBezTo>
                  <a:lnTo>
                    <a:pt x="1142" y="1574"/>
                  </a:lnTo>
                  <a:lnTo>
                    <a:pt x="1142" y="1663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3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7" name="Freeform 499">
              <a:extLst>
                <a:ext uri="{FF2B5EF4-FFF2-40B4-BE49-F238E27FC236}">
                  <a16:creationId xmlns:a16="http://schemas.microsoft.com/office/drawing/2014/main" id="{EE96AF4B-608F-934F-AB45-E3E8FDE7E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9907" y="4409745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4 w 1202"/>
                <a:gd name="T3" fmla="*/ 1018 h 1642"/>
                <a:gd name="T4" fmla="*/ 84 w 1202"/>
                <a:gd name="T5" fmla="*/ 1018 h 1642"/>
                <a:gd name="T6" fmla="*/ 0 w 1202"/>
                <a:gd name="T7" fmla="*/ 858 h 1642"/>
                <a:gd name="T8" fmla="*/ 0 w 1202"/>
                <a:gd name="T9" fmla="*/ 89 h 1642"/>
                <a:gd name="T10" fmla="*/ 0 w 1202"/>
                <a:gd name="T11" fmla="*/ 89 h 1642"/>
                <a:gd name="T12" fmla="*/ 84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1 h 1642"/>
                <a:gd name="T22" fmla="*/ 1201 w 1202"/>
                <a:gd name="T23" fmla="*/ 1551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4" y="1018"/>
                  </a:lnTo>
                  <a:lnTo>
                    <a:pt x="84" y="1018"/>
                  </a:lnTo>
                  <a:cubicBezTo>
                    <a:pt x="37" y="991"/>
                    <a:pt x="0" y="919"/>
                    <a:pt x="0" y="858"/>
                  </a:cubicBezTo>
                  <a:lnTo>
                    <a:pt x="0" y="89"/>
                  </a:lnTo>
                  <a:lnTo>
                    <a:pt x="0" y="89"/>
                  </a:lnTo>
                  <a:cubicBezTo>
                    <a:pt x="0" y="28"/>
                    <a:pt x="37" y="0"/>
                    <a:pt x="84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0"/>
                    <a:pt x="1201" y="722"/>
                    <a:pt x="1201" y="783"/>
                  </a:cubicBezTo>
                  <a:lnTo>
                    <a:pt x="1201" y="1551"/>
                  </a:lnTo>
                  <a:lnTo>
                    <a:pt x="1201" y="1551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8" name="Freeform 587">
              <a:extLst>
                <a:ext uri="{FF2B5EF4-FFF2-40B4-BE49-F238E27FC236}">
                  <a16:creationId xmlns:a16="http://schemas.microsoft.com/office/drawing/2014/main" id="{037F0360-CC23-2A43-AB7B-B647C5756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0007" y="4815723"/>
              <a:ext cx="368025" cy="279257"/>
            </a:xfrm>
            <a:custGeom>
              <a:avLst/>
              <a:gdLst>
                <a:gd name="connsiteX0" fmla="*/ 304362 w 368025"/>
                <a:gd name="connsiteY0" fmla="*/ 161446 h 279257"/>
                <a:gd name="connsiteX1" fmla="*/ 322267 w 368025"/>
                <a:gd name="connsiteY1" fmla="*/ 167843 h 279257"/>
                <a:gd name="connsiteX2" fmla="*/ 368025 w 368025"/>
                <a:gd name="connsiteY2" fmla="*/ 246320 h 279257"/>
                <a:gd name="connsiteX3" fmla="*/ 322267 w 368025"/>
                <a:gd name="connsiteY3" fmla="*/ 273133 h 279257"/>
                <a:gd name="connsiteX4" fmla="*/ 276509 w 368025"/>
                <a:gd name="connsiteY4" fmla="*/ 194002 h 279257"/>
                <a:gd name="connsiteX5" fmla="*/ 304362 w 368025"/>
                <a:gd name="connsiteY5" fmla="*/ 161446 h 279257"/>
                <a:gd name="connsiteX6" fmla="*/ 166107 w 368025"/>
                <a:gd name="connsiteY6" fmla="*/ 80521 h 279257"/>
                <a:gd name="connsiteX7" fmla="*/ 184012 w 368025"/>
                <a:gd name="connsiteY7" fmla="*/ 86539 h 279257"/>
                <a:gd name="connsiteX8" fmla="*/ 229770 w 368025"/>
                <a:gd name="connsiteY8" fmla="*/ 165671 h 279257"/>
                <a:gd name="connsiteX9" fmla="*/ 184012 w 368025"/>
                <a:gd name="connsiteY9" fmla="*/ 192484 h 279257"/>
                <a:gd name="connsiteX10" fmla="*/ 138254 w 368025"/>
                <a:gd name="connsiteY10" fmla="*/ 113352 h 279257"/>
                <a:gd name="connsiteX11" fmla="*/ 166107 w 368025"/>
                <a:gd name="connsiteY11" fmla="*/ 80521 h 279257"/>
                <a:gd name="connsiteX12" fmla="*/ 27853 w 368025"/>
                <a:gd name="connsiteY12" fmla="*/ 149 h 279257"/>
                <a:gd name="connsiteX13" fmla="*/ 45758 w 368025"/>
                <a:gd name="connsiteY13" fmla="*/ 6545 h 279257"/>
                <a:gd name="connsiteX14" fmla="*/ 91516 w 368025"/>
                <a:gd name="connsiteY14" fmla="*/ 85022 h 279257"/>
                <a:gd name="connsiteX15" fmla="*/ 45758 w 368025"/>
                <a:gd name="connsiteY15" fmla="*/ 111835 h 279257"/>
                <a:gd name="connsiteX16" fmla="*/ 0 w 368025"/>
                <a:gd name="connsiteY16" fmla="*/ 32704 h 279257"/>
                <a:gd name="connsiteX17" fmla="*/ 27853 w 368025"/>
                <a:gd name="connsiteY17" fmla="*/ 149 h 27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57">
                  <a:moveTo>
                    <a:pt x="304362" y="161446"/>
                  </a:moveTo>
                  <a:cubicBezTo>
                    <a:pt x="309847" y="161998"/>
                    <a:pt x="315893" y="164082"/>
                    <a:pt x="322267" y="167843"/>
                  </a:cubicBezTo>
                  <a:cubicBezTo>
                    <a:pt x="347761" y="182230"/>
                    <a:pt x="368025" y="217545"/>
                    <a:pt x="368025" y="246320"/>
                  </a:cubicBezTo>
                  <a:cubicBezTo>
                    <a:pt x="368025" y="275749"/>
                    <a:pt x="347761" y="287520"/>
                    <a:pt x="322267" y="273133"/>
                  </a:cubicBezTo>
                  <a:cubicBezTo>
                    <a:pt x="296773" y="258745"/>
                    <a:pt x="276509" y="222777"/>
                    <a:pt x="276509" y="194002"/>
                  </a:cubicBezTo>
                  <a:cubicBezTo>
                    <a:pt x="276509" y="171930"/>
                    <a:pt x="287908" y="159791"/>
                    <a:pt x="304362" y="161446"/>
                  </a:cubicBezTo>
                  <a:close/>
                  <a:moveTo>
                    <a:pt x="166107" y="80521"/>
                  </a:moveTo>
                  <a:cubicBezTo>
                    <a:pt x="171592" y="80980"/>
                    <a:pt x="177639" y="82942"/>
                    <a:pt x="184012" y="86539"/>
                  </a:cubicBezTo>
                  <a:cubicBezTo>
                    <a:pt x="209506" y="101581"/>
                    <a:pt x="229770" y="136895"/>
                    <a:pt x="229770" y="165671"/>
                  </a:cubicBezTo>
                  <a:cubicBezTo>
                    <a:pt x="229770" y="195100"/>
                    <a:pt x="209506" y="206871"/>
                    <a:pt x="184012" y="192484"/>
                  </a:cubicBezTo>
                  <a:cubicBezTo>
                    <a:pt x="158518" y="177442"/>
                    <a:pt x="138254" y="142127"/>
                    <a:pt x="138254" y="113352"/>
                  </a:cubicBezTo>
                  <a:cubicBezTo>
                    <a:pt x="138254" y="91281"/>
                    <a:pt x="149653" y="79141"/>
                    <a:pt x="166107" y="80521"/>
                  </a:cubicBezTo>
                  <a:close/>
                  <a:moveTo>
                    <a:pt x="27853" y="149"/>
                  </a:moveTo>
                  <a:cubicBezTo>
                    <a:pt x="33338" y="700"/>
                    <a:pt x="39385" y="2785"/>
                    <a:pt x="45758" y="6545"/>
                  </a:cubicBezTo>
                  <a:cubicBezTo>
                    <a:pt x="71252" y="20933"/>
                    <a:pt x="91516" y="56247"/>
                    <a:pt x="91516" y="85022"/>
                  </a:cubicBezTo>
                  <a:cubicBezTo>
                    <a:pt x="91516" y="114451"/>
                    <a:pt x="71252" y="126223"/>
                    <a:pt x="45758" y="111835"/>
                  </a:cubicBezTo>
                  <a:cubicBezTo>
                    <a:pt x="20264" y="96794"/>
                    <a:pt x="0" y="61479"/>
                    <a:pt x="0" y="32704"/>
                  </a:cubicBezTo>
                  <a:cubicBezTo>
                    <a:pt x="0" y="10633"/>
                    <a:pt x="11399" y="-1507"/>
                    <a:pt x="27853" y="1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9" name="Freeform 503">
              <a:extLst>
                <a:ext uri="{FF2B5EF4-FFF2-40B4-BE49-F238E27FC236}">
                  <a16:creationId xmlns:a16="http://schemas.microsoft.com/office/drawing/2014/main" id="{FED14815-6F60-5043-82DA-08753B401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4110" y="3750155"/>
              <a:ext cx="829527" cy="1085875"/>
            </a:xfrm>
            <a:custGeom>
              <a:avLst/>
              <a:gdLst>
                <a:gd name="T0" fmla="*/ 1189 w 1272"/>
                <a:gd name="T1" fmla="*/ 609 h 1663"/>
                <a:gd name="T2" fmla="*/ 154 w 1272"/>
                <a:gd name="T3" fmla="*/ 12 h 1663"/>
                <a:gd name="T4" fmla="*/ 154 w 1272"/>
                <a:gd name="T5" fmla="*/ 12 h 1663"/>
                <a:gd name="T6" fmla="*/ 100 w 1272"/>
                <a:gd name="T7" fmla="*/ 8 h 1663"/>
                <a:gd name="T8" fmla="*/ 100 w 1272"/>
                <a:gd name="T9" fmla="*/ 8 h 1663"/>
                <a:gd name="T10" fmla="*/ 100 w 1272"/>
                <a:gd name="T11" fmla="*/ 7 h 1663"/>
                <a:gd name="T12" fmla="*/ 0 w 1272"/>
                <a:gd name="T13" fmla="*/ 66 h 1663"/>
                <a:gd name="T14" fmla="*/ 0 w 1272"/>
                <a:gd name="T15" fmla="*/ 66 h 1663"/>
                <a:gd name="T16" fmla="*/ 71 w 1272"/>
                <a:gd name="T17" fmla="*/ 91 h 1663"/>
                <a:gd name="T18" fmla="*/ 71 w 1272"/>
                <a:gd name="T19" fmla="*/ 844 h 1663"/>
                <a:gd name="T20" fmla="*/ 71 w 1272"/>
                <a:gd name="T21" fmla="*/ 844 h 1663"/>
                <a:gd name="T22" fmla="*/ 154 w 1272"/>
                <a:gd name="T23" fmla="*/ 1003 h 1663"/>
                <a:gd name="T24" fmla="*/ 1143 w 1272"/>
                <a:gd name="T25" fmla="*/ 1574 h 1663"/>
                <a:gd name="T26" fmla="*/ 1143 w 1272"/>
                <a:gd name="T27" fmla="*/ 1662 h 1663"/>
                <a:gd name="T28" fmla="*/ 1244 w 1272"/>
                <a:gd name="T29" fmla="*/ 1604 h 1663"/>
                <a:gd name="T30" fmla="*/ 1243 w 1272"/>
                <a:gd name="T31" fmla="*/ 1604 h 1663"/>
                <a:gd name="T32" fmla="*/ 1243 w 1272"/>
                <a:gd name="T33" fmla="*/ 1604 h 1663"/>
                <a:gd name="T34" fmla="*/ 1271 w 1272"/>
                <a:gd name="T35" fmla="*/ 1538 h 1663"/>
                <a:gd name="T36" fmla="*/ 1271 w 1272"/>
                <a:gd name="T37" fmla="*/ 768 h 1663"/>
                <a:gd name="T38" fmla="*/ 1271 w 1272"/>
                <a:gd name="T39" fmla="*/ 768 h 1663"/>
                <a:gd name="T40" fmla="*/ 1189 w 1272"/>
                <a:gd name="T41" fmla="*/ 609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3">
                  <a:moveTo>
                    <a:pt x="1189" y="609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0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7"/>
                  </a:lnTo>
                  <a:lnTo>
                    <a:pt x="0" y="66"/>
                  </a:lnTo>
                  <a:lnTo>
                    <a:pt x="0" y="66"/>
                  </a:lnTo>
                  <a:cubicBezTo>
                    <a:pt x="0" y="66"/>
                    <a:pt x="45" y="81"/>
                    <a:pt x="71" y="91"/>
                  </a:cubicBezTo>
                  <a:lnTo>
                    <a:pt x="71" y="844"/>
                  </a:lnTo>
                  <a:lnTo>
                    <a:pt x="71" y="844"/>
                  </a:lnTo>
                  <a:cubicBezTo>
                    <a:pt x="71" y="905"/>
                    <a:pt x="108" y="977"/>
                    <a:pt x="154" y="1003"/>
                  </a:cubicBezTo>
                  <a:lnTo>
                    <a:pt x="1143" y="1574"/>
                  </a:lnTo>
                  <a:lnTo>
                    <a:pt x="1143" y="1662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1" y="1594"/>
                    <a:pt x="1271" y="1571"/>
                    <a:pt x="1271" y="1538"/>
                  </a:cubicBezTo>
                  <a:lnTo>
                    <a:pt x="1271" y="768"/>
                  </a:lnTo>
                  <a:lnTo>
                    <a:pt x="1271" y="768"/>
                  </a:lnTo>
                  <a:cubicBezTo>
                    <a:pt x="1271" y="707"/>
                    <a:pt x="1234" y="636"/>
                    <a:pt x="1189" y="60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0" name="Freeform 504">
              <a:extLst>
                <a:ext uri="{FF2B5EF4-FFF2-40B4-BE49-F238E27FC236}">
                  <a16:creationId xmlns:a16="http://schemas.microsoft.com/office/drawing/2014/main" id="{CCF7C380-C116-E64A-8325-351A998DA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947" y="3778957"/>
              <a:ext cx="783442" cy="1074354"/>
            </a:xfrm>
            <a:custGeom>
              <a:avLst/>
              <a:gdLst>
                <a:gd name="T0" fmla="*/ 1117 w 1201"/>
                <a:gd name="T1" fmla="*/ 1615 h 1643"/>
                <a:gd name="T2" fmla="*/ 83 w 1201"/>
                <a:gd name="T3" fmla="*/ 1018 h 1643"/>
                <a:gd name="T4" fmla="*/ 83 w 1201"/>
                <a:gd name="T5" fmla="*/ 1018 h 1643"/>
                <a:gd name="T6" fmla="*/ 0 w 1201"/>
                <a:gd name="T7" fmla="*/ 859 h 1643"/>
                <a:gd name="T8" fmla="*/ 0 w 1201"/>
                <a:gd name="T9" fmla="*/ 90 h 1643"/>
                <a:gd name="T10" fmla="*/ 0 w 1201"/>
                <a:gd name="T11" fmla="*/ 90 h 1643"/>
                <a:gd name="T12" fmla="*/ 83 w 1201"/>
                <a:gd name="T13" fmla="*/ 27 h 1643"/>
                <a:gd name="T14" fmla="*/ 1117 w 1201"/>
                <a:gd name="T15" fmla="*/ 624 h 1643"/>
                <a:gd name="T16" fmla="*/ 1117 w 1201"/>
                <a:gd name="T17" fmla="*/ 624 h 1643"/>
                <a:gd name="T18" fmla="*/ 1200 w 1201"/>
                <a:gd name="T19" fmla="*/ 783 h 1643"/>
                <a:gd name="T20" fmla="*/ 1200 w 1201"/>
                <a:gd name="T21" fmla="*/ 1553 h 1643"/>
                <a:gd name="T22" fmla="*/ 1200 w 1201"/>
                <a:gd name="T23" fmla="*/ 1553 h 1643"/>
                <a:gd name="T24" fmla="*/ 1117 w 1201"/>
                <a:gd name="T25" fmla="*/ 1615 h 1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1" h="1643">
                  <a:moveTo>
                    <a:pt x="1117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7" y="992"/>
                    <a:pt x="0" y="921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9"/>
                    <a:pt x="37" y="0"/>
                    <a:pt x="83" y="27"/>
                  </a:cubicBezTo>
                  <a:lnTo>
                    <a:pt x="1117" y="624"/>
                  </a:lnTo>
                  <a:lnTo>
                    <a:pt x="1117" y="624"/>
                  </a:lnTo>
                  <a:cubicBezTo>
                    <a:pt x="1163" y="651"/>
                    <a:pt x="1200" y="722"/>
                    <a:pt x="1200" y="783"/>
                  </a:cubicBezTo>
                  <a:lnTo>
                    <a:pt x="1200" y="1553"/>
                  </a:lnTo>
                  <a:lnTo>
                    <a:pt x="1200" y="1553"/>
                  </a:lnTo>
                  <a:cubicBezTo>
                    <a:pt x="1200" y="1614"/>
                    <a:pt x="1163" y="1642"/>
                    <a:pt x="1117" y="161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1" name="Freeform 590">
              <a:extLst>
                <a:ext uri="{FF2B5EF4-FFF2-40B4-BE49-F238E27FC236}">
                  <a16:creationId xmlns:a16="http://schemas.microsoft.com/office/drawing/2014/main" id="{E66C26A3-4106-B14C-BBBE-551994C9E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4046" y="4184742"/>
              <a:ext cx="368025" cy="279220"/>
            </a:xfrm>
            <a:custGeom>
              <a:avLst/>
              <a:gdLst>
                <a:gd name="connsiteX0" fmla="*/ 304362 w 368025"/>
                <a:gd name="connsiteY0" fmla="*/ 161445 h 279220"/>
                <a:gd name="connsiteX1" fmla="*/ 322267 w 368025"/>
                <a:gd name="connsiteY1" fmla="*/ 167382 h 279220"/>
                <a:gd name="connsiteX2" fmla="*/ 368025 w 368025"/>
                <a:gd name="connsiteY2" fmla="*/ 246514 h 279220"/>
                <a:gd name="connsiteX3" fmla="*/ 322267 w 368025"/>
                <a:gd name="connsiteY3" fmla="*/ 272674 h 279220"/>
                <a:gd name="connsiteX4" fmla="*/ 276509 w 368025"/>
                <a:gd name="connsiteY4" fmla="*/ 193541 h 279220"/>
                <a:gd name="connsiteX5" fmla="*/ 304362 w 368025"/>
                <a:gd name="connsiteY5" fmla="*/ 161445 h 279220"/>
                <a:gd name="connsiteX6" fmla="*/ 166108 w 368025"/>
                <a:gd name="connsiteY6" fmla="*/ 80704 h 279220"/>
                <a:gd name="connsiteX7" fmla="*/ 184013 w 368025"/>
                <a:gd name="connsiteY7" fmla="*/ 86733 h 279220"/>
                <a:gd name="connsiteX8" fmla="*/ 229771 w 368025"/>
                <a:gd name="connsiteY8" fmla="*/ 165866 h 279220"/>
                <a:gd name="connsiteX9" fmla="*/ 184013 w 368025"/>
                <a:gd name="connsiteY9" fmla="*/ 192026 h 279220"/>
                <a:gd name="connsiteX10" fmla="*/ 138255 w 368025"/>
                <a:gd name="connsiteY10" fmla="*/ 112893 h 279220"/>
                <a:gd name="connsiteX11" fmla="*/ 166108 w 368025"/>
                <a:gd name="connsiteY11" fmla="*/ 80704 h 279220"/>
                <a:gd name="connsiteX12" fmla="*/ 27853 w 368025"/>
                <a:gd name="connsiteY12" fmla="*/ 106 h 279220"/>
                <a:gd name="connsiteX13" fmla="*/ 45758 w 368025"/>
                <a:gd name="connsiteY13" fmla="*/ 6154 h 279220"/>
                <a:gd name="connsiteX14" fmla="*/ 91516 w 368025"/>
                <a:gd name="connsiteY14" fmla="*/ 85671 h 279220"/>
                <a:gd name="connsiteX15" fmla="*/ 45758 w 368025"/>
                <a:gd name="connsiteY15" fmla="*/ 111957 h 279220"/>
                <a:gd name="connsiteX16" fmla="*/ 0 w 368025"/>
                <a:gd name="connsiteY16" fmla="*/ 33098 h 279220"/>
                <a:gd name="connsiteX17" fmla="*/ 27853 w 368025"/>
                <a:gd name="connsiteY17" fmla="*/ 106 h 2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20">
                  <a:moveTo>
                    <a:pt x="304362" y="161445"/>
                  </a:moveTo>
                  <a:cubicBezTo>
                    <a:pt x="309847" y="161864"/>
                    <a:pt x="315894" y="163785"/>
                    <a:pt x="322267" y="167382"/>
                  </a:cubicBezTo>
                  <a:cubicBezTo>
                    <a:pt x="347107" y="182424"/>
                    <a:pt x="368025" y="217739"/>
                    <a:pt x="368025" y="246514"/>
                  </a:cubicBezTo>
                  <a:cubicBezTo>
                    <a:pt x="368025" y="275944"/>
                    <a:pt x="347107" y="287715"/>
                    <a:pt x="322267" y="272674"/>
                  </a:cubicBezTo>
                  <a:cubicBezTo>
                    <a:pt x="296773" y="258286"/>
                    <a:pt x="276509" y="222971"/>
                    <a:pt x="276509" y="193541"/>
                  </a:cubicBezTo>
                  <a:cubicBezTo>
                    <a:pt x="276509" y="172450"/>
                    <a:pt x="287907" y="160188"/>
                    <a:pt x="304362" y="161445"/>
                  </a:cubicBezTo>
                  <a:close/>
                  <a:moveTo>
                    <a:pt x="166108" y="80704"/>
                  </a:moveTo>
                  <a:cubicBezTo>
                    <a:pt x="171593" y="81174"/>
                    <a:pt x="177640" y="83136"/>
                    <a:pt x="184013" y="86733"/>
                  </a:cubicBezTo>
                  <a:cubicBezTo>
                    <a:pt x="209507" y="101775"/>
                    <a:pt x="229771" y="137090"/>
                    <a:pt x="229771" y="165866"/>
                  </a:cubicBezTo>
                  <a:cubicBezTo>
                    <a:pt x="229771" y="195296"/>
                    <a:pt x="209507" y="207067"/>
                    <a:pt x="184013" y="192026"/>
                  </a:cubicBezTo>
                  <a:cubicBezTo>
                    <a:pt x="158519" y="177638"/>
                    <a:pt x="138255" y="142322"/>
                    <a:pt x="138255" y="112893"/>
                  </a:cubicBezTo>
                  <a:cubicBezTo>
                    <a:pt x="138255" y="91311"/>
                    <a:pt x="149654" y="79294"/>
                    <a:pt x="166108" y="80704"/>
                  </a:cubicBezTo>
                  <a:close/>
                  <a:moveTo>
                    <a:pt x="27853" y="106"/>
                  </a:moveTo>
                  <a:cubicBezTo>
                    <a:pt x="33338" y="569"/>
                    <a:pt x="39385" y="2540"/>
                    <a:pt x="45758" y="6154"/>
                  </a:cubicBezTo>
                  <a:cubicBezTo>
                    <a:pt x="70598" y="21269"/>
                    <a:pt x="91516" y="56756"/>
                    <a:pt x="91516" y="85671"/>
                  </a:cubicBezTo>
                  <a:cubicBezTo>
                    <a:pt x="91516" y="115243"/>
                    <a:pt x="70598" y="126415"/>
                    <a:pt x="45758" y="111957"/>
                  </a:cubicBezTo>
                  <a:cubicBezTo>
                    <a:pt x="20264" y="98157"/>
                    <a:pt x="0" y="62013"/>
                    <a:pt x="0" y="33098"/>
                  </a:cubicBezTo>
                  <a:cubicBezTo>
                    <a:pt x="0" y="10919"/>
                    <a:pt x="11399" y="-1280"/>
                    <a:pt x="27853" y="1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2" name="Freeform 508">
              <a:extLst>
                <a:ext uri="{FF2B5EF4-FFF2-40B4-BE49-F238E27FC236}">
                  <a16:creationId xmlns:a16="http://schemas.microsoft.com/office/drawing/2014/main" id="{F9880C45-6132-3346-9BA6-AEB0DA4F1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01756"/>
              <a:ext cx="829527" cy="1085875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3 h 1664"/>
                <a:gd name="T4" fmla="*/ 154 w 1272"/>
                <a:gd name="T5" fmla="*/ 13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5 h 1664"/>
                <a:gd name="T20" fmla="*/ 70 w 1272"/>
                <a:gd name="T21" fmla="*/ 845 h 1664"/>
                <a:gd name="T22" fmla="*/ 154 w 1272"/>
                <a:gd name="T23" fmla="*/ 1004 h 1664"/>
                <a:gd name="T24" fmla="*/ 1142 w 1272"/>
                <a:gd name="T25" fmla="*/ 1575 h 1664"/>
                <a:gd name="T26" fmla="*/ 1142 w 1272"/>
                <a:gd name="T27" fmla="*/ 1663 h 1664"/>
                <a:gd name="T28" fmla="*/ 1244 w 1272"/>
                <a:gd name="T29" fmla="*/ 1605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3"/>
                  </a:lnTo>
                  <a:lnTo>
                    <a:pt x="154" y="13"/>
                  </a:lnTo>
                  <a:cubicBezTo>
                    <a:pt x="133" y="1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5" y="82"/>
                    <a:pt x="70" y="91"/>
                  </a:cubicBezTo>
                  <a:lnTo>
                    <a:pt x="70" y="845"/>
                  </a:lnTo>
                  <a:lnTo>
                    <a:pt x="70" y="845"/>
                  </a:lnTo>
                  <a:cubicBezTo>
                    <a:pt x="70" y="906"/>
                    <a:pt x="108" y="978"/>
                    <a:pt x="154" y="1004"/>
                  </a:cubicBezTo>
                  <a:lnTo>
                    <a:pt x="1142" y="1575"/>
                  </a:lnTo>
                  <a:lnTo>
                    <a:pt x="1142" y="1663"/>
                  </a:lnTo>
                  <a:lnTo>
                    <a:pt x="1244" y="1605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4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3" name="Freeform 509">
              <a:extLst>
                <a:ext uri="{FF2B5EF4-FFF2-40B4-BE49-F238E27FC236}">
                  <a16:creationId xmlns:a16="http://schemas.microsoft.com/office/drawing/2014/main" id="{A28971C4-FD64-954F-9F48-5FD0FDE7E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2598" y="9545324"/>
              <a:ext cx="555899" cy="642308"/>
            </a:xfrm>
            <a:custGeom>
              <a:avLst/>
              <a:gdLst>
                <a:gd name="T0" fmla="*/ 824 w 852"/>
                <a:gd name="T1" fmla="*/ 926 h 985"/>
                <a:gd name="T2" fmla="*/ 823 w 852"/>
                <a:gd name="T3" fmla="*/ 925 h 985"/>
                <a:gd name="T4" fmla="*/ 823 w 852"/>
                <a:gd name="T5" fmla="*/ 925 h 985"/>
                <a:gd name="T6" fmla="*/ 851 w 852"/>
                <a:gd name="T7" fmla="*/ 859 h 985"/>
                <a:gd name="T8" fmla="*/ 851 w 852"/>
                <a:gd name="T9" fmla="*/ 90 h 985"/>
                <a:gd name="T10" fmla="*/ 851 w 852"/>
                <a:gd name="T11" fmla="*/ 90 h 985"/>
                <a:gd name="T12" fmla="*/ 828 w 852"/>
                <a:gd name="T13" fmla="*/ 0 h 985"/>
                <a:gd name="T14" fmla="*/ 0 w 852"/>
                <a:gd name="T15" fmla="*/ 478 h 985"/>
                <a:gd name="T16" fmla="*/ 722 w 852"/>
                <a:gd name="T17" fmla="*/ 896 h 985"/>
                <a:gd name="T18" fmla="*/ 722 w 852"/>
                <a:gd name="T19" fmla="*/ 984 h 985"/>
                <a:gd name="T20" fmla="*/ 824 w 852"/>
                <a:gd name="T21" fmla="*/ 9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985">
                  <a:moveTo>
                    <a:pt x="824" y="926"/>
                  </a:moveTo>
                  <a:lnTo>
                    <a:pt x="823" y="925"/>
                  </a:lnTo>
                  <a:lnTo>
                    <a:pt x="823" y="925"/>
                  </a:lnTo>
                  <a:cubicBezTo>
                    <a:pt x="840" y="915"/>
                    <a:pt x="851" y="892"/>
                    <a:pt x="851" y="859"/>
                  </a:cubicBezTo>
                  <a:lnTo>
                    <a:pt x="851" y="90"/>
                  </a:lnTo>
                  <a:lnTo>
                    <a:pt x="851" y="90"/>
                  </a:lnTo>
                  <a:cubicBezTo>
                    <a:pt x="851" y="60"/>
                    <a:pt x="843" y="28"/>
                    <a:pt x="828" y="0"/>
                  </a:cubicBezTo>
                  <a:lnTo>
                    <a:pt x="0" y="478"/>
                  </a:lnTo>
                  <a:lnTo>
                    <a:pt x="722" y="896"/>
                  </a:lnTo>
                  <a:lnTo>
                    <a:pt x="722" y="984"/>
                  </a:lnTo>
                  <a:lnTo>
                    <a:pt x="824" y="92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4" name="Freeform 510">
              <a:extLst>
                <a:ext uri="{FF2B5EF4-FFF2-40B4-BE49-F238E27FC236}">
                  <a16:creationId xmlns:a16="http://schemas.microsoft.com/office/drawing/2014/main" id="{D881A467-B37E-A746-9CD1-B5E83FE17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8808" y="9130560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3 w 1202"/>
                <a:gd name="T3" fmla="*/ 1018 h 1642"/>
                <a:gd name="T4" fmla="*/ 83 w 1202"/>
                <a:gd name="T5" fmla="*/ 1018 h 1642"/>
                <a:gd name="T6" fmla="*/ 0 w 1202"/>
                <a:gd name="T7" fmla="*/ 859 h 1642"/>
                <a:gd name="T8" fmla="*/ 0 w 1202"/>
                <a:gd name="T9" fmla="*/ 90 h 1642"/>
                <a:gd name="T10" fmla="*/ 0 w 1202"/>
                <a:gd name="T11" fmla="*/ 90 h 1642"/>
                <a:gd name="T12" fmla="*/ 83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2 h 1642"/>
                <a:gd name="T22" fmla="*/ 1201 w 1202"/>
                <a:gd name="T23" fmla="*/ 1552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8" y="991"/>
                    <a:pt x="0" y="920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8"/>
                    <a:pt x="38" y="0"/>
                    <a:pt x="83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1"/>
                    <a:pt x="1201" y="722"/>
                    <a:pt x="1201" y="783"/>
                  </a:cubicBezTo>
                  <a:lnTo>
                    <a:pt x="1201" y="1552"/>
                  </a:lnTo>
                  <a:lnTo>
                    <a:pt x="1201" y="1552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5" name="Freeform 594">
              <a:extLst>
                <a:ext uri="{FF2B5EF4-FFF2-40B4-BE49-F238E27FC236}">
                  <a16:creationId xmlns:a16="http://schemas.microsoft.com/office/drawing/2014/main" id="{0E7C298C-7252-F544-9E23-2F329CF91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91360" y="9473317"/>
              <a:ext cx="405731" cy="370271"/>
            </a:xfrm>
            <a:custGeom>
              <a:avLst/>
              <a:gdLst>
                <a:gd name="connsiteX0" fmla="*/ 108155 w 405731"/>
                <a:gd name="connsiteY0" fmla="*/ 0 h 370271"/>
                <a:gd name="connsiteX1" fmla="*/ 393946 w 405731"/>
                <a:gd name="connsiteY1" fmla="*/ 232304 h 370271"/>
                <a:gd name="connsiteX2" fmla="*/ 393691 w 405731"/>
                <a:gd name="connsiteY2" fmla="*/ 232618 h 370271"/>
                <a:gd name="connsiteX3" fmla="*/ 404029 w 405731"/>
                <a:gd name="connsiteY3" fmla="*/ 248812 h 370271"/>
                <a:gd name="connsiteX4" fmla="*/ 404684 w 405731"/>
                <a:gd name="connsiteY4" fmla="*/ 273126 h 370271"/>
                <a:gd name="connsiteX5" fmla="*/ 328749 w 405731"/>
                <a:gd name="connsiteY5" fmla="*/ 365923 h 370271"/>
                <a:gd name="connsiteX6" fmla="*/ 304150 w 405731"/>
                <a:gd name="connsiteY6" fmla="*/ 370171 h 370271"/>
                <a:gd name="connsiteX7" fmla="*/ 286842 w 405731"/>
                <a:gd name="connsiteY7" fmla="*/ 363852 h 370271"/>
                <a:gd name="connsiteX8" fmla="*/ 285791 w 405731"/>
                <a:gd name="connsiteY8" fmla="*/ 365143 h 370271"/>
                <a:gd name="connsiteX9" fmla="*/ 0 w 405731"/>
                <a:gd name="connsiteY9" fmla="*/ 132184 h 37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731" h="370271">
                  <a:moveTo>
                    <a:pt x="108155" y="0"/>
                  </a:moveTo>
                  <a:lnTo>
                    <a:pt x="393946" y="232304"/>
                  </a:lnTo>
                  <a:lnTo>
                    <a:pt x="393691" y="232618"/>
                  </a:lnTo>
                  <a:lnTo>
                    <a:pt x="404029" y="248812"/>
                  </a:lnTo>
                  <a:cubicBezTo>
                    <a:pt x="405993" y="255686"/>
                    <a:pt x="406321" y="263879"/>
                    <a:pt x="404684" y="273126"/>
                  </a:cubicBezTo>
                  <a:cubicBezTo>
                    <a:pt x="398793" y="310764"/>
                    <a:pt x="364098" y="352295"/>
                    <a:pt x="328749" y="365923"/>
                  </a:cubicBezTo>
                  <a:cubicBezTo>
                    <a:pt x="319748" y="369330"/>
                    <a:pt x="311443" y="370668"/>
                    <a:pt x="304150" y="370171"/>
                  </a:cubicBezTo>
                  <a:lnTo>
                    <a:pt x="286842" y="363852"/>
                  </a:lnTo>
                  <a:lnTo>
                    <a:pt x="285791" y="365143"/>
                  </a:lnTo>
                  <a:lnTo>
                    <a:pt x="0" y="13218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6" name="Freeform 514">
              <a:extLst>
                <a:ext uri="{FF2B5EF4-FFF2-40B4-BE49-F238E27FC236}">
                  <a16:creationId xmlns:a16="http://schemas.microsoft.com/office/drawing/2014/main" id="{51C13979-4CD4-BB4D-95CB-6EE05340A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7446" y="9510759"/>
              <a:ext cx="204502" cy="210263"/>
            </a:xfrm>
            <a:custGeom>
              <a:avLst/>
              <a:gdLst>
                <a:gd name="T0" fmla="*/ 165 w 313"/>
                <a:gd name="T1" fmla="*/ 0 h 324"/>
                <a:gd name="T2" fmla="*/ 312 w 313"/>
                <a:gd name="T3" fmla="*/ 121 h 324"/>
                <a:gd name="T4" fmla="*/ 312 w 313"/>
                <a:gd name="T5" fmla="*/ 121 h 324"/>
                <a:gd name="T6" fmla="*/ 148 w 313"/>
                <a:gd name="T7" fmla="*/ 323 h 324"/>
                <a:gd name="T8" fmla="*/ 0 w 313"/>
                <a:gd name="T9" fmla="*/ 202 h 324"/>
                <a:gd name="T10" fmla="*/ 0 w 313"/>
                <a:gd name="T11" fmla="*/ 202 h 324"/>
                <a:gd name="T12" fmla="*/ 165 w 313"/>
                <a:gd name="T13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324">
                  <a:moveTo>
                    <a:pt x="165" y="0"/>
                  </a:moveTo>
                  <a:lnTo>
                    <a:pt x="312" y="121"/>
                  </a:lnTo>
                  <a:lnTo>
                    <a:pt x="312" y="121"/>
                  </a:lnTo>
                  <a:cubicBezTo>
                    <a:pt x="291" y="202"/>
                    <a:pt x="223" y="285"/>
                    <a:pt x="148" y="323"/>
                  </a:cubicBezTo>
                  <a:lnTo>
                    <a:pt x="0" y="202"/>
                  </a:lnTo>
                  <a:lnTo>
                    <a:pt x="0" y="202"/>
                  </a:lnTo>
                  <a:cubicBezTo>
                    <a:pt x="22" y="121"/>
                    <a:pt x="90" y="37"/>
                    <a:pt x="16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7" name="Freeform 596">
              <a:extLst>
                <a:ext uri="{FF2B5EF4-FFF2-40B4-BE49-F238E27FC236}">
                  <a16:creationId xmlns:a16="http://schemas.microsoft.com/office/drawing/2014/main" id="{DB9A09EC-1EBB-0240-8E5B-09D9CA6B7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97662" y="9223565"/>
              <a:ext cx="503216" cy="475844"/>
            </a:xfrm>
            <a:custGeom>
              <a:avLst/>
              <a:gdLst>
                <a:gd name="connsiteX0" fmla="*/ 163485 w 503216"/>
                <a:gd name="connsiteY0" fmla="*/ 199 h 475844"/>
                <a:gd name="connsiteX1" fmla="*/ 186688 w 503216"/>
                <a:gd name="connsiteY1" fmla="*/ 7147 h 475844"/>
                <a:gd name="connsiteX2" fmla="*/ 193964 w 503216"/>
                <a:gd name="connsiteY2" fmla="*/ 14297 h 475844"/>
                <a:gd name="connsiteX3" fmla="*/ 194559 w 503216"/>
                <a:gd name="connsiteY3" fmla="*/ 13566 h 475844"/>
                <a:gd name="connsiteX4" fmla="*/ 486026 w 503216"/>
                <a:gd name="connsiteY4" fmla="*/ 251432 h 475844"/>
                <a:gd name="connsiteX5" fmla="*/ 484762 w 503216"/>
                <a:gd name="connsiteY5" fmla="*/ 252974 h 475844"/>
                <a:gd name="connsiteX6" fmla="*/ 493961 w 503216"/>
                <a:gd name="connsiteY6" fmla="*/ 261935 h 475844"/>
                <a:gd name="connsiteX7" fmla="*/ 501535 w 503216"/>
                <a:gd name="connsiteY7" fmla="*/ 317483 h 475844"/>
                <a:gd name="connsiteX8" fmla="*/ 378512 w 503216"/>
                <a:gd name="connsiteY8" fmla="*/ 468773 h 475844"/>
                <a:gd name="connsiteX9" fmla="*/ 339173 w 503216"/>
                <a:gd name="connsiteY9" fmla="*/ 475670 h 475844"/>
                <a:gd name="connsiteX10" fmla="*/ 311014 w 503216"/>
                <a:gd name="connsiteY10" fmla="*/ 464962 h 475844"/>
                <a:gd name="connsiteX11" fmla="*/ 310885 w 503216"/>
                <a:gd name="connsiteY11" fmla="*/ 465120 h 475844"/>
                <a:gd name="connsiteX12" fmla="*/ 310410 w 503216"/>
                <a:gd name="connsiteY12" fmla="*/ 464732 h 475844"/>
                <a:gd name="connsiteX13" fmla="*/ 309841 w 503216"/>
                <a:gd name="connsiteY13" fmla="*/ 464516 h 475844"/>
                <a:gd name="connsiteX14" fmla="*/ 309531 w 503216"/>
                <a:gd name="connsiteY14" fmla="*/ 464016 h 475844"/>
                <a:gd name="connsiteX15" fmla="*/ 20071 w 503216"/>
                <a:gd name="connsiteY15" fmla="*/ 227907 h 475844"/>
                <a:gd name="connsiteX16" fmla="*/ 21387 w 503216"/>
                <a:gd name="connsiteY16" fmla="*/ 226291 h 475844"/>
                <a:gd name="connsiteX17" fmla="*/ 19338 w 503216"/>
                <a:gd name="connsiteY17" fmla="*/ 225518 h 475844"/>
                <a:gd name="connsiteX18" fmla="*/ 1682 w 503216"/>
                <a:gd name="connsiteY18" fmla="*/ 158551 h 475844"/>
                <a:gd name="connsiteX19" fmla="*/ 124054 w 503216"/>
                <a:gd name="connsiteY19" fmla="*/ 6977 h 475844"/>
                <a:gd name="connsiteX20" fmla="*/ 163485 w 503216"/>
                <a:gd name="connsiteY20" fmla="*/ 199 h 47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3216" h="475844">
                  <a:moveTo>
                    <a:pt x="163485" y="199"/>
                  </a:moveTo>
                  <a:cubicBezTo>
                    <a:pt x="172219" y="873"/>
                    <a:pt x="180020" y="3246"/>
                    <a:pt x="186688" y="7147"/>
                  </a:cubicBezTo>
                  <a:lnTo>
                    <a:pt x="193964" y="14297"/>
                  </a:lnTo>
                  <a:lnTo>
                    <a:pt x="194559" y="13566"/>
                  </a:lnTo>
                  <a:lnTo>
                    <a:pt x="486026" y="251432"/>
                  </a:lnTo>
                  <a:lnTo>
                    <a:pt x="484762" y="252974"/>
                  </a:lnTo>
                  <a:lnTo>
                    <a:pt x="493961" y="261935"/>
                  </a:lnTo>
                  <a:cubicBezTo>
                    <a:pt x="502390" y="275455"/>
                    <a:pt x="505441" y="294397"/>
                    <a:pt x="501535" y="317483"/>
                  </a:cubicBezTo>
                  <a:cubicBezTo>
                    <a:pt x="491772" y="379047"/>
                    <a:pt x="436444" y="446505"/>
                    <a:pt x="378512" y="468773"/>
                  </a:cubicBezTo>
                  <a:cubicBezTo>
                    <a:pt x="364029" y="474340"/>
                    <a:pt x="350767" y="476510"/>
                    <a:pt x="339173" y="475670"/>
                  </a:cubicBezTo>
                  <a:lnTo>
                    <a:pt x="311014" y="464962"/>
                  </a:lnTo>
                  <a:lnTo>
                    <a:pt x="310885" y="465120"/>
                  </a:lnTo>
                  <a:lnTo>
                    <a:pt x="310410" y="464732"/>
                  </a:lnTo>
                  <a:lnTo>
                    <a:pt x="309841" y="464516"/>
                  </a:lnTo>
                  <a:lnTo>
                    <a:pt x="309531" y="464016"/>
                  </a:lnTo>
                  <a:lnTo>
                    <a:pt x="20071" y="227907"/>
                  </a:lnTo>
                  <a:lnTo>
                    <a:pt x="21387" y="226291"/>
                  </a:lnTo>
                  <a:lnTo>
                    <a:pt x="19338" y="225518"/>
                  </a:lnTo>
                  <a:cubicBezTo>
                    <a:pt x="3635" y="212614"/>
                    <a:pt x="-3525" y="189258"/>
                    <a:pt x="1682" y="158551"/>
                  </a:cubicBezTo>
                  <a:cubicBezTo>
                    <a:pt x="11445" y="97137"/>
                    <a:pt x="66122" y="29844"/>
                    <a:pt x="124054" y="6977"/>
                  </a:cubicBezTo>
                  <a:cubicBezTo>
                    <a:pt x="138537" y="1424"/>
                    <a:pt x="151840" y="-699"/>
                    <a:pt x="163485" y="19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8" name="Freeform 517">
              <a:extLst>
                <a:ext uri="{FF2B5EF4-FFF2-40B4-BE49-F238E27FC236}">
                  <a16:creationId xmlns:a16="http://schemas.microsoft.com/office/drawing/2014/main" id="{0746951F-9A31-3849-8257-F84AD5F2A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0775" y="9268814"/>
              <a:ext cx="129613" cy="152657"/>
            </a:xfrm>
            <a:custGeom>
              <a:avLst/>
              <a:gdLst>
                <a:gd name="T0" fmla="*/ 84 w 200"/>
                <a:gd name="T1" fmla="*/ 212 h 232"/>
                <a:gd name="T2" fmla="*/ 84 w 200"/>
                <a:gd name="T3" fmla="*/ 212 h 232"/>
                <a:gd name="T4" fmla="*/ 191 w 200"/>
                <a:gd name="T5" fmla="*/ 81 h 232"/>
                <a:gd name="T6" fmla="*/ 191 w 200"/>
                <a:gd name="T7" fmla="*/ 81 h 232"/>
                <a:gd name="T8" fmla="*/ 115 w 200"/>
                <a:gd name="T9" fmla="*/ 19 h 232"/>
                <a:gd name="T10" fmla="*/ 115 w 200"/>
                <a:gd name="T11" fmla="*/ 19 h 232"/>
                <a:gd name="T12" fmla="*/ 8 w 200"/>
                <a:gd name="T13" fmla="*/ 150 h 232"/>
                <a:gd name="T14" fmla="*/ 8 w 200"/>
                <a:gd name="T15" fmla="*/ 150 h 232"/>
                <a:gd name="T16" fmla="*/ 84 w 200"/>
                <a:gd name="T17" fmla="*/ 21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32">
                  <a:moveTo>
                    <a:pt x="84" y="212"/>
                  </a:moveTo>
                  <a:lnTo>
                    <a:pt x="84" y="212"/>
                  </a:lnTo>
                  <a:cubicBezTo>
                    <a:pt x="134" y="193"/>
                    <a:pt x="182" y="134"/>
                    <a:pt x="191" y="81"/>
                  </a:cubicBezTo>
                  <a:lnTo>
                    <a:pt x="191" y="81"/>
                  </a:lnTo>
                  <a:cubicBezTo>
                    <a:pt x="199" y="28"/>
                    <a:pt x="165" y="0"/>
                    <a:pt x="115" y="19"/>
                  </a:cubicBezTo>
                  <a:lnTo>
                    <a:pt x="115" y="19"/>
                  </a:lnTo>
                  <a:cubicBezTo>
                    <a:pt x="65" y="38"/>
                    <a:pt x="17" y="97"/>
                    <a:pt x="8" y="150"/>
                  </a:cubicBezTo>
                  <a:lnTo>
                    <a:pt x="8" y="150"/>
                  </a:lnTo>
                  <a:cubicBezTo>
                    <a:pt x="0" y="203"/>
                    <a:pt x="34" y="231"/>
                    <a:pt x="84" y="212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9" name="Freeform 519">
              <a:extLst>
                <a:ext uri="{FF2B5EF4-FFF2-40B4-BE49-F238E27FC236}">
                  <a16:creationId xmlns:a16="http://schemas.microsoft.com/office/drawing/2014/main" id="{CD528043-0A31-5B42-8B3D-51965D7AF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21321" y="8940459"/>
              <a:ext cx="2500102" cy="3390117"/>
            </a:xfrm>
            <a:custGeom>
              <a:avLst/>
              <a:gdLst>
                <a:gd name="T0" fmla="*/ 505 w 3829"/>
                <a:gd name="T1" fmla="*/ 5189 h 5190"/>
                <a:gd name="T2" fmla="*/ 505 w 3829"/>
                <a:gd name="T3" fmla="*/ 5189 h 5190"/>
                <a:gd name="T4" fmla="*/ 299 w 3829"/>
                <a:gd name="T5" fmla="*/ 5131 h 5190"/>
                <a:gd name="T6" fmla="*/ 20 w 3829"/>
                <a:gd name="T7" fmla="*/ 4965 h 5190"/>
                <a:gd name="T8" fmla="*/ 20 w 3829"/>
                <a:gd name="T9" fmla="*/ 4965 h 5190"/>
                <a:gd name="T10" fmla="*/ 9 w 3829"/>
                <a:gd name="T11" fmla="*/ 4922 h 5190"/>
                <a:gd name="T12" fmla="*/ 9 w 3829"/>
                <a:gd name="T13" fmla="*/ 4922 h 5190"/>
                <a:gd name="T14" fmla="*/ 52 w 3829"/>
                <a:gd name="T15" fmla="*/ 4911 h 5190"/>
                <a:gd name="T16" fmla="*/ 332 w 3829"/>
                <a:gd name="T17" fmla="*/ 5076 h 5190"/>
                <a:gd name="T18" fmla="*/ 332 w 3829"/>
                <a:gd name="T19" fmla="*/ 5076 h 5190"/>
                <a:gd name="T20" fmla="*/ 681 w 3829"/>
                <a:gd name="T21" fmla="*/ 5075 h 5190"/>
                <a:gd name="T22" fmla="*/ 681 w 3829"/>
                <a:gd name="T23" fmla="*/ 5075 h 5190"/>
                <a:gd name="T24" fmla="*/ 841 w 3829"/>
                <a:gd name="T25" fmla="*/ 4764 h 5190"/>
                <a:gd name="T26" fmla="*/ 835 w 3829"/>
                <a:gd name="T27" fmla="*/ 4680 h 5190"/>
                <a:gd name="T28" fmla="*/ 835 w 3829"/>
                <a:gd name="T29" fmla="*/ 4680 h 5190"/>
                <a:gd name="T30" fmla="*/ 1637 w 3829"/>
                <a:gd name="T31" fmla="*/ 453 h 5190"/>
                <a:gd name="T32" fmla="*/ 1637 w 3829"/>
                <a:gd name="T33" fmla="*/ 453 h 5190"/>
                <a:gd name="T34" fmla="*/ 2452 w 3829"/>
                <a:gd name="T35" fmla="*/ 199 h 5190"/>
                <a:gd name="T36" fmla="*/ 2452 w 3829"/>
                <a:gd name="T37" fmla="*/ 199 h 5190"/>
                <a:gd name="T38" fmla="*/ 3812 w 3829"/>
                <a:gd name="T39" fmla="*/ 589 h 5190"/>
                <a:gd name="T40" fmla="*/ 3812 w 3829"/>
                <a:gd name="T41" fmla="*/ 589 h 5190"/>
                <a:gd name="T42" fmla="*/ 3818 w 3829"/>
                <a:gd name="T43" fmla="*/ 633 h 5190"/>
                <a:gd name="T44" fmla="*/ 3818 w 3829"/>
                <a:gd name="T45" fmla="*/ 633 h 5190"/>
                <a:gd name="T46" fmla="*/ 3774 w 3829"/>
                <a:gd name="T47" fmla="*/ 640 h 5190"/>
                <a:gd name="T48" fmla="*/ 3774 w 3829"/>
                <a:gd name="T49" fmla="*/ 640 h 5190"/>
                <a:gd name="T50" fmla="*/ 2473 w 3829"/>
                <a:gd name="T51" fmla="*/ 258 h 5190"/>
                <a:gd name="T52" fmla="*/ 2473 w 3829"/>
                <a:gd name="T53" fmla="*/ 258 h 5190"/>
                <a:gd name="T54" fmla="*/ 1652 w 3829"/>
                <a:gd name="T55" fmla="*/ 514 h 5190"/>
                <a:gd name="T56" fmla="*/ 1652 w 3829"/>
                <a:gd name="T57" fmla="*/ 514 h 5190"/>
                <a:gd name="T58" fmla="*/ 898 w 3829"/>
                <a:gd name="T59" fmla="*/ 4675 h 5190"/>
                <a:gd name="T60" fmla="*/ 904 w 3829"/>
                <a:gd name="T61" fmla="*/ 4760 h 5190"/>
                <a:gd name="T62" fmla="*/ 904 w 3829"/>
                <a:gd name="T63" fmla="*/ 4760 h 5190"/>
                <a:gd name="T64" fmla="*/ 714 w 3829"/>
                <a:gd name="T65" fmla="*/ 5129 h 5190"/>
                <a:gd name="T66" fmla="*/ 714 w 3829"/>
                <a:gd name="T67" fmla="*/ 5129 h 5190"/>
                <a:gd name="T68" fmla="*/ 505 w 3829"/>
                <a:gd name="T69" fmla="*/ 5189 h 5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9" h="5190">
                  <a:moveTo>
                    <a:pt x="505" y="5189"/>
                  </a:moveTo>
                  <a:lnTo>
                    <a:pt x="505" y="5189"/>
                  </a:lnTo>
                  <a:cubicBezTo>
                    <a:pt x="435" y="5189"/>
                    <a:pt x="364" y="5169"/>
                    <a:pt x="299" y="5131"/>
                  </a:cubicBezTo>
                  <a:lnTo>
                    <a:pt x="20" y="4965"/>
                  </a:lnTo>
                  <a:lnTo>
                    <a:pt x="20" y="4965"/>
                  </a:lnTo>
                  <a:cubicBezTo>
                    <a:pt x="4" y="4956"/>
                    <a:pt x="0" y="4937"/>
                    <a:pt x="9" y="4922"/>
                  </a:cubicBezTo>
                  <a:lnTo>
                    <a:pt x="9" y="4922"/>
                  </a:lnTo>
                  <a:cubicBezTo>
                    <a:pt x="17" y="4907"/>
                    <a:pt x="37" y="4902"/>
                    <a:pt x="52" y="4911"/>
                  </a:cubicBezTo>
                  <a:lnTo>
                    <a:pt x="332" y="5076"/>
                  </a:lnTo>
                  <a:lnTo>
                    <a:pt x="332" y="5076"/>
                  </a:lnTo>
                  <a:cubicBezTo>
                    <a:pt x="441" y="5142"/>
                    <a:pt x="572" y="5142"/>
                    <a:pt x="681" y="5075"/>
                  </a:cubicBezTo>
                  <a:lnTo>
                    <a:pt x="681" y="5075"/>
                  </a:lnTo>
                  <a:cubicBezTo>
                    <a:pt x="790" y="5008"/>
                    <a:pt x="850" y="4892"/>
                    <a:pt x="841" y="4764"/>
                  </a:cubicBezTo>
                  <a:lnTo>
                    <a:pt x="835" y="4680"/>
                  </a:lnTo>
                  <a:lnTo>
                    <a:pt x="835" y="4680"/>
                  </a:lnTo>
                  <a:cubicBezTo>
                    <a:pt x="737" y="3299"/>
                    <a:pt x="554" y="730"/>
                    <a:pt x="1637" y="453"/>
                  </a:cubicBezTo>
                  <a:lnTo>
                    <a:pt x="1637" y="453"/>
                  </a:lnTo>
                  <a:cubicBezTo>
                    <a:pt x="2010" y="357"/>
                    <a:pt x="2266" y="265"/>
                    <a:pt x="2452" y="199"/>
                  </a:cubicBezTo>
                  <a:lnTo>
                    <a:pt x="2452" y="199"/>
                  </a:lnTo>
                  <a:cubicBezTo>
                    <a:pt x="3007" y="0"/>
                    <a:pt x="3046" y="11"/>
                    <a:pt x="3812" y="589"/>
                  </a:cubicBezTo>
                  <a:lnTo>
                    <a:pt x="3812" y="589"/>
                  </a:lnTo>
                  <a:cubicBezTo>
                    <a:pt x="3826" y="600"/>
                    <a:pt x="3828" y="620"/>
                    <a:pt x="3818" y="633"/>
                  </a:cubicBezTo>
                  <a:lnTo>
                    <a:pt x="3818" y="633"/>
                  </a:lnTo>
                  <a:cubicBezTo>
                    <a:pt x="3808" y="648"/>
                    <a:pt x="3788" y="650"/>
                    <a:pt x="3774" y="640"/>
                  </a:cubicBezTo>
                  <a:lnTo>
                    <a:pt x="3774" y="640"/>
                  </a:lnTo>
                  <a:cubicBezTo>
                    <a:pt x="3013" y="65"/>
                    <a:pt x="3003" y="69"/>
                    <a:pt x="2473" y="258"/>
                  </a:cubicBezTo>
                  <a:lnTo>
                    <a:pt x="2473" y="258"/>
                  </a:lnTo>
                  <a:cubicBezTo>
                    <a:pt x="2286" y="325"/>
                    <a:pt x="2029" y="417"/>
                    <a:pt x="1652" y="514"/>
                  </a:cubicBezTo>
                  <a:lnTo>
                    <a:pt x="1652" y="514"/>
                  </a:lnTo>
                  <a:cubicBezTo>
                    <a:pt x="621" y="778"/>
                    <a:pt x="801" y="3313"/>
                    <a:pt x="898" y="4675"/>
                  </a:cubicBezTo>
                  <a:lnTo>
                    <a:pt x="904" y="4760"/>
                  </a:lnTo>
                  <a:lnTo>
                    <a:pt x="904" y="4760"/>
                  </a:lnTo>
                  <a:cubicBezTo>
                    <a:pt x="915" y="4911"/>
                    <a:pt x="844" y="5049"/>
                    <a:pt x="714" y="5129"/>
                  </a:cubicBezTo>
                  <a:lnTo>
                    <a:pt x="714" y="5129"/>
                  </a:lnTo>
                  <a:cubicBezTo>
                    <a:pt x="649" y="5169"/>
                    <a:pt x="577" y="5189"/>
                    <a:pt x="505" y="518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0" name="Freeform 520">
              <a:extLst>
                <a:ext uri="{FF2B5EF4-FFF2-40B4-BE49-F238E27FC236}">
                  <a16:creationId xmlns:a16="http://schemas.microsoft.com/office/drawing/2014/main" id="{216A8CEA-95B0-2A49-A07D-7BC921785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03504" y="11852446"/>
              <a:ext cx="1468954" cy="849688"/>
            </a:xfrm>
            <a:custGeom>
              <a:avLst/>
              <a:gdLst>
                <a:gd name="T0" fmla="*/ 1849 w 2250"/>
                <a:gd name="T1" fmla="*/ 1068 h 1299"/>
                <a:gd name="T2" fmla="*/ 1849 w 2250"/>
                <a:gd name="T3" fmla="*/ 1068 h 1299"/>
                <a:gd name="T4" fmla="*/ 401 w 2250"/>
                <a:gd name="T5" fmla="*/ 1068 h 1299"/>
                <a:gd name="T6" fmla="*/ 401 w 2250"/>
                <a:gd name="T7" fmla="*/ 1068 h 1299"/>
                <a:gd name="T8" fmla="*/ 401 w 2250"/>
                <a:gd name="T9" fmla="*/ 231 h 1299"/>
                <a:gd name="T10" fmla="*/ 401 w 2250"/>
                <a:gd name="T11" fmla="*/ 231 h 1299"/>
                <a:gd name="T12" fmla="*/ 1849 w 2250"/>
                <a:gd name="T13" fmla="*/ 231 h 1299"/>
                <a:gd name="T14" fmla="*/ 1849 w 2250"/>
                <a:gd name="T15" fmla="*/ 231 h 1299"/>
                <a:gd name="T16" fmla="*/ 1849 w 2250"/>
                <a:gd name="T17" fmla="*/ 106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0" h="1299">
                  <a:moveTo>
                    <a:pt x="1849" y="1068"/>
                  </a:moveTo>
                  <a:lnTo>
                    <a:pt x="1849" y="1068"/>
                  </a:lnTo>
                  <a:cubicBezTo>
                    <a:pt x="1449" y="1298"/>
                    <a:pt x="800" y="1298"/>
                    <a:pt x="401" y="1068"/>
                  </a:cubicBezTo>
                  <a:lnTo>
                    <a:pt x="401" y="1068"/>
                  </a:lnTo>
                  <a:cubicBezTo>
                    <a:pt x="0" y="836"/>
                    <a:pt x="0" y="462"/>
                    <a:pt x="401" y="231"/>
                  </a:cubicBezTo>
                  <a:lnTo>
                    <a:pt x="401" y="231"/>
                  </a:lnTo>
                  <a:cubicBezTo>
                    <a:pt x="800" y="0"/>
                    <a:pt x="1449" y="0"/>
                    <a:pt x="1849" y="231"/>
                  </a:cubicBezTo>
                  <a:lnTo>
                    <a:pt x="1849" y="231"/>
                  </a:lnTo>
                  <a:cubicBezTo>
                    <a:pt x="2249" y="462"/>
                    <a:pt x="2249" y="837"/>
                    <a:pt x="1849" y="106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1" name="Freeform 521">
              <a:extLst>
                <a:ext uri="{FF2B5EF4-FFF2-40B4-BE49-F238E27FC236}">
                  <a16:creationId xmlns:a16="http://schemas.microsoft.com/office/drawing/2014/main" id="{46AC75CD-BBF5-084E-B448-D6D0AC53C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75425" y="11898531"/>
              <a:ext cx="342757" cy="426285"/>
            </a:xfrm>
            <a:custGeom>
              <a:avLst/>
              <a:gdLst>
                <a:gd name="T0" fmla="*/ 430 w 525"/>
                <a:gd name="T1" fmla="*/ 325 h 653"/>
                <a:gd name="T2" fmla="*/ 430 w 525"/>
                <a:gd name="T3" fmla="*/ 325 h 653"/>
                <a:gd name="T4" fmla="*/ 520 w 525"/>
                <a:gd name="T5" fmla="*/ 483 h 653"/>
                <a:gd name="T6" fmla="*/ 520 w 525"/>
                <a:gd name="T7" fmla="*/ 483 h 653"/>
                <a:gd name="T8" fmla="*/ 507 w 525"/>
                <a:gd name="T9" fmla="*/ 560 h 653"/>
                <a:gd name="T10" fmla="*/ 507 w 525"/>
                <a:gd name="T11" fmla="*/ 560 h 653"/>
                <a:gd name="T12" fmla="*/ 332 w 525"/>
                <a:gd name="T13" fmla="*/ 614 h 653"/>
                <a:gd name="T14" fmla="*/ 332 w 525"/>
                <a:gd name="T15" fmla="*/ 614 h 653"/>
                <a:gd name="T16" fmla="*/ 15 w 525"/>
                <a:gd name="T17" fmla="*/ 244 h 653"/>
                <a:gd name="T18" fmla="*/ 15 w 525"/>
                <a:gd name="T19" fmla="*/ 244 h 653"/>
                <a:gd name="T20" fmla="*/ 430 w 525"/>
                <a:gd name="T21" fmla="*/ 325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653">
                  <a:moveTo>
                    <a:pt x="430" y="325"/>
                  </a:moveTo>
                  <a:lnTo>
                    <a:pt x="430" y="325"/>
                  </a:lnTo>
                  <a:cubicBezTo>
                    <a:pt x="488" y="350"/>
                    <a:pt x="524" y="414"/>
                    <a:pt x="520" y="483"/>
                  </a:cubicBezTo>
                  <a:lnTo>
                    <a:pt x="520" y="483"/>
                  </a:lnTo>
                  <a:cubicBezTo>
                    <a:pt x="517" y="516"/>
                    <a:pt x="513" y="546"/>
                    <a:pt x="507" y="560"/>
                  </a:cubicBezTo>
                  <a:lnTo>
                    <a:pt x="507" y="560"/>
                  </a:lnTo>
                  <a:cubicBezTo>
                    <a:pt x="489" y="599"/>
                    <a:pt x="428" y="652"/>
                    <a:pt x="332" y="614"/>
                  </a:cubicBezTo>
                  <a:lnTo>
                    <a:pt x="332" y="614"/>
                  </a:lnTo>
                  <a:cubicBezTo>
                    <a:pt x="236" y="576"/>
                    <a:pt x="23" y="375"/>
                    <a:pt x="15" y="244"/>
                  </a:cubicBezTo>
                  <a:lnTo>
                    <a:pt x="15" y="244"/>
                  </a:lnTo>
                  <a:cubicBezTo>
                    <a:pt x="0" y="0"/>
                    <a:pt x="278" y="260"/>
                    <a:pt x="430" y="325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2" name="Freeform 522">
              <a:extLst>
                <a:ext uri="{FF2B5EF4-FFF2-40B4-BE49-F238E27FC236}">
                  <a16:creationId xmlns:a16="http://schemas.microsoft.com/office/drawing/2014/main" id="{6B0BB073-B0A5-DE47-B56E-22BEB4F17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288" y="12143356"/>
              <a:ext cx="478130" cy="391721"/>
            </a:xfrm>
            <a:custGeom>
              <a:avLst/>
              <a:gdLst>
                <a:gd name="T0" fmla="*/ 709 w 733"/>
                <a:gd name="T1" fmla="*/ 352 h 600"/>
                <a:gd name="T2" fmla="*/ 709 w 733"/>
                <a:gd name="T3" fmla="*/ 352 h 600"/>
                <a:gd name="T4" fmla="*/ 721 w 733"/>
                <a:gd name="T5" fmla="*/ 518 h 600"/>
                <a:gd name="T6" fmla="*/ 721 w 733"/>
                <a:gd name="T7" fmla="*/ 518 h 600"/>
                <a:gd name="T8" fmla="*/ 544 w 733"/>
                <a:gd name="T9" fmla="*/ 587 h 600"/>
                <a:gd name="T10" fmla="*/ 544 w 733"/>
                <a:gd name="T11" fmla="*/ 587 h 600"/>
                <a:gd name="T12" fmla="*/ 98 w 733"/>
                <a:gd name="T13" fmla="*/ 290 h 600"/>
                <a:gd name="T14" fmla="*/ 98 w 733"/>
                <a:gd name="T15" fmla="*/ 290 h 600"/>
                <a:gd name="T16" fmla="*/ 647 w 733"/>
                <a:gd name="T17" fmla="*/ 312 h 600"/>
                <a:gd name="T18" fmla="*/ 709 w 733"/>
                <a:gd name="T19" fmla="*/ 35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3" h="600">
                  <a:moveTo>
                    <a:pt x="709" y="352"/>
                  </a:moveTo>
                  <a:lnTo>
                    <a:pt x="709" y="352"/>
                  </a:lnTo>
                  <a:cubicBezTo>
                    <a:pt x="709" y="352"/>
                    <a:pt x="732" y="493"/>
                    <a:pt x="721" y="518"/>
                  </a:cubicBezTo>
                  <a:lnTo>
                    <a:pt x="721" y="518"/>
                  </a:lnTo>
                  <a:cubicBezTo>
                    <a:pt x="709" y="544"/>
                    <a:pt x="643" y="599"/>
                    <a:pt x="544" y="587"/>
                  </a:cubicBezTo>
                  <a:lnTo>
                    <a:pt x="544" y="587"/>
                  </a:lnTo>
                  <a:cubicBezTo>
                    <a:pt x="445" y="575"/>
                    <a:pt x="161" y="477"/>
                    <a:pt x="98" y="290"/>
                  </a:cubicBezTo>
                  <a:lnTo>
                    <a:pt x="98" y="290"/>
                  </a:lnTo>
                  <a:cubicBezTo>
                    <a:pt x="0" y="0"/>
                    <a:pt x="647" y="312"/>
                    <a:pt x="647" y="312"/>
                  </a:cubicBezTo>
                  <a:lnTo>
                    <a:pt x="709" y="35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3" name="Freeform 523">
              <a:extLst>
                <a:ext uri="{FF2B5EF4-FFF2-40B4-BE49-F238E27FC236}">
                  <a16:creationId xmlns:a16="http://schemas.microsoft.com/office/drawing/2014/main" id="{53B4F7C6-BB36-4E4B-A18F-9663294B1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93154" y="10821298"/>
              <a:ext cx="625027" cy="1624491"/>
            </a:xfrm>
            <a:custGeom>
              <a:avLst/>
              <a:gdLst>
                <a:gd name="T0" fmla="*/ 23 w 955"/>
                <a:gd name="T1" fmla="*/ 130 h 2485"/>
                <a:gd name="T2" fmla="*/ 0 w 955"/>
                <a:gd name="T3" fmla="*/ 2323 h 2485"/>
                <a:gd name="T4" fmla="*/ 0 w 955"/>
                <a:gd name="T5" fmla="*/ 2323 h 2485"/>
                <a:gd name="T6" fmla="*/ 120 w 955"/>
                <a:gd name="T7" fmla="*/ 2476 h 2485"/>
                <a:gd name="T8" fmla="*/ 120 w 955"/>
                <a:gd name="T9" fmla="*/ 2476 h 2485"/>
                <a:gd name="T10" fmla="*/ 147 w 955"/>
                <a:gd name="T11" fmla="*/ 2478 h 2485"/>
                <a:gd name="T12" fmla="*/ 147 w 955"/>
                <a:gd name="T13" fmla="*/ 2478 h 2485"/>
                <a:gd name="T14" fmla="*/ 277 w 955"/>
                <a:gd name="T15" fmla="*/ 2425 h 2485"/>
                <a:gd name="T16" fmla="*/ 277 w 955"/>
                <a:gd name="T17" fmla="*/ 2425 h 2485"/>
                <a:gd name="T18" fmla="*/ 307 w 955"/>
                <a:gd name="T19" fmla="*/ 2336 h 2485"/>
                <a:gd name="T20" fmla="*/ 334 w 955"/>
                <a:gd name="T21" fmla="*/ 1400 h 2485"/>
                <a:gd name="T22" fmla="*/ 474 w 955"/>
                <a:gd name="T23" fmla="*/ 563 h 2485"/>
                <a:gd name="T24" fmla="*/ 668 w 955"/>
                <a:gd name="T25" fmla="*/ 2044 h 2485"/>
                <a:gd name="T26" fmla="*/ 668 w 955"/>
                <a:gd name="T27" fmla="*/ 2044 h 2485"/>
                <a:gd name="T28" fmla="*/ 721 w 955"/>
                <a:gd name="T29" fmla="*/ 2142 h 2485"/>
                <a:gd name="T30" fmla="*/ 721 w 955"/>
                <a:gd name="T31" fmla="*/ 2142 h 2485"/>
                <a:gd name="T32" fmla="*/ 808 w 955"/>
                <a:gd name="T33" fmla="*/ 2166 h 2485"/>
                <a:gd name="T34" fmla="*/ 808 w 955"/>
                <a:gd name="T35" fmla="*/ 2166 h 2485"/>
                <a:gd name="T36" fmla="*/ 926 w 955"/>
                <a:gd name="T37" fmla="*/ 2108 h 2485"/>
                <a:gd name="T38" fmla="*/ 926 w 955"/>
                <a:gd name="T39" fmla="*/ 2108 h 2485"/>
                <a:gd name="T40" fmla="*/ 954 w 955"/>
                <a:gd name="T41" fmla="*/ 2029 h 2485"/>
                <a:gd name="T42" fmla="*/ 877 w 955"/>
                <a:gd name="T43" fmla="*/ 1137 h 2485"/>
                <a:gd name="T44" fmla="*/ 849 w 955"/>
                <a:gd name="T45" fmla="*/ 0 h 2485"/>
                <a:gd name="T46" fmla="*/ 23 w 955"/>
                <a:gd name="T47" fmla="*/ 130 h 2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55" h="2485">
                  <a:moveTo>
                    <a:pt x="23" y="130"/>
                  </a:moveTo>
                  <a:lnTo>
                    <a:pt x="0" y="2323"/>
                  </a:lnTo>
                  <a:lnTo>
                    <a:pt x="0" y="2323"/>
                  </a:lnTo>
                  <a:cubicBezTo>
                    <a:pt x="3" y="2400"/>
                    <a:pt x="53" y="2464"/>
                    <a:pt x="120" y="2476"/>
                  </a:cubicBezTo>
                  <a:lnTo>
                    <a:pt x="120" y="2476"/>
                  </a:lnTo>
                  <a:cubicBezTo>
                    <a:pt x="128" y="2477"/>
                    <a:pt x="137" y="2478"/>
                    <a:pt x="147" y="2478"/>
                  </a:cubicBezTo>
                  <a:lnTo>
                    <a:pt x="147" y="2478"/>
                  </a:lnTo>
                  <a:cubicBezTo>
                    <a:pt x="215" y="2484"/>
                    <a:pt x="254" y="2456"/>
                    <a:pt x="277" y="2425"/>
                  </a:cubicBezTo>
                  <a:lnTo>
                    <a:pt x="277" y="2425"/>
                  </a:lnTo>
                  <a:cubicBezTo>
                    <a:pt x="295" y="2400"/>
                    <a:pt x="305" y="2369"/>
                    <a:pt x="307" y="2336"/>
                  </a:cubicBezTo>
                  <a:lnTo>
                    <a:pt x="334" y="1400"/>
                  </a:lnTo>
                  <a:lnTo>
                    <a:pt x="474" y="563"/>
                  </a:lnTo>
                  <a:lnTo>
                    <a:pt x="668" y="2044"/>
                  </a:lnTo>
                  <a:lnTo>
                    <a:pt x="668" y="2044"/>
                  </a:lnTo>
                  <a:cubicBezTo>
                    <a:pt x="671" y="2084"/>
                    <a:pt x="690" y="2121"/>
                    <a:pt x="721" y="2142"/>
                  </a:cubicBezTo>
                  <a:lnTo>
                    <a:pt x="721" y="2142"/>
                  </a:lnTo>
                  <a:cubicBezTo>
                    <a:pt x="742" y="2156"/>
                    <a:pt x="771" y="2167"/>
                    <a:pt x="808" y="2166"/>
                  </a:cubicBezTo>
                  <a:lnTo>
                    <a:pt x="808" y="2166"/>
                  </a:lnTo>
                  <a:cubicBezTo>
                    <a:pt x="864" y="2164"/>
                    <a:pt x="903" y="2134"/>
                    <a:pt x="926" y="2108"/>
                  </a:cubicBezTo>
                  <a:lnTo>
                    <a:pt x="926" y="2108"/>
                  </a:lnTo>
                  <a:cubicBezTo>
                    <a:pt x="945" y="2087"/>
                    <a:pt x="954" y="2059"/>
                    <a:pt x="954" y="2029"/>
                  </a:cubicBezTo>
                  <a:lnTo>
                    <a:pt x="877" y="1137"/>
                  </a:lnTo>
                  <a:lnTo>
                    <a:pt x="849" y="0"/>
                  </a:lnTo>
                  <a:lnTo>
                    <a:pt x="23" y="13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4" name="Freeform 524">
              <a:extLst>
                <a:ext uri="{FF2B5EF4-FFF2-40B4-BE49-F238E27FC236}">
                  <a16:creationId xmlns:a16="http://schemas.microsoft.com/office/drawing/2014/main" id="{69606A15-68C1-804E-BF81-C68311735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9563" y="9623093"/>
              <a:ext cx="138255" cy="201621"/>
            </a:xfrm>
            <a:custGeom>
              <a:avLst/>
              <a:gdLst>
                <a:gd name="T0" fmla="*/ 175 w 211"/>
                <a:gd name="T1" fmla="*/ 0 h 307"/>
                <a:gd name="T2" fmla="*/ 209 w 211"/>
                <a:gd name="T3" fmla="*/ 200 h 307"/>
                <a:gd name="T4" fmla="*/ 209 w 211"/>
                <a:gd name="T5" fmla="*/ 200 h 307"/>
                <a:gd name="T6" fmla="*/ 135 w 211"/>
                <a:gd name="T7" fmla="*/ 288 h 307"/>
                <a:gd name="T8" fmla="*/ 135 w 211"/>
                <a:gd name="T9" fmla="*/ 288 h 307"/>
                <a:gd name="T10" fmla="*/ 35 w 211"/>
                <a:gd name="T11" fmla="*/ 257 h 307"/>
                <a:gd name="T12" fmla="*/ 0 w 211"/>
                <a:gd name="T13" fmla="*/ 32 h 307"/>
                <a:gd name="T14" fmla="*/ 175 w 211"/>
                <a:gd name="T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" h="307">
                  <a:moveTo>
                    <a:pt x="175" y="0"/>
                  </a:moveTo>
                  <a:lnTo>
                    <a:pt x="209" y="200"/>
                  </a:lnTo>
                  <a:lnTo>
                    <a:pt x="209" y="200"/>
                  </a:lnTo>
                  <a:cubicBezTo>
                    <a:pt x="209" y="200"/>
                    <a:pt x="210" y="269"/>
                    <a:pt x="135" y="288"/>
                  </a:cubicBezTo>
                  <a:lnTo>
                    <a:pt x="135" y="288"/>
                  </a:lnTo>
                  <a:cubicBezTo>
                    <a:pt x="58" y="306"/>
                    <a:pt x="35" y="257"/>
                    <a:pt x="35" y="257"/>
                  </a:cubicBezTo>
                  <a:lnTo>
                    <a:pt x="0" y="32"/>
                  </a:lnTo>
                  <a:lnTo>
                    <a:pt x="175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5" name="Freeform 525">
              <a:extLst>
                <a:ext uri="{FF2B5EF4-FFF2-40B4-BE49-F238E27FC236}">
                  <a16:creationId xmlns:a16="http://schemas.microsoft.com/office/drawing/2014/main" id="{F94F62ED-849E-344A-869B-638E9A89BD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9271695"/>
              <a:ext cx="449327" cy="449327"/>
            </a:xfrm>
            <a:custGeom>
              <a:avLst/>
              <a:gdLst>
                <a:gd name="T0" fmla="*/ 139 w 686"/>
                <a:gd name="T1" fmla="*/ 548 h 687"/>
                <a:gd name="T2" fmla="*/ 139 w 686"/>
                <a:gd name="T3" fmla="*/ 548 h 687"/>
                <a:gd name="T4" fmla="*/ 573 w 686"/>
                <a:gd name="T5" fmla="*/ 572 h 687"/>
                <a:gd name="T6" fmla="*/ 573 w 686"/>
                <a:gd name="T7" fmla="*/ 572 h 687"/>
                <a:gd name="T8" fmla="*/ 546 w 686"/>
                <a:gd name="T9" fmla="*/ 137 h 687"/>
                <a:gd name="T10" fmla="*/ 546 w 686"/>
                <a:gd name="T11" fmla="*/ 137 h 687"/>
                <a:gd name="T12" fmla="*/ 113 w 686"/>
                <a:gd name="T13" fmla="*/ 113 h 687"/>
                <a:gd name="T14" fmla="*/ 113 w 686"/>
                <a:gd name="T15" fmla="*/ 113 h 687"/>
                <a:gd name="T16" fmla="*/ 139 w 686"/>
                <a:gd name="T17" fmla="*/ 548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687">
                  <a:moveTo>
                    <a:pt x="139" y="548"/>
                  </a:moveTo>
                  <a:lnTo>
                    <a:pt x="139" y="548"/>
                  </a:lnTo>
                  <a:cubicBezTo>
                    <a:pt x="266" y="675"/>
                    <a:pt x="461" y="686"/>
                    <a:pt x="573" y="572"/>
                  </a:cubicBezTo>
                  <a:lnTo>
                    <a:pt x="573" y="572"/>
                  </a:lnTo>
                  <a:cubicBezTo>
                    <a:pt x="685" y="458"/>
                    <a:pt x="673" y="263"/>
                    <a:pt x="546" y="137"/>
                  </a:cubicBezTo>
                  <a:lnTo>
                    <a:pt x="546" y="137"/>
                  </a:lnTo>
                  <a:cubicBezTo>
                    <a:pt x="419" y="10"/>
                    <a:pt x="225" y="0"/>
                    <a:pt x="113" y="113"/>
                  </a:cubicBezTo>
                  <a:lnTo>
                    <a:pt x="113" y="113"/>
                  </a:lnTo>
                  <a:cubicBezTo>
                    <a:pt x="0" y="227"/>
                    <a:pt x="12" y="422"/>
                    <a:pt x="139" y="548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6" name="Freeform 527">
              <a:extLst>
                <a:ext uri="{FF2B5EF4-FFF2-40B4-BE49-F238E27FC236}">
                  <a16:creationId xmlns:a16="http://schemas.microsoft.com/office/drawing/2014/main" id="{7388253C-6EF9-B948-B9C9-97BFD3F4D6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11189977"/>
              <a:ext cx="172818" cy="1036909"/>
            </a:xfrm>
            <a:custGeom>
              <a:avLst/>
              <a:gdLst>
                <a:gd name="T0" fmla="*/ 0 w 264"/>
                <a:gd name="T1" fmla="*/ 0 h 1589"/>
                <a:gd name="T2" fmla="*/ 194 w 264"/>
                <a:gd name="T3" fmla="*/ 1481 h 1589"/>
                <a:gd name="T4" fmla="*/ 194 w 264"/>
                <a:gd name="T5" fmla="*/ 1481 h 1589"/>
                <a:gd name="T6" fmla="*/ 247 w 264"/>
                <a:gd name="T7" fmla="*/ 1579 h 1589"/>
                <a:gd name="T8" fmla="*/ 247 w 264"/>
                <a:gd name="T9" fmla="*/ 1579 h 1589"/>
                <a:gd name="T10" fmla="*/ 263 w 264"/>
                <a:gd name="T11" fmla="*/ 1588 h 1589"/>
                <a:gd name="T12" fmla="*/ 263 w 264"/>
                <a:gd name="T13" fmla="*/ 1588 h 1589"/>
                <a:gd name="T14" fmla="*/ 84 w 264"/>
                <a:gd name="T15" fmla="*/ 176 h 1589"/>
                <a:gd name="T16" fmla="*/ 84 w 264"/>
                <a:gd name="T17" fmla="*/ 176 h 1589"/>
                <a:gd name="T18" fmla="*/ 0 w 264"/>
                <a:gd name="T19" fmla="*/ 0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1589">
                  <a:moveTo>
                    <a:pt x="0" y="0"/>
                  </a:moveTo>
                  <a:lnTo>
                    <a:pt x="194" y="1481"/>
                  </a:lnTo>
                  <a:lnTo>
                    <a:pt x="194" y="1481"/>
                  </a:lnTo>
                  <a:cubicBezTo>
                    <a:pt x="197" y="1521"/>
                    <a:pt x="216" y="1558"/>
                    <a:pt x="247" y="1579"/>
                  </a:cubicBezTo>
                  <a:lnTo>
                    <a:pt x="247" y="1579"/>
                  </a:lnTo>
                  <a:cubicBezTo>
                    <a:pt x="252" y="1582"/>
                    <a:pt x="257" y="1586"/>
                    <a:pt x="263" y="1588"/>
                  </a:cubicBezTo>
                  <a:lnTo>
                    <a:pt x="263" y="1588"/>
                  </a:lnTo>
                  <a:cubicBezTo>
                    <a:pt x="223" y="1558"/>
                    <a:pt x="106" y="314"/>
                    <a:pt x="84" y="176"/>
                  </a:cubicBezTo>
                  <a:lnTo>
                    <a:pt x="84" y="176"/>
                  </a:lnTo>
                  <a:cubicBezTo>
                    <a:pt x="63" y="38"/>
                    <a:pt x="0" y="0"/>
                    <a:pt x="0" y="0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7" name="Freeform 606">
              <a:extLst>
                <a:ext uri="{FF2B5EF4-FFF2-40B4-BE49-F238E27FC236}">
                  <a16:creationId xmlns:a16="http://schemas.microsoft.com/office/drawing/2014/main" id="{DEA70329-613E-A844-BAF6-58362EFC9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14232" y="8938991"/>
              <a:ext cx="246501" cy="571115"/>
            </a:xfrm>
            <a:custGeom>
              <a:avLst/>
              <a:gdLst>
                <a:gd name="connsiteX0" fmla="*/ 71845 w 246501"/>
                <a:gd name="connsiteY0" fmla="*/ 494 h 571115"/>
                <a:gd name="connsiteX1" fmla="*/ 91960 w 246501"/>
                <a:gd name="connsiteY1" fmla="*/ 12581 h 571115"/>
                <a:gd name="connsiteX2" fmla="*/ 104338 w 246501"/>
                <a:gd name="connsiteY2" fmla="*/ 27507 h 571115"/>
                <a:gd name="connsiteX3" fmla="*/ 148640 w 246501"/>
                <a:gd name="connsiteY3" fmla="*/ 100191 h 571115"/>
                <a:gd name="connsiteX4" fmla="*/ 161670 w 246501"/>
                <a:gd name="connsiteY4" fmla="*/ 143671 h 571115"/>
                <a:gd name="connsiteX5" fmla="*/ 162974 w 246501"/>
                <a:gd name="connsiteY5" fmla="*/ 187151 h 571115"/>
                <a:gd name="connsiteX6" fmla="*/ 162657 w 246501"/>
                <a:gd name="connsiteY6" fmla="*/ 187238 h 571115"/>
                <a:gd name="connsiteX7" fmla="*/ 246501 w 246501"/>
                <a:gd name="connsiteY7" fmla="*/ 571115 h 571115"/>
                <a:gd name="connsiteX8" fmla="*/ 119940 w 246501"/>
                <a:gd name="connsiteY8" fmla="*/ 506242 h 571115"/>
                <a:gd name="connsiteX9" fmla="*/ 95906 w 246501"/>
                <a:gd name="connsiteY9" fmla="*/ 203545 h 571115"/>
                <a:gd name="connsiteX10" fmla="*/ 54173 w 246501"/>
                <a:gd name="connsiteY10" fmla="*/ 144969 h 571115"/>
                <a:gd name="connsiteX11" fmla="*/ 6614 w 246501"/>
                <a:gd name="connsiteY11" fmla="*/ 125500 h 571115"/>
                <a:gd name="connsiteX12" fmla="*/ 98 w 246501"/>
                <a:gd name="connsiteY12" fmla="*/ 114468 h 571115"/>
                <a:gd name="connsiteX13" fmla="*/ 12477 w 246501"/>
                <a:gd name="connsiteY13" fmla="*/ 106031 h 571115"/>
                <a:gd name="connsiteX14" fmla="*/ 41143 w 246501"/>
                <a:gd name="connsiteY14" fmla="*/ 111872 h 571115"/>
                <a:gd name="connsiteX15" fmla="*/ 18340 w 246501"/>
                <a:gd name="connsiteY15" fmla="*/ 49572 h 571115"/>
                <a:gd name="connsiteX16" fmla="*/ 37886 w 246501"/>
                <a:gd name="connsiteY16" fmla="*/ 11932 h 571115"/>
                <a:gd name="connsiteX17" fmla="*/ 48310 w 246501"/>
                <a:gd name="connsiteY17" fmla="*/ 5442 h 571115"/>
                <a:gd name="connsiteX18" fmla="*/ 71845 w 246501"/>
                <a:gd name="connsiteY18" fmla="*/ 494 h 57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6501" h="571115">
                  <a:moveTo>
                    <a:pt x="71845" y="494"/>
                  </a:moveTo>
                  <a:cubicBezTo>
                    <a:pt x="79745" y="1873"/>
                    <a:pt x="87074" y="6092"/>
                    <a:pt x="91960" y="12581"/>
                  </a:cubicBezTo>
                  <a:lnTo>
                    <a:pt x="104338" y="27507"/>
                  </a:lnTo>
                  <a:lnTo>
                    <a:pt x="148640" y="100191"/>
                  </a:lnTo>
                  <a:cubicBezTo>
                    <a:pt x="156458" y="113170"/>
                    <a:pt x="160368" y="128096"/>
                    <a:pt x="161670" y="143671"/>
                  </a:cubicBezTo>
                  <a:lnTo>
                    <a:pt x="162974" y="187151"/>
                  </a:lnTo>
                  <a:lnTo>
                    <a:pt x="162657" y="187238"/>
                  </a:lnTo>
                  <a:lnTo>
                    <a:pt x="246501" y="571115"/>
                  </a:lnTo>
                  <a:lnTo>
                    <a:pt x="119940" y="506242"/>
                  </a:lnTo>
                  <a:lnTo>
                    <a:pt x="95906" y="203545"/>
                  </a:lnTo>
                  <a:lnTo>
                    <a:pt x="54173" y="144969"/>
                  </a:lnTo>
                  <a:lnTo>
                    <a:pt x="6614" y="125500"/>
                  </a:lnTo>
                  <a:cubicBezTo>
                    <a:pt x="2053" y="123553"/>
                    <a:pt x="-553" y="119010"/>
                    <a:pt x="98" y="114468"/>
                  </a:cubicBezTo>
                  <a:cubicBezTo>
                    <a:pt x="1402" y="108627"/>
                    <a:pt x="6614" y="105382"/>
                    <a:pt x="12477" y="106031"/>
                  </a:cubicBezTo>
                  <a:lnTo>
                    <a:pt x="41143" y="111872"/>
                  </a:lnTo>
                  <a:lnTo>
                    <a:pt x="18340" y="49572"/>
                  </a:lnTo>
                  <a:cubicBezTo>
                    <a:pt x="17038" y="34646"/>
                    <a:pt x="24856" y="19720"/>
                    <a:pt x="37886" y="11932"/>
                  </a:cubicBezTo>
                  <a:lnTo>
                    <a:pt x="48310" y="5442"/>
                  </a:lnTo>
                  <a:cubicBezTo>
                    <a:pt x="55476" y="575"/>
                    <a:pt x="63946" y="-885"/>
                    <a:pt x="71845" y="494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8" name="Freeform 607">
              <a:extLst>
                <a:ext uri="{FF2B5EF4-FFF2-40B4-BE49-F238E27FC236}">
                  <a16:creationId xmlns:a16="http://schemas.microsoft.com/office/drawing/2014/main" id="{B914E416-46F7-0740-9ABA-FF133AECD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2590" y="9416925"/>
              <a:ext cx="1140795" cy="1645016"/>
            </a:xfrm>
            <a:custGeom>
              <a:avLst/>
              <a:gdLst>
                <a:gd name="connsiteX0" fmla="*/ 1026797 w 1140795"/>
                <a:gd name="connsiteY0" fmla="*/ 94 h 1645016"/>
                <a:gd name="connsiteX1" fmla="*/ 1132398 w 1140795"/>
                <a:gd name="connsiteY1" fmla="*/ 42621 h 1645016"/>
                <a:gd name="connsiteX2" fmla="*/ 1060263 w 1140795"/>
                <a:gd name="connsiteY2" fmla="*/ 456091 h 1645016"/>
                <a:gd name="connsiteX3" fmla="*/ 1014028 w 1140795"/>
                <a:gd name="connsiteY3" fmla="*/ 550307 h 1645016"/>
                <a:gd name="connsiteX4" fmla="*/ 1023212 w 1140795"/>
                <a:gd name="connsiteY4" fmla="*/ 594010 h 1645016"/>
                <a:gd name="connsiteX5" fmla="*/ 1031214 w 1140795"/>
                <a:gd name="connsiteY5" fmla="*/ 1402810 h 1645016"/>
                <a:gd name="connsiteX6" fmla="*/ 838911 w 1140795"/>
                <a:gd name="connsiteY6" fmla="*/ 1592132 h 1645016"/>
                <a:gd name="connsiteX7" fmla="*/ 652495 w 1140795"/>
                <a:gd name="connsiteY7" fmla="*/ 1645011 h 1645016"/>
                <a:gd name="connsiteX8" fmla="*/ 467386 w 1140795"/>
                <a:gd name="connsiteY8" fmla="*/ 1503346 h 1645016"/>
                <a:gd name="connsiteX9" fmla="*/ 464361 w 1140795"/>
                <a:gd name="connsiteY9" fmla="*/ 957741 h 1645016"/>
                <a:gd name="connsiteX10" fmla="*/ 451401 w 1140795"/>
                <a:gd name="connsiteY10" fmla="*/ 788376 h 1645016"/>
                <a:gd name="connsiteX11" fmla="*/ 434057 w 1140795"/>
                <a:gd name="connsiteY11" fmla="*/ 765087 h 1645016"/>
                <a:gd name="connsiteX12" fmla="*/ 3943 w 1140795"/>
                <a:gd name="connsiteY12" fmla="*/ 396658 h 1645016"/>
                <a:gd name="connsiteX13" fmla="*/ 37950 w 1140795"/>
                <a:gd name="connsiteY13" fmla="*/ 264771 h 1645016"/>
                <a:gd name="connsiteX14" fmla="*/ 65008 w 1140795"/>
                <a:gd name="connsiteY14" fmla="*/ 253019 h 1645016"/>
                <a:gd name="connsiteX15" fmla="*/ 91576 w 1140795"/>
                <a:gd name="connsiteY15" fmla="*/ 270647 h 1645016"/>
                <a:gd name="connsiteX16" fmla="*/ 414182 w 1140795"/>
                <a:gd name="connsiteY16" fmla="*/ 467145 h 1645016"/>
                <a:gd name="connsiteX17" fmla="*/ 421609 w 1140795"/>
                <a:gd name="connsiteY17" fmla="*/ 466085 h 1645016"/>
                <a:gd name="connsiteX18" fmla="*/ 421600 w 1140795"/>
                <a:gd name="connsiteY18" fmla="*/ 465994 h 1645016"/>
                <a:gd name="connsiteX19" fmla="*/ 664922 w 1140795"/>
                <a:gd name="connsiteY19" fmla="*/ 341303 h 1645016"/>
                <a:gd name="connsiteX20" fmla="*/ 828893 w 1140795"/>
                <a:gd name="connsiteY20" fmla="*/ 282688 h 1645016"/>
                <a:gd name="connsiteX21" fmla="*/ 867195 w 1140795"/>
                <a:gd name="connsiteY21" fmla="*/ 285414 h 1645016"/>
                <a:gd name="connsiteX22" fmla="*/ 879070 w 1140795"/>
                <a:gd name="connsiteY22" fmla="*/ 282411 h 1645016"/>
                <a:gd name="connsiteX23" fmla="*/ 979212 w 1140795"/>
                <a:gd name="connsiteY23" fmla="*/ 166933 h 1645016"/>
                <a:gd name="connsiteX24" fmla="*/ 994856 w 1140795"/>
                <a:gd name="connsiteY24" fmla="*/ 27573 h 1645016"/>
                <a:gd name="connsiteX25" fmla="*/ 1026797 w 1140795"/>
                <a:gd name="connsiteY25" fmla="*/ 94 h 16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40795" h="1645016">
                  <a:moveTo>
                    <a:pt x="1026797" y="94"/>
                  </a:moveTo>
                  <a:cubicBezTo>
                    <a:pt x="1065257" y="5328"/>
                    <a:pt x="1124576" y="16450"/>
                    <a:pt x="1132398" y="42621"/>
                  </a:cubicBezTo>
                  <a:cubicBezTo>
                    <a:pt x="1142664" y="76398"/>
                    <a:pt x="1161415" y="224887"/>
                    <a:pt x="1060263" y="456091"/>
                  </a:cubicBezTo>
                  <a:lnTo>
                    <a:pt x="1014028" y="550307"/>
                  </a:lnTo>
                  <a:lnTo>
                    <a:pt x="1023212" y="594010"/>
                  </a:lnTo>
                  <a:cubicBezTo>
                    <a:pt x="1072054" y="901066"/>
                    <a:pt x="1060649" y="1331325"/>
                    <a:pt x="1031214" y="1402810"/>
                  </a:cubicBezTo>
                  <a:cubicBezTo>
                    <a:pt x="994585" y="1490290"/>
                    <a:pt x="903012" y="1555573"/>
                    <a:pt x="838911" y="1592132"/>
                  </a:cubicBezTo>
                  <a:cubicBezTo>
                    <a:pt x="782005" y="1624774"/>
                    <a:pt x="717904" y="1645011"/>
                    <a:pt x="652495" y="1645011"/>
                  </a:cubicBezTo>
                  <a:cubicBezTo>
                    <a:pt x="587085" y="1645664"/>
                    <a:pt x="462808" y="1587562"/>
                    <a:pt x="467386" y="1503346"/>
                  </a:cubicBezTo>
                  <a:cubicBezTo>
                    <a:pt x="477852" y="1308149"/>
                    <a:pt x="474418" y="1128457"/>
                    <a:pt x="464361" y="957741"/>
                  </a:cubicBezTo>
                  <a:lnTo>
                    <a:pt x="451401" y="788376"/>
                  </a:lnTo>
                  <a:lnTo>
                    <a:pt x="434057" y="765087"/>
                  </a:lnTo>
                  <a:cubicBezTo>
                    <a:pt x="327112" y="662523"/>
                    <a:pt x="58877" y="598324"/>
                    <a:pt x="3943" y="396658"/>
                  </a:cubicBezTo>
                  <a:cubicBezTo>
                    <a:pt x="-10445" y="344426"/>
                    <a:pt x="17676" y="296111"/>
                    <a:pt x="37950" y="264771"/>
                  </a:cubicBezTo>
                  <a:cubicBezTo>
                    <a:pt x="44163" y="255631"/>
                    <a:pt x="54626" y="251877"/>
                    <a:pt x="65008" y="253019"/>
                  </a:cubicBezTo>
                  <a:cubicBezTo>
                    <a:pt x="75390" y="254162"/>
                    <a:pt x="85690" y="260201"/>
                    <a:pt x="91576" y="270647"/>
                  </a:cubicBezTo>
                  <a:cubicBezTo>
                    <a:pt x="204307" y="476884"/>
                    <a:pt x="373616" y="471671"/>
                    <a:pt x="414182" y="467145"/>
                  </a:cubicBezTo>
                  <a:lnTo>
                    <a:pt x="421609" y="466085"/>
                  </a:lnTo>
                  <a:lnTo>
                    <a:pt x="421600" y="465994"/>
                  </a:lnTo>
                  <a:cubicBezTo>
                    <a:pt x="421600" y="465994"/>
                    <a:pt x="461500" y="422907"/>
                    <a:pt x="664922" y="341303"/>
                  </a:cubicBezTo>
                  <a:cubicBezTo>
                    <a:pt x="666966" y="340487"/>
                    <a:pt x="748983" y="287903"/>
                    <a:pt x="828893" y="282688"/>
                  </a:cubicBezTo>
                  <a:lnTo>
                    <a:pt x="867195" y="285414"/>
                  </a:lnTo>
                  <a:lnTo>
                    <a:pt x="879070" y="282411"/>
                  </a:lnTo>
                  <a:cubicBezTo>
                    <a:pt x="922011" y="268018"/>
                    <a:pt x="967804" y="236286"/>
                    <a:pt x="979212" y="166933"/>
                  </a:cubicBezTo>
                  <a:cubicBezTo>
                    <a:pt x="990945" y="94963"/>
                    <a:pt x="994856" y="52435"/>
                    <a:pt x="994856" y="27573"/>
                  </a:cubicBezTo>
                  <a:cubicBezTo>
                    <a:pt x="996160" y="11216"/>
                    <a:pt x="1009849" y="-1215"/>
                    <a:pt x="1026797" y="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9" name="Freeform 608">
              <a:extLst>
                <a:ext uri="{FF2B5EF4-FFF2-40B4-BE49-F238E27FC236}">
                  <a16:creationId xmlns:a16="http://schemas.microsoft.com/office/drawing/2014/main" id="{8F529026-92B2-944A-9364-E99E4AC3A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2387" y="9220017"/>
              <a:ext cx="211274" cy="581000"/>
            </a:xfrm>
            <a:custGeom>
              <a:avLst/>
              <a:gdLst>
                <a:gd name="connsiteX0" fmla="*/ 63623 w 211274"/>
                <a:gd name="connsiteY0" fmla="*/ 860 h 581000"/>
                <a:gd name="connsiteX1" fmla="*/ 75294 w 211274"/>
                <a:gd name="connsiteY1" fmla="*/ 3466 h 581000"/>
                <a:gd name="connsiteX2" fmla="*/ 106416 w 211274"/>
                <a:gd name="connsiteY2" fmla="*/ 32783 h 581000"/>
                <a:gd name="connsiteX3" fmla="*/ 105768 w 211274"/>
                <a:gd name="connsiteY3" fmla="*/ 99236 h 581000"/>
                <a:gd name="connsiteX4" fmla="*/ 131055 w 211274"/>
                <a:gd name="connsiteY4" fmla="*/ 84252 h 581000"/>
                <a:gd name="connsiteX5" fmla="*/ 145319 w 211274"/>
                <a:gd name="connsiteY5" fmla="*/ 87509 h 581000"/>
                <a:gd name="connsiteX6" fmla="*/ 143374 w 211274"/>
                <a:gd name="connsiteY6" fmla="*/ 100539 h 581000"/>
                <a:gd name="connsiteX7" fmla="*/ 105768 w 211274"/>
                <a:gd name="connsiteY7" fmla="*/ 134417 h 581000"/>
                <a:gd name="connsiteX8" fmla="*/ 86241 w 211274"/>
                <a:gd name="connsiteY8" fmla="*/ 203933 h 581000"/>
                <a:gd name="connsiteX9" fmla="*/ 211274 w 211274"/>
                <a:gd name="connsiteY9" fmla="*/ 475816 h 581000"/>
                <a:gd name="connsiteX10" fmla="*/ 131465 w 211274"/>
                <a:gd name="connsiteY10" fmla="*/ 581000 h 581000"/>
                <a:gd name="connsiteX11" fmla="*/ 18994 w 211274"/>
                <a:gd name="connsiteY11" fmla="*/ 211378 h 581000"/>
                <a:gd name="connsiteX12" fmla="*/ 17588 w 211274"/>
                <a:gd name="connsiteY12" fmla="*/ 211294 h 581000"/>
                <a:gd name="connsiteX13" fmla="*/ 3972 w 211274"/>
                <a:gd name="connsiteY13" fmla="*/ 169598 h 581000"/>
                <a:gd name="connsiteX14" fmla="*/ 2027 w 211274"/>
                <a:gd name="connsiteY14" fmla="*/ 123993 h 581000"/>
                <a:gd name="connsiteX15" fmla="*/ 18885 w 211274"/>
                <a:gd name="connsiteY15" fmla="*/ 40601 h 581000"/>
                <a:gd name="connsiteX16" fmla="*/ 24720 w 211274"/>
                <a:gd name="connsiteY16" fmla="*/ 23011 h 581000"/>
                <a:gd name="connsiteX17" fmla="*/ 63623 w 211274"/>
                <a:gd name="connsiteY17" fmla="*/ 860 h 5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1274" h="581000">
                  <a:moveTo>
                    <a:pt x="63623" y="860"/>
                  </a:moveTo>
                  <a:lnTo>
                    <a:pt x="75294" y="3466"/>
                  </a:lnTo>
                  <a:cubicBezTo>
                    <a:pt x="90207" y="6723"/>
                    <a:pt x="101878" y="17799"/>
                    <a:pt x="106416" y="32783"/>
                  </a:cubicBezTo>
                  <a:lnTo>
                    <a:pt x="105768" y="99236"/>
                  </a:lnTo>
                  <a:lnTo>
                    <a:pt x="131055" y="84252"/>
                  </a:lnTo>
                  <a:cubicBezTo>
                    <a:pt x="135593" y="80994"/>
                    <a:pt x="142077" y="82297"/>
                    <a:pt x="145319" y="87509"/>
                  </a:cubicBezTo>
                  <a:cubicBezTo>
                    <a:pt x="147913" y="91418"/>
                    <a:pt x="147264" y="96630"/>
                    <a:pt x="143374" y="100539"/>
                  </a:cubicBezTo>
                  <a:lnTo>
                    <a:pt x="105768" y="134417"/>
                  </a:lnTo>
                  <a:lnTo>
                    <a:pt x="86241" y="203933"/>
                  </a:lnTo>
                  <a:lnTo>
                    <a:pt x="211274" y="475816"/>
                  </a:lnTo>
                  <a:lnTo>
                    <a:pt x="131465" y="581000"/>
                  </a:lnTo>
                  <a:lnTo>
                    <a:pt x="18994" y="211378"/>
                  </a:lnTo>
                  <a:lnTo>
                    <a:pt x="17588" y="211294"/>
                  </a:lnTo>
                  <a:lnTo>
                    <a:pt x="3972" y="169598"/>
                  </a:lnTo>
                  <a:cubicBezTo>
                    <a:pt x="-567" y="155265"/>
                    <a:pt x="-1215" y="139629"/>
                    <a:pt x="2027" y="123993"/>
                  </a:cubicBezTo>
                  <a:lnTo>
                    <a:pt x="18885" y="40601"/>
                  </a:lnTo>
                  <a:lnTo>
                    <a:pt x="24720" y="23011"/>
                  </a:lnTo>
                  <a:cubicBezTo>
                    <a:pt x="29907" y="6723"/>
                    <a:pt x="46765" y="-3049"/>
                    <a:pt x="63623" y="860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0" name="Freeform 534">
              <a:extLst>
                <a:ext uri="{FF2B5EF4-FFF2-40B4-BE49-F238E27FC236}">
                  <a16:creationId xmlns:a16="http://schemas.microsoft.com/office/drawing/2014/main" id="{BF04BAC2-7C1D-9A4C-BF83-282BE3C08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12955" y="9951447"/>
              <a:ext cx="561660" cy="1111797"/>
            </a:xfrm>
            <a:custGeom>
              <a:avLst/>
              <a:gdLst>
                <a:gd name="T0" fmla="*/ 654 w 862"/>
                <a:gd name="T1" fmla="*/ 321 h 1701"/>
                <a:gd name="T2" fmla="*/ 654 w 862"/>
                <a:gd name="T3" fmla="*/ 321 h 1701"/>
                <a:gd name="T4" fmla="*/ 861 w 862"/>
                <a:gd name="T5" fmla="*/ 1699 h 1701"/>
                <a:gd name="T6" fmla="*/ 861 w 862"/>
                <a:gd name="T7" fmla="*/ 1699 h 1701"/>
                <a:gd name="T8" fmla="*/ 578 w 862"/>
                <a:gd name="T9" fmla="*/ 1482 h 1701"/>
                <a:gd name="T10" fmla="*/ 578 w 862"/>
                <a:gd name="T11" fmla="*/ 1482 h 1701"/>
                <a:gd name="T12" fmla="*/ 555 w 862"/>
                <a:gd name="T13" fmla="*/ 384 h 1701"/>
                <a:gd name="T14" fmla="*/ 555 w 862"/>
                <a:gd name="T15" fmla="*/ 384 h 1701"/>
                <a:gd name="T16" fmla="*/ 0 w 862"/>
                <a:gd name="T17" fmla="*/ 0 h 1701"/>
                <a:gd name="T18" fmla="*/ 0 w 862"/>
                <a:gd name="T19" fmla="*/ 0 h 1701"/>
                <a:gd name="T20" fmla="*/ 654 w 862"/>
                <a:gd name="T21" fmla="*/ 321 h 1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2" h="1701">
                  <a:moveTo>
                    <a:pt x="654" y="321"/>
                  </a:moveTo>
                  <a:lnTo>
                    <a:pt x="654" y="321"/>
                  </a:lnTo>
                  <a:cubicBezTo>
                    <a:pt x="682" y="450"/>
                    <a:pt x="603" y="1451"/>
                    <a:pt x="861" y="1699"/>
                  </a:cubicBezTo>
                  <a:lnTo>
                    <a:pt x="861" y="1699"/>
                  </a:lnTo>
                  <a:cubicBezTo>
                    <a:pt x="761" y="1700"/>
                    <a:pt x="571" y="1611"/>
                    <a:pt x="578" y="1482"/>
                  </a:cubicBezTo>
                  <a:lnTo>
                    <a:pt x="578" y="1482"/>
                  </a:lnTo>
                  <a:cubicBezTo>
                    <a:pt x="599" y="1081"/>
                    <a:pt x="582" y="723"/>
                    <a:pt x="555" y="384"/>
                  </a:cubicBezTo>
                  <a:lnTo>
                    <a:pt x="555" y="384"/>
                  </a:lnTo>
                  <a:cubicBezTo>
                    <a:pt x="453" y="252"/>
                    <a:pt x="175" y="169"/>
                    <a:pt x="0" y="0"/>
                  </a:cubicBezTo>
                  <a:lnTo>
                    <a:pt x="0" y="0"/>
                  </a:lnTo>
                  <a:cubicBezTo>
                    <a:pt x="13" y="5"/>
                    <a:pt x="626" y="193"/>
                    <a:pt x="654" y="32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1" name="Freeform 535">
              <a:extLst>
                <a:ext uri="{FF2B5EF4-FFF2-40B4-BE49-F238E27FC236}">
                  <a16:creationId xmlns:a16="http://schemas.microsoft.com/office/drawing/2014/main" id="{B09A5A68-0764-8644-8C1F-E34910E9BE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62283" y="9692219"/>
              <a:ext cx="201621" cy="123852"/>
            </a:xfrm>
            <a:custGeom>
              <a:avLst/>
              <a:gdLst>
                <a:gd name="T0" fmla="*/ 307 w 308"/>
                <a:gd name="T1" fmla="*/ 46 h 188"/>
                <a:gd name="T2" fmla="*/ 264 w 308"/>
                <a:gd name="T3" fmla="*/ 0 h 188"/>
                <a:gd name="T4" fmla="*/ 264 w 308"/>
                <a:gd name="T5" fmla="*/ 0 h 188"/>
                <a:gd name="T6" fmla="*/ 133 w 308"/>
                <a:gd name="T7" fmla="*/ 87 h 188"/>
                <a:gd name="T8" fmla="*/ 133 w 308"/>
                <a:gd name="T9" fmla="*/ 87 h 188"/>
                <a:gd name="T10" fmla="*/ 28 w 308"/>
                <a:gd name="T11" fmla="*/ 108 h 188"/>
                <a:gd name="T12" fmla="*/ 0 w 308"/>
                <a:gd name="T13" fmla="*/ 187 h 188"/>
                <a:gd name="T14" fmla="*/ 0 w 308"/>
                <a:gd name="T15" fmla="*/ 187 h 188"/>
                <a:gd name="T16" fmla="*/ 307 w 308"/>
                <a:gd name="T17" fmla="*/ 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" h="188">
                  <a:moveTo>
                    <a:pt x="307" y="46"/>
                  </a:moveTo>
                  <a:lnTo>
                    <a:pt x="264" y="0"/>
                  </a:lnTo>
                  <a:lnTo>
                    <a:pt x="264" y="0"/>
                  </a:lnTo>
                  <a:cubicBezTo>
                    <a:pt x="264" y="0"/>
                    <a:pt x="191" y="75"/>
                    <a:pt x="133" y="87"/>
                  </a:cubicBezTo>
                  <a:lnTo>
                    <a:pt x="133" y="87"/>
                  </a:lnTo>
                  <a:cubicBezTo>
                    <a:pt x="133" y="87"/>
                    <a:pt x="63" y="107"/>
                    <a:pt x="28" y="108"/>
                  </a:cubicBezTo>
                  <a:lnTo>
                    <a:pt x="0" y="187"/>
                  </a:lnTo>
                  <a:lnTo>
                    <a:pt x="0" y="187"/>
                  </a:lnTo>
                  <a:cubicBezTo>
                    <a:pt x="0" y="187"/>
                    <a:pt x="231" y="171"/>
                    <a:pt x="307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2" name="Freeform 536">
              <a:extLst>
                <a:ext uri="{FF2B5EF4-FFF2-40B4-BE49-F238E27FC236}">
                  <a16:creationId xmlns:a16="http://schemas.microsoft.com/office/drawing/2014/main" id="{5853F865-AFBC-3845-8919-6900C1E73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2730" y="9188166"/>
              <a:ext cx="555899" cy="466609"/>
            </a:xfrm>
            <a:custGeom>
              <a:avLst/>
              <a:gdLst>
                <a:gd name="T0" fmla="*/ 439 w 853"/>
                <a:gd name="T1" fmla="*/ 581 h 714"/>
                <a:gd name="T2" fmla="*/ 439 w 853"/>
                <a:gd name="T3" fmla="*/ 581 h 714"/>
                <a:gd name="T4" fmla="*/ 405 w 853"/>
                <a:gd name="T5" fmla="*/ 581 h 714"/>
                <a:gd name="T6" fmla="*/ 405 w 853"/>
                <a:gd name="T7" fmla="*/ 581 h 714"/>
                <a:gd name="T8" fmla="*/ 316 w 853"/>
                <a:gd name="T9" fmla="*/ 502 h 714"/>
                <a:gd name="T10" fmla="*/ 316 w 853"/>
                <a:gd name="T11" fmla="*/ 502 h 714"/>
                <a:gd name="T12" fmla="*/ 57 w 853"/>
                <a:gd name="T13" fmla="*/ 460 h 714"/>
                <a:gd name="T14" fmla="*/ 57 w 853"/>
                <a:gd name="T15" fmla="*/ 460 h 714"/>
                <a:gd name="T16" fmla="*/ 5 w 853"/>
                <a:gd name="T17" fmla="*/ 264 h 714"/>
                <a:gd name="T18" fmla="*/ 5 w 853"/>
                <a:gd name="T19" fmla="*/ 264 h 714"/>
                <a:gd name="T20" fmla="*/ 255 w 853"/>
                <a:gd name="T21" fmla="*/ 146 h 714"/>
                <a:gd name="T22" fmla="*/ 255 w 853"/>
                <a:gd name="T23" fmla="*/ 146 h 714"/>
                <a:gd name="T24" fmla="*/ 752 w 853"/>
                <a:gd name="T25" fmla="*/ 280 h 714"/>
                <a:gd name="T26" fmla="*/ 752 w 853"/>
                <a:gd name="T27" fmla="*/ 280 h 714"/>
                <a:gd name="T28" fmla="*/ 695 w 853"/>
                <a:gd name="T29" fmla="*/ 694 h 714"/>
                <a:gd name="T30" fmla="*/ 695 w 853"/>
                <a:gd name="T31" fmla="*/ 694 h 714"/>
                <a:gd name="T32" fmla="*/ 497 w 853"/>
                <a:gd name="T33" fmla="*/ 666 h 714"/>
                <a:gd name="T34" fmla="*/ 497 w 853"/>
                <a:gd name="T35" fmla="*/ 666 h 714"/>
                <a:gd name="T36" fmla="*/ 513 w 853"/>
                <a:gd name="T37" fmla="*/ 596 h 714"/>
                <a:gd name="T38" fmla="*/ 513 w 853"/>
                <a:gd name="T39" fmla="*/ 596 h 714"/>
                <a:gd name="T40" fmla="*/ 439 w 853"/>
                <a:gd name="T41" fmla="*/ 581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53" h="714">
                  <a:moveTo>
                    <a:pt x="439" y="581"/>
                  </a:moveTo>
                  <a:lnTo>
                    <a:pt x="439" y="581"/>
                  </a:lnTo>
                  <a:cubicBezTo>
                    <a:pt x="429" y="586"/>
                    <a:pt x="416" y="587"/>
                    <a:pt x="405" y="581"/>
                  </a:cubicBezTo>
                  <a:lnTo>
                    <a:pt x="405" y="581"/>
                  </a:lnTo>
                  <a:cubicBezTo>
                    <a:pt x="386" y="571"/>
                    <a:pt x="356" y="497"/>
                    <a:pt x="316" y="502"/>
                  </a:cubicBezTo>
                  <a:lnTo>
                    <a:pt x="316" y="502"/>
                  </a:lnTo>
                  <a:cubicBezTo>
                    <a:pt x="255" y="511"/>
                    <a:pt x="167" y="639"/>
                    <a:pt x="57" y="460"/>
                  </a:cubicBezTo>
                  <a:lnTo>
                    <a:pt x="57" y="460"/>
                  </a:lnTo>
                  <a:cubicBezTo>
                    <a:pt x="0" y="367"/>
                    <a:pt x="33" y="317"/>
                    <a:pt x="5" y="264"/>
                  </a:cubicBezTo>
                  <a:lnTo>
                    <a:pt x="5" y="264"/>
                  </a:lnTo>
                  <a:cubicBezTo>
                    <a:pt x="5" y="264"/>
                    <a:pt x="15" y="293"/>
                    <a:pt x="255" y="146"/>
                  </a:cubicBezTo>
                  <a:lnTo>
                    <a:pt x="255" y="146"/>
                  </a:lnTo>
                  <a:cubicBezTo>
                    <a:pt x="495" y="0"/>
                    <a:pt x="691" y="178"/>
                    <a:pt x="752" y="280"/>
                  </a:cubicBezTo>
                  <a:lnTo>
                    <a:pt x="752" y="280"/>
                  </a:lnTo>
                  <a:cubicBezTo>
                    <a:pt x="813" y="382"/>
                    <a:pt x="852" y="582"/>
                    <a:pt x="695" y="694"/>
                  </a:cubicBezTo>
                  <a:lnTo>
                    <a:pt x="695" y="694"/>
                  </a:lnTo>
                  <a:cubicBezTo>
                    <a:pt x="668" y="713"/>
                    <a:pt x="501" y="679"/>
                    <a:pt x="497" y="666"/>
                  </a:cubicBezTo>
                  <a:lnTo>
                    <a:pt x="497" y="666"/>
                  </a:lnTo>
                  <a:cubicBezTo>
                    <a:pt x="494" y="652"/>
                    <a:pt x="539" y="629"/>
                    <a:pt x="513" y="596"/>
                  </a:cubicBezTo>
                  <a:lnTo>
                    <a:pt x="513" y="596"/>
                  </a:lnTo>
                  <a:cubicBezTo>
                    <a:pt x="492" y="568"/>
                    <a:pt x="468" y="567"/>
                    <a:pt x="439" y="581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3" name="Freeform 612">
              <a:extLst>
                <a:ext uri="{FF2B5EF4-FFF2-40B4-BE49-F238E27FC236}">
                  <a16:creationId xmlns:a16="http://schemas.microsoft.com/office/drawing/2014/main" id="{4BA1A1E7-ABF0-EB4A-A27E-EF5BB40B9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44962"/>
              <a:ext cx="748226" cy="1042019"/>
            </a:xfrm>
            <a:custGeom>
              <a:avLst/>
              <a:gdLst>
                <a:gd name="connsiteX0" fmla="*/ 0 w 748226"/>
                <a:gd name="connsiteY0" fmla="*/ 0 h 1042019"/>
                <a:gd name="connsiteX1" fmla="*/ 371502 w 748226"/>
                <a:gd name="connsiteY1" fmla="*/ 522166 h 1042019"/>
                <a:gd name="connsiteX2" fmla="*/ 748226 w 748226"/>
                <a:gd name="connsiteY2" fmla="*/ 438724 h 1042019"/>
                <a:gd name="connsiteX3" fmla="*/ 449516 w 748226"/>
                <a:gd name="connsiteY3" fmla="*/ 535781 h 1042019"/>
                <a:gd name="connsiteX4" fmla="*/ 745345 w 748226"/>
                <a:gd name="connsiteY4" fmla="*/ 1042019 h 1042019"/>
                <a:gd name="connsiteX5" fmla="*/ 419432 w 748226"/>
                <a:gd name="connsiteY5" fmla="*/ 545556 h 1042019"/>
                <a:gd name="connsiteX6" fmla="*/ 363014 w 748226"/>
                <a:gd name="connsiteY6" fmla="*/ 563887 h 1042019"/>
                <a:gd name="connsiteX7" fmla="*/ 327958 w 748226"/>
                <a:gd name="connsiteY7" fmla="*/ 509433 h 1042019"/>
                <a:gd name="connsiteX8" fmla="*/ 2880 w 748226"/>
                <a:gd name="connsiteY8" fmla="*/ 618618 h 1042019"/>
                <a:gd name="connsiteX9" fmla="*/ 310371 w 748226"/>
                <a:gd name="connsiteY9" fmla="*/ 482113 h 104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226" h="1042019">
                  <a:moveTo>
                    <a:pt x="0" y="0"/>
                  </a:moveTo>
                  <a:lnTo>
                    <a:pt x="371502" y="522166"/>
                  </a:lnTo>
                  <a:lnTo>
                    <a:pt x="748226" y="438724"/>
                  </a:lnTo>
                  <a:lnTo>
                    <a:pt x="449516" y="535781"/>
                  </a:lnTo>
                  <a:lnTo>
                    <a:pt x="745345" y="1042019"/>
                  </a:lnTo>
                  <a:lnTo>
                    <a:pt x="419432" y="545556"/>
                  </a:lnTo>
                  <a:lnTo>
                    <a:pt x="363014" y="563887"/>
                  </a:lnTo>
                  <a:lnTo>
                    <a:pt x="327958" y="509433"/>
                  </a:lnTo>
                  <a:lnTo>
                    <a:pt x="2880" y="618618"/>
                  </a:lnTo>
                  <a:lnTo>
                    <a:pt x="310371" y="48211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4" name="Freeform 540">
              <a:extLst>
                <a:ext uri="{FF2B5EF4-FFF2-40B4-BE49-F238E27FC236}">
                  <a16:creationId xmlns:a16="http://schemas.microsoft.com/office/drawing/2014/main" id="{94809A5F-F167-A24E-95BA-BFC43C0CC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1589" y="8842530"/>
              <a:ext cx="377319" cy="504054"/>
            </a:xfrm>
            <a:custGeom>
              <a:avLst/>
              <a:gdLst>
                <a:gd name="T0" fmla="*/ 575 w 576"/>
                <a:gd name="T1" fmla="*/ 532 h 773"/>
                <a:gd name="T2" fmla="*/ 575 w 576"/>
                <a:gd name="T3" fmla="*/ 532 h 773"/>
                <a:gd name="T4" fmla="*/ 296 w 576"/>
                <a:gd name="T5" fmla="*/ 48 h 773"/>
                <a:gd name="T6" fmla="*/ 296 w 576"/>
                <a:gd name="T7" fmla="*/ 48 h 773"/>
                <a:gd name="T8" fmla="*/ 103 w 576"/>
                <a:gd name="T9" fmla="*/ 27 h 773"/>
                <a:gd name="T10" fmla="*/ 103 w 576"/>
                <a:gd name="T11" fmla="*/ 27 h 773"/>
                <a:gd name="T12" fmla="*/ 99 w 576"/>
                <a:gd name="T13" fmla="*/ 28 h 773"/>
                <a:gd name="T14" fmla="*/ 99 w 576"/>
                <a:gd name="T15" fmla="*/ 28 h 773"/>
                <a:gd name="T16" fmla="*/ 98 w 576"/>
                <a:gd name="T17" fmla="*/ 29 h 773"/>
                <a:gd name="T18" fmla="*/ 0 w 576"/>
                <a:gd name="T19" fmla="*/ 85 h 773"/>
                <a:gd name="T20" fmla="*/ 46 w 576"/>
                <a:gd name="T21" fmla="*/ 82 h 773"/>
                <a:gd name="T22" fmla="*/ 46 w 576"/>
                <a:gd name="T23" fmla="*/ 82 h 773"/>
                <a:gd name="T24" fmla="*/ 17 w 576"/>
                <a:gd name="T25" fmla="*/ 210 h 773"/>
                <a:gd name="T26" fmla="*/ 17 w 576"/>
                <a:gd name="T27" fmla="*/ 210 h 773"/>
                <a:gd name="T28" fmla="*/ 296 w 576"/>
                <a:gd name="T29" fmla="*/ 693 h 773"/>
                <a:gd name="T30" fmla="*/ 296 w 576"/>
                <a:gd name="T31" fmla="*/ 693 h 773"/>
                <a:gd name="T32" fmla="*/ 410 w 576"/>
                <a:gd name="T33" fmla="*/ 731 h 773"/>
                <a:gd name="T34" fmla="*/ 410 w 576"/>
                <a:gd name="T35" fmla="*/ 731 h 773"/>
                <a:gd name="T36" fmla="*/ 389 w 576"/>
                <a:gd name="T37" fmla="*/ 772 h 773"/>
                <a:gd name="T38" fmla="*/ 490 w 576"/>
                <a:gd name="T39" fmla="*/ 714 h 773"/>
                <a:gd name="T40" fmla="*/ 490 w 576"/>
                <a:gd name="T41" fmla="*/ 714 h 773"/>
                <a:gd name="T42" fmla="*/ 496 w 576"/>
                <a:gd name="T43" fmla="*/ 711 h 773"/>
                <a:gd name="T44" fmla="*/ 501 w 576"/>
                <a:gd name="T45" fmla="*/ 708 h 773"/>
                <a:gd name="T46" fmla="*/ 500 w 576"/>
                <a:gd name="T47" fmla="*/ 708 h 773"/>
                <a:gd name="T48" fmla="*/ 500 w 576"/>
                <a:gd name="T49" fmla="*/ 708 h 773"/>
                <a:gd name="T50" fmla="*/ 575 w 576"/>
                <a:gd name="T51" fmla="*/ 53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6" h="773">
                  <a:moveTo>
                    <a:pt x="575" y="532"/>
                  </a:moveTo>
                  <a:lnTo>
                    <a:pt x="575" y="532"/>
                  </a:lnTo>
                  <a:cubicBezTo>
                    <a:pt x="575" y="354"/>
                    <a:pt x="450" y="138"/>
                    <a:pt x="296" y="48"/>
                  </a:cubicBezTo>
                  <a:lnTo>
                    <a:pt x="296" y="48"/>
                  </a:lnTo>
                  <a:cubicBezTo>
                    <a:pt x="221" y="5"/>
                    <a:pt x="152" y="0"/>
                    <a:pt x="103" y="27"/>
                  </a:cubicBezTo>
                  <a:lnTo>
                    <a:pt x="103" y="27"/>
                  </a:lnTo>
                  <a:lnTo>
                    <a:pt x="99" y="28"/>
                  </a:lnTo>
                  <a:lnTo>
                    <a:pt x="99" y="28"/>
                  </a:lnTo>
                  <a:cubicBezTo>
                    <a:pt x="99" y="29"/>
                    <a:pt x="99" y="29"/>
                    <a:pt x="98" y="29"/>
                  </a:cubicBezTo>
                  <a:lnTo>
                    <a:pt x="0" y="85"/>
                  </a:lnTo>
                  <a:lnTo>
                    <a:pt x="46" y="82"/>
                  </a:lnTo>
                  <a:lnTo>
                    <a:pt x="46" y="82"/>
                  </a:lnTo>
                  <a:cubicBezTo>
                    <a:pt x="28" y="115"/>
                    <a:pt x="17" y="158"/>
                    <a:pt x="17" y="210"/>
                  </a:cubicBezTo>
                  <a:lnTo>
                    <a:pt x="17" y="210"/>
                  </a:lnTo>
                  <a:cubicBezTo>
                    <a:pt x="17" y="388"/>
                    <a:pt x="142" y="604"/>
                    <a:pt x="296" y="693"/>
                  </a:cubicBezTo>
                  <a:lnTo>
                    <a:pt x="296" y="693"/>
                  </a:lnTo>
                  <a:cubicBezTo>
                    <a:pt x="337" y="717"/>
                    <a:pt x="375" y="728"/>
                    <a:pt x="410" y="731"/>
                  </a:cubicBezTo>
                  <a:lnTo>
                    <a:pt x="410" y="731"/>
                  </a:lnTo>
                  <a:cubicBezTo>
                    <a:pt x="404" y="743"/>
                    <a:pt x="389" y="772"/>
                    <a:pt x="389" y="772"/>
                  </a:cubicBezTo>
                  <a:lnTo>
                    <a:pt x="490" y="714"/>
                  </a:lnTo>
                  <a:lnTo>
                    <a:pt x="490" y="714"/>
                  </a:lnTo>
                  <a:cubicBezTo>
                    <a:pt x="492" y="713"/>
                    <a:pt x="494" y="712"/>
                    <a:pt x="496" y="711"/>
                  </a:cubicBezTo>
                  <a:lnTo>
                    <a:pt x="501" y="708"/>
                  </a:lnTo>
                  <a:lnTo>
                    <a:pt x="500" y="708"/>
                  </a:lnTo>
                  <a:lnTo>
                    <a:pt x="500" y="708"/>
                  </a:lnTo>
                  <a:cubicBezTo>
                    <a:pt x="547" y="677"/>
                    <a:pt x="575" y="617"/>
                    <a:pt x="575" y="53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5" name="Freeform 541">
              <a:extLst>
                <a:ext uri="{FF2B5EF4-FFF2-40B4-BE49-F238E27FC236}">
                  <a16:creationId xmlns:a16="http://schemas.microsoft.com/office/drawing/2014/main" id="{99F946D3-7286-C744-BBCA-761D7AC09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6863" y="8854052"/>
              <a:ext cx="365799" cy="538617"/>
            </a:xfrm>
            <a:custGeom>
              <a:avLst/>
              <a:gdLst>
                <a:gd name="T0" fmla="*/ 558 w 559"/>
                <a:gd name="T1" fmla="*/ 572 h 824"/>
                <a:gd name="T2" fmla="*/ 558 w 559"/>
                <a:gd name="T3" fmla="*/ 572 h 824"/>
                <a:gd name="T4" fmla="*/ 279 w 559"/>
                <a:gd name="T5" fmla="*/ 733 h 824"/>
                <a:gd name="T6" fmla="*/ 279 w 559"/>
                <a:gd name="T7" fmla="*/ 733 h 824"/>
                <a:gd name="T8" fmla="*/ 0 w 559"/>
                <a:gd name="T9" fmla="*/ 250 h 824"/>
                <a:gd name="T10" fmla="*/ 0 w 559"/>
                <a:gd name="T11" fmla="*/ 250 h 824"/>
                <a:gd name="T12" fmla="*/ 279 w 559"/>
                <a:gd name="T13" fmla="*/ 89 h 824"/>
                <a:gd name="T14" fmla="*/ 279 w 559"/>
                <a:gd name="T15" fmla="*/ 89 h 824"/>
                <a:gd name="T16" fmla="*/ 558 w 559"/>
                <a:gd name="T17" fmla="*/ 572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24">
                  <a:moveTo>
                    <a:pt x="558" y="572"/>
                  </a:moveTo>
                  <a:lnTo>
                    <a:pt x="558" y="572"/>
                  </a:lnTo>
                  <a:cubicBezTo>
                    <a:pt x="558" y="750"/>
                    <a:pt x="433" y="823"/>
                    <a:pt x="279" y="733"/>
                  </a:cubicBezTo>
                  <a:lnTo>
                    <a:pt x="279" y="733"/>
                  </a:lnTo>
                  <a:cubicBezTo>
                    <a:pt x="124" y="644"/>
                    <a:pt x="0" y="428"/>
                    <a:pt x="0" y="250"/>
                  </a:cubicBezTo>
                  <a:lnTo>
                    <a:pt x="0" y="250"/>
                  </a:lnTo>
                  <a:cubicBezTo>
                    <a:pt x="0" y="72"/>
                    <a:pt x="124" y="0"/>
                    <a:pt x="279" y="89"/>
                  </a:cubicBezTo>
                  <a:lnTo>
                    <a:pt x="279" y="89"/>
                  </a:lnTo>
                  <a:cubicBezTo>
                    <a:pt x="433" y="178"/>
                    <a:pt x="558" y="394"/>
                    <a:pt x="558" y="5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6" name="Freeform 542">
              <a:extLst>
                <a:ext uri="{FF2B5EF4-FFF2-40B4-BE49-F238E27FC236}">
                  <a16:creationId xmlns:a16="http://schemas.microsoft.com/office/drawing/2014/main" id="{DFD6BB4C-D248-414C-9FB4-9D77803031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3595" y="8977905"/>
              <a:ext cx="103691" cy="270748"/>
            </a:xfrm>
            <a:custGeom>
              <a:avLst/>
              <a:gdLst>
                <a:gd name="T0" fmla="*/ 78 w 158"/>
                <a:gd name="T1" fmla="*/ 398 h 413"/>
                <a:gd name="T2" fmla="*/ 40 w 158"/>
                <a:gd name="T3" fmla="*/ 369 h 413"/>
                <a:gd name="T4" fmla="*/ 15 w 158"/>
                <a:gd name="T5" fmla="*/ 334 h 413"/>
                <a:gd name="T6" fmla="*/ 4 w 158"/>
                <a:gd name="T7" fmla="*/ 293 h 413"/>
                <a:gd name="T8" fmla="*/ 51 w 158"/>
                <a:gd name="T9" fmla="*/ 277 h 413"/>
                <a:gd name="T10" fmla="*/ 52 w 158"/>
                <a:gd name="T11" fmla="*/ 301 h 413"/>
                <a:gd name="T12" fmla="*/ 56 w 158"/>
                <a:gd name="T13" fmla="*/ 322 h 413"/>
                <a:gd name="T14" fmla="*/ 65 w 158"/>
                <a:gd name="T15" fmla="*/ 340 h 413"/>
                <a:gd name="T16" fmla="*/ 80 w 158"/>
                <a:gd name="T17" fmla="*/ 353 h 413"/>
                <a:gd name="T18" fmla="*/ 89 w 158"/>
                <a:gd name="T19" fmla="*/ 356 h 413"/>
                <a:gd name="T20" fmla="*/ 96 w 158"/>
                <a:gd name="T21" fmla="*/ 355 h 413"/>
                <a:gd name="T22" fmla="*/ 102 w 158"/>
                <a:gd name="T23" fmla="*/ 349 h 413"/>
                <a:gd name="T24" fmla="*/ 105 w 158"/>
                <a:gd name="T25" fmla="*/ 339 h 413"/>
                <a:gd name="T26" fmla="*/ 106 w 158"/>
                <a:gd name="T27" fmla="*/ 325 h 413"/>
                <a:gd name="T28" fmla="*/ 106 w 158"/>
                <a:gd name="T29" fmla="*/ 309 h 413"/>
                <a:gd name="T30" fmla="*/ 107 w 158"/>
                <a:gd name="T31" fmla="*/ 290 h 413"/>
                <a:gd name="T32" fmla="*/ 106 w 158"/>
                <a:gd name="T33" fmla="*/ 268 h 413"/>
                <a:gd name="T34" fmla="*/ 104 w 158"/>
                <a:gd name="T35" fmla="*/ 248 h 413"/>
                <a:gd name="T36" fmla="*/ 99 w 158"/>
                <a:gd name="T37" fmla="*/ 231 h 413"/>
                <a:gd name="T38" fmla="*/ 91 w 158"/>
                <a:gd name="T39" fmla="*/ 217 h 413"/>
                <a:gd name="T40" fmla="*/ 78 w 158"/>
                <a:gd name="T41" fmla="*/ 207 h 413"/>
                <a:gd name="T42" fmla="*/ 60 w 158"/>
                <a:gd name="T43" fmla="*/ 204 h 413"/>
                <a:gd name="T44" fmla="*/ 50 w 158"/>
                <a:gd name="T45" fmla="*/ 221 h 413"/>
                <a:gd name="T46" fmla="*/ 7 w 158"/>
                <a:gd name="T47" fmla="*/ 0 h 413"/>
                <a:gd name="T48" fmla="*/ 146 w 158"/>
                <a:gd name="T49" fmla="*/ 135 h 413"/>
                <a:gd name="T50" fmla="*/ 48 w 158"/>
                <a:gd name="T51" fmla="*/ 163 h 413"/>
                <a:gd name="T52" fmla="*/ 65 w 158"/>
                <a:gd name="T53" fmla="*/ 160 h 413"/>
                <a:gd name="T54" fmla="*/ 89 w 158"/>
                <a:gd name="T55" fmla="*/ 168 h 413"/>
                <a:gd name="T56" fmla="*/ 121 w 158"/>
                <a:gd name="T57" fmla="*/ 193 h 413"/>
                <a:gd name="T58" fmla="*/ 142 w 158"/>
                <a:gd name="T59" fmla="*/ 227 h 413"/>
                <a:gd name="T60" fmla="*/ 153 w 158"/>
                <a:gd name="T61" fmla="*/ 268 h 413"/>
                <a:gd name="T62" fmla="*/ 157 w 158"/>
                <a:gd name="T63" fmla="*/ 315 h 413"/>
                <a:gd name="T64" fmla="*/ 156 w 158"/>
                <a:gd name="T65" fmla="*/ 355 h 413"/>
                <a:gd name="T66" fmla="*/ 148 w 158"/>
                <a:gd name="T67" fmla="*/ 386 h 413"/>
                <a:gd name="T68" fmla="*/ 134 w 158"/>
                <a:gd name="T69" fmla="*/ 407 h 413"/>
                <a:gd name="T70" fmla="*/ 111 w 158"/>
                <a:gd name="T71" fmla="*/ 411 h 413"/>
                <a:gd name="T72" fmla="*/ 78 w 158"/>
                <a:gd name="T73" fmla="*/ 3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413">
                  <a:moveTo>
                    <a:pt x="78" y="398"/>
                  </a:moveTo>
                  <a:lnTo>
                    <a:pt x="78" y="398"/>
                  </a:lnTo>
                  <a:cubicBezTo>
                    <a:pt x="62" y="390"/>
                    <a:pt x="50" y="380"/>
                    <a:pt x="40" y="369"/>
                  </a:cubicBezTo>
                  <a:lnTo>
                    <a:pt x="40" y="369"/>
                  </a:lnTo>
                  <a:cubicBezTo>
                    <a:pt x="30" y="358"/>
                    <a:pt x="21" y="346"/>
                    <a:pt x="15" y="334"/>
                  </a:cubicBezTo>
                  <a:lnTo>
                    <a:pt x="15" y="334"/>
                  </a:lnTo>
                  <a:cubicBezTo>
                    <a:pt x="10" y="320"/>
                    <a:pt x="6" y="307"/>
                    <a:pt x="4" y="293"/>
                  </a:cubicBezTo>
                  <a:lnTo>
                    <a:pt x="4" y="293"/>
                  </a:lnTo>
                  <a:cubicBezTo>
                    <a:pt x="1" y="279"/>
                    <a:pt x="0" y="264"/>
                    <a:pt x="0" y="247"/>
                  </a:cubicBezTo>
                  <a:lnTo>
                    <a:pt x="51" y="277"/>
                  </a:lnTo>
                  <a:lnTo>
                    <a:pt x="51" y="277"/>
                  </a:lnTo>
                  <a:cubicBezTo>
                    <a:pt x="51" y="286"/>
                    <a:pt x="52" y="294"/>
                    <a:pt x="52" y="301"/>
                  </a:cubicBezTo>
                  <a:lnTo>
                    <a:pt x="52" y="301"/>
                  </a:lnTo>
                  <a:cubicBezTo>
                    <a:pt x="53" y="308"/>
                    <a:pt x="54" y="315"/>
                    <a:pt x="56" y="322"/>
                  </a:cubicBezTo>
                  <a:lnTo>
                    <a:pt x="56" y="322"/>
                  </a:lnTo>
                  <a:cubicBezTo>
                    <a:pt x="58" y="329"/>
                    <a:pt x="61" y="335"/>
                    <a:pt x="65" y="340"/>
                  </a:cubicBezTo>
                  <a:lnTo>
                    <a:pt x="65" y="340"/>
                  </a:lnTo>
                  <a:cubicBezTo>
                    <a:pt x="68" y="345"/>
                    <a:pt x="73" y="350"/>
                    <a:pt x="80" y="353"/>
                  </a:cubicBezTo>
                  <a:lnTo>
                    <a:pt x="80" y="353"/>
                  </a:lnTo>
                  <a:cubicBezTo>
                    <a:pt x="83" y="355"/>
                    <a:pt x="86" y="356"/>
                    <a:pt x="89" y="356"/>
                  </a:cubicBezTo>
                  <a:lnTo>
                    <a:pt x="89" y="356"/>
                  </a:lnTo>
                  <a:cubicBezTo>
                    <a:pt x="92" y="357"/>
                    <a:pt x="95" y="356"/>
                    <a:pt x="96" y="355"/>
                  </a:cubicBezTo>
                  <a:lnTo>
                    <a:pt x="96" y="355"/>
                  </a:lnTo>
                  <a:cubicBezTo>
                    <a:pt x="99" y="355"/>
                    <a:pt x="101" y="352"/>
                    <a:pt x="102" y="349"/>
                  </a:cubicBezTo>
                  <a:lnTo>
                    <a:pt x="102" y="349"/>
                  </a:lnTo>
                  <a:cubicBezTo>
                    <a:pt x="103" y="345"/>
                    <a:pt x="104" y="342"/>
                    <a:pt x="105" y="339"/>
                  </a:cubicBezTo>
                  <a:lnTo>
                    <a:pt x="105" y="339"/>
                  </a:lnTo>
                  <a:cubicBezTo>
                    <a:pt x="105" y="336"/>
                    <a:pt x="106" y="331"/>
                    <a:pt x="106" y="325"/>
                  </a:cubicBezTo>
                  <a:lnTo>
                    <a:pt x="106" y="325"/>
                  </a:lnTo>
                  <a:cubicBezTo>
                    <a:pt x="106" y="319"/>
                    <a:pt x="106" y="314"/>
                    <a:pt x="106" y="309"/>
                  </a:cubicBezTo>
                  <a:lnTo>
                    <a:pt x="106" y="309"/>
                  </a:lnTo>
                  <a:cubicBezTo>
                    <a:pt x="107" y="305"/>
                    <a:pt x="107" y="299"/>
                    <a:pt x="107" y="290"/>
                  </a:cubicBezTo>
                  <a:lnTo>
                    <a:pt x="107" y="290"/>
                  </a:lnTo>
                  <a:cubicBezTo>
                    <a:pt x="107" y="281"/>
                    <a:pt x="106" y="274"/>
                    <a:pt x="106" y="268"/>
                  </a:cubicBezTo>
                  <a:lnTo>
                    <a:pt x="106" y="268"/>
                  </a:lnTo>
                  <a:cubicBezTo>
                    <a:pt x="106" y="262"/>
                    <a:pt x="105" y="255"/>
                    <a:pt x="104" y="248"/>
                  </a:cubicBezTo>
                  <a:lnTo>
                    <a:pt x="104" y="248"/>
                  </a:lnTo>
                  <a:cubicBezTo>
                    <a:pt x="103" y="241"/>
                    <a:pt x="102" y="235"/>
                    <a:pt x="99" y="231"/>
                  </a:cubicBezTo>
                  <a:lnTo>
                    <a:pt x="99" y="231"/>
                  </a:lnTo>
                  <a:cubicBezTo>
                    <a:pt x="98" y="226"/>
                    <a:pt x="95" y="222"/>
                    <a:pt x="91" y="217"/>
                  </a:cubicBezTo>
                  <a:lnTo>
                    <a:pt x="91" y="217"/>
                  </a:lnTo>
                  <a:cubicBezTo>
                    <a:pt x="88" y="213"/>
                    <a:pt x="83" y="209"/>
                    <a:pt x="78" y="207"/>
                  </a:cubicBezTo>
                  <a:lnTo>
                    <a:pt x="78" y="207"/>
                  </a:lnTo>
                  <a:cubicBezTo>
                    <a:pt x="71" y="203"/>
                    <a:pt x="65" y="202"/>
                    <a:pt x="60" y="204"/>
                  </a:cubicBezTo>
                  <a:lnTo>
                    <a:pt x="60" y="204"/>
                  </a:lnTo>
                  <a:cubicBezTo>
                    <a:pt x="55" y="207"/>
                    <a:pt x="52" y="213"/>
                    <a:pt x="50" y="221"/>
                  </a:cubicBezTo>
                  <a:lnTo>
                    <a:pt x="5" y="194"/>
                  </a:lnTo>
                  <a:lnTo>
                    <a:pt x="7" y="0"/>
                  </a:lnTo>
                  <a:lnTo>
                    <a:pt x="146" y="80"/>
                  </a:lnTo>
                  <a:lnTo>
                    <a:pt x="146" y="135"/>
                  </a:lnTo>
                  <a:lnTo>
                    <a:pt x="52" y="81"/>
                  </a:lnTo>
                  <a:lnTo>
                    <a:pt x="48" y="163"/>
                  </a:lnTo>
                  <a:lnTo>
                    <a:pt x="48" y="163"/>
                  </a:lnTo>
                  <a:cubicBezTo>
                    <a:pt x="52" y="160"/>
                    <a:pt x="58" y="158"/>
                    <a:pt x="65" y="160"/>
                  </a:cubicBezTo>
                  <a:lnTo>
                    <a:pt x="65" y="160"/>
                  </a:lnTo>
                  <a:cubicBezTo>
                    <a:pt x="72" y="161"/>
                    <a:pt x="81" y="163"/>
                    <a:pt x="89" y="168"/>
                  </a:cubicBezTo>
                  <a:lnTo>
                    <a:pt x="89" y="168"/>
                  </a:lnTo>
                  <a:cubicBezTo>
                    <a:pt x="101" y="174"/>
                    <a:pt x="112" y="183"/>
                    <a:pt x="121" y="193"/>
                  </a:cubicBezTo>
                  <a:lnTo>
                    <a:pt x="121" y="193"/>
                  </a:lnTo>
                  <a:cubicBezTo>
                    <a:pt x="129" y="203"/>
                    <a:pt x="136" y="214"/>
                    <a:pt x="142" y="227"/>
                  </a:cubicBezTo>
                  <a:lnTo>
                    <a:pt x="142" y="227"/>
                  </a:lnTo>
                  <a:cubicBezTo>
                    <a:pt x="147" y="239"/>
                    <a:pt x="151" y="253"/>
                    <a:pt x="153" y="268"/>
                  </a:cubicBezTo>
                  <a:lnTo>
                    <a:pt x="153" y="268"/>
                  </a:lnTo>
                  <a:cubicBezTo>
                    <a:pt x="156" y="282"/>
                    <a:pt x="157" y="298"/>
                    <a:pt x="157" y="315"/>
                  </a:cubicBezTo>
                  <a:lnTo>
                    <a:pt x="157" y="315"/>
                  </a:lnTo>
                  <a:cubicBezTo>
                    <a:pt x="157" y="330"/>
                    <a:pt x="157" y="344"/>
                    <a:pt x="156" y="355"/>
                  </a:cubicBezTo>
                  <a:lnTo>
                    <a:pt x="156" y="355"/>
                  </a:lnTo>
                  <a:cubicBezTo>
                    <a:pt x="154" y="367"/>
                    <a:pt x="152" y="377"/>
                    <a:pt x="148" y="386"/>
                  </a:cubicBezTo>
                  <a:lnTo>
                    <a:pt x="148" y="386"/>
                  </a:lnTo>
                  <a:cubicBezTo>
                    <a:pt x="145" y="396"/>
                    <a:pt x="140" y="403"/>
                    <a:pt x="134" y="407"/>
                  </a:cubicBezTo>
                  <a:lnTo>
                    <a:pt x="134" y="407"/>
                  </a:lnTo>
                  <a:cubicBezTo>
                    <a:pt x="129" y="410"/>
                    <a:pt x="121" y="412"/>
                    <a:pt x="111" y="411"/>
                  </a:cubicBezTo>
                  <a:lnTo>
                    <a:pt x="111" y="411"/>
                  </a:lnTo>
                  <a:cubicBezTo>
                    <a:pt x="102" y="410"/>
                    <a:pt x="91" y="406"/>
                    <a:pt x="78" y="39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7" name="Freeform 616">
              <a:extLst>
                <a:ext uri="{FF2B5EF4-FFF2-40B4-BE49-F238E27FC236}">
                  <a16:creationId xmlns:a16="http://schemas.microsoft.com/office/drawing/2014/main" id="{922896FC-F4A8-0D4F-893A-D0596E5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93967" y="5291118"/>
              <a:ext cx="1246517" cy="3803775"/>
            </a:xfrm>
            <a:custGeom>
              <a:avLst/>
              <a:gdLst>
                <a:gd name="connsiteX0" fmla="*/ 1161738 w 1246517"/>
                <a:gd name="connsiteY0" fmla="*/ 3643048 h 3803775"/>
                <a:gd name="connsiteX1" fmla="*/ 1228909 w 1246517"/>
                <a:gd name="connsiteY1" fmla="*/ 3682265 h 3803775"/>
                <a:gd name="connsiteX2" fmla="*/ 1246517 w 1246517"/>
                <a:gd name="connsiteY2" fmla="*/ 3716906 h 3803775"/>
                <a:gd name="connsiteX3" fmla="*/ 1246517 w 1246517"/>
                <a:gd name="connsiteY3" fmla="*/ 3788150 h 3803775"/>
                <a:gd name="connsiteX4" fmla="*/ 1228909 w 1246517"/>
                <a:gd name="connsiteY4" fmla="*/ 3801876 h 3803775"/>
                <a:gd name="connsiteX5" fmla="*/ 1161738 w 1246517"/>
                <a:gd name="connsiteY5" fmla="*/ 3762659 h 3803775"/>
                <a:gd name="connsiteX6" fmla="*/ 1143478 w 1246517"/>
                <a:gd name="connsiteY6" fmla="*/ 3728017 h 3803775"/>
                <a:gd name="connsiteX7" fmla="*/ 1143478 w 1246517"/>
                <a:gd name="connsiteY7" fmla="*/ 3656774 h 3803775"/>
                <a:gd name="connsiteX8" fmla="*/ 1161738 w 1246517"/>
                <a:gd name="connsiteY8" fmla="*/ 3643048 h 3803775"/>
                <a:gd name="connsiteX9" fmla="*/ 847678 w 1246517"/>
                <a:gd name="connsiteY9" fmla="*/ 3502076 h 3803775"/>
                <a:gd name="connsiteX10" fmla="*/ 870963 w 1246517"/>
                <a:gd name="connsiteY10" fmla="*/ 3504392 h 3803775"/>
                <a:gd name="connsiteX11" fmla="*/ 903759 w 1246517"/>
                <a:gd name="connsiteY11" fmla="*/ 3561959 h 3803775"/>
                <a:gd name="connsiteX12" fmla="*/ 870963 w 1246517"/>
                <a:gd name="connsiteY12" fmla="*/ 3580486 h 3803775"/>
                <a:gd name="connsiteX13" fmla="*/ 838167 w 1246517"/>
                <a:gd name="connsiteY13" fmla="*/ 3523581 h 3803775"/>
                <a:gd name="connsiteX14" fmla="*/ 847678 w 1246517"/>
                <a:gd name="connsiteY14" fmla="*/ 3502076 h 3803775"/>
                <a:gd name="connsiteX15" fmla="*/ 732712 w 1246517"/>
                <a:gd name="connsiteY15" fmla="*/ 3432949 h 3803775"/>
                <a:gd name="connsiteX16" fmla="*/ 755751 w 1246517"/>
                <a:gd name="connsiteY16" fmla="*/ 3435265 h 3803775"/>
                <a:gd name="connsiteX17" fmla="*/ 788547 w 1246517"/>
                <a:gd name="connsiteY17" fmla="*/ 3492170 h 3803775"/>
                <a:gd name="connsiteX18" fmla="*/ 755751 w 1246517"/>
                <a:gd name="connsiteY18" fmla="*/ 3511359 h 3803775"/>
                <a:gd name="connsiteX19" fmla="*/ 722955 w 1246517"/>
                <a:gd name="connsiteY19" fmla="*/ 3454454 h 3803775"/>
                <a:gd name="connsiteX20" fmla="*/ 732712 w 1246517"/>
                <a:gd name="connsiteY20" fmla="*/ 3432949 h 3803775"/>
                <a:gd name="connsiteX21" fmla="*/ 617254 w 1246517"/>
                <a:gd name="connsiteY21" fmla="*/ 3366648 h 3803775"/>
                <a:gd name="connsiteX22" fmla="*/ 640539 w 1246517"/>
                <a:gd name="connsiteY22" fmla="*/ 3368948 h 3803775"/>
                <a:gd name="connsiteX23" fmla="*/ 673335 w 1246517"/>
                <a:gd name="connsiteY23" fmla="*/ 3425471 h 3803775"/>
                <a:gd name="connsiteX24" fmla="*/ 640539 w 1246517"/>
                <a:gd name="connsiteY24" fmla="*/ 3444532 h 3803775"/>
                <a:gd name="connsiteX25" fmla="*/ 607743 w 1246517"/>
                <a:gd name="connsiteY25" fmla="*/ 3388008 h 3803775"/>
                <a:gd name="connsiteX26" fmla="*/ 617254 w 1246517"/>
                <a:gd name="connsiteY26" fmla="*/ 3366648 h 3803775"/>
                <a:gd name="connsiteX27" fmla="*/ 1161738 w 1246517"/>
                <a:gd name="connsiteY27" fmla="*/ 3164898 h 3803775"/>
                <a:gd name="connsiteX28" fmla="*/ 1228909 w 1246517"/>
                <a:gd name="connsiteY28" fmla="*/ 3203964 h 3803775"/>
                <a:gd name="connsiteX29" fmla="*/ 1246517 w 1246517"/>
                <a:gd name="connsiteY29" fmla="*/ 3238473 h 3803775"/>
                <a:gd name="connsiteX30" fmla="*/ 1246517 w 1246517"/>
                <a:gd name="connsiteY30" fmla="*/ 3309444 h 3803775"/>
                <a:gd name="connsiteX31" fmla="*/ 1228909 w 1246517"/>
                <a:gd name="connsiteY31" fmla="*/ 3323117 h 3803775"/>
                <a:gd name="connsiteX32" fmla="*/ 1161738 w 1246517"/>
                <a:gd name="connsiteY32" fmla="*/ 3284702 h 3803775"/>
                <a:gd name="connsiteX33" fmla="*/ 1143478 w 1246517"/>
                <a:gd name="connsiteY33" fmla="*/ 3249542 h 3803775"/>
                <a:gd name="connsiteX34" fmla="*/ 1143478 w 1246517"/>
                <a:gd name="connsiteY34" fmla="*/ 3179222 h 3803775"/>
                <a:gd name="connsiteX35" fmla="*/ 1161738 w 1246517"/>
                <a:gd name="connsiteY35" fmla="*/ 3164898 h 3803775"/>
                <a:gd name="connsiteX36" fmla="*/ 8153 w 1246517"/>
                <a:gd name="connsiteY36" fmla="*/ 3009898 h 3803775"/>
                <a:gd name="connsiteX37" fmla="*/ 28048 w 1246517"/>
                <a:gd name="connsiteY37" fmla="*/ 3010473 h 3803775"/>
                <a:gd name="connsiteX38" fmla="*/ 226993 w 1246517"/>
                <a:gd name="connsiteY38" fmla="*/ 3126116 h 3803775"/>
                <a:gd name="connsiteX39" fmla="*/ 255694 w 1246517"/>
                <a:gd name="connsiteY39" fmla="*/ 3180653 h 3803775"/>
                <a:gd name="connsiteX40" fmla="*/ 226993 w 1246517"/>
                <a:gd name="connsiteY40" fmla="*/ 3201679 h 3803775"/>
                <a:gd name="connsiteX41" fmla="*/ 28048 w 1246517"/>
                <a:gd name="connsiteY41" fmla="*/ 3086036 h 3803775"/>
                <a:gd name="connsiteX42" fmla="*/ 0 w 1246517"/>
                <a:gd name="connsiteY42" fmla="*/ 3031499 h 3803775"/>
                <a:gd name="connsiteX43" fmla="*/ 8153 w 1246517"/>
                <a:gd name="connsiteY43" fmla="*/ 3009898 h 3803775"/>
                <a:gd name="connsiteX44" fmla="*/ 689261 w 1246517"/>
                <a:gd name="connsiteY44" fmla="*/ 2925960 h 3803775"/>
                <a:gd name="connsiteX45" fmla="*/ 712545 w 1246517"/>
                <a:gd name="connsiteY45" fmla="*/ 2928261 h 3803775"/>
                <a:gd name="connsiteX46" fmla="*/ 745340 w 1246517"/>
                <a:gd name="connsiteY46" fmla="*/ 2985441 h 3803775"/>
                <a:gd name="connsiteX47" fmla="*/ 712545 w 1246517"/>
                <a:gd name="connsiteY47" fmla="*/ 3004502 h 3803775"/>
                <a:gd name="connsiteX48" fmla="*/ 679750 w 1246517"/>
                <a:gd name="connsiteY48" fmla="*/ 2947321 h 3803775"/>
                <a:gd name="connsiteX49" fmla="*/ 689261 w 1246517"/>
                <a:gd name="connsiteY49" fmla="*/ 2925960 h 3803775"/>
                <a:gd name="connsiteX50" fmla="*/ 574049 w 1246517"/>
                <a:gd name="connsiteY50" fmla="*/ 2859687 h 3803775"/>
                <a:gd name="connsiteX51" fmla="*/ 597333 w 1246517"/>
                <a:gd name="connsiteY51" fmla="*/ 2862086 h 3803775"/>
                <a:gd name="connsiteX52" fmla="*/ 630128 w 1246517"/>
                <a:gd name="connsiteY52" fmla="*/ 2918991 h 3803775"/>
                <a:gd name="connsiteX53" fmla="*/ 597333 w 1246517"/>
                <a:gd name="connsiteY53" fmla="*/ 2938180 h 3803775"/>
                <a:gd name="connsiteX54" fmla="*/ 564538 w 1246517"/>
                <a:gd name="connsiteY54" fmla="*/ 2880613 h 3803775"/>
                <a:gd name="connsiteX55" fmla="*/ 574049 w 1246517"/>
                <a:gd name="connsiteY55" fmla="*/ 2859687 h 3803775"/>
                <a:gd name="connsiteX56" fmla="*/ 458837 w 1246517"/>
                <a:gd name="connsiteY56" fmla="*/ 2790588 h 3803775"/>
                <a:gd name="connsiteX57" fmla="*/ 482121 w 1246517"/>
                <a:gd name="connsiteY57" fmla="*/ 2792888 h 3803775"/>
                <a:gd name="connsiteX58" fmla="*/ 514916 w 1246517"/>
                <a:gd name="connsiteY58" fmla="*/ 2850069 h 3803775"/>
                <a:gd name="connsiteX59" fmla="*/ 482121 w 1246517"/>
                <a:gd name="connsiteY59" fmla="*/ 2869129 h 3803775"/>
                <a:gd name="connsiteX60" fmla="*/ 449326 w 1246517"/>
                <a:gd name="connsiteY60" fmla="*/ 2811948 h 3803775"/>
                <a:gd name="connsiteX61" fmla="*/ 458837 w 1246517"/>
                <a:gd name="connsiteY61" fmla="*/ 2790588 h 3803775"/>
                <a:gd name="connsiteX62" fmla="*/ 343856 w 1246517"/>
                <a:gd name="connsiteY62" fmla="*/ 2724752 h 3803775"/>
                <a:gd name="connsiteX63" fmla="*/ 367237 w 1246517"/>
                <a:gd name="connsiteY63" fmla="*/ 2727298 h 3803775"/>
                <a:gd name="connsiteX64" fmla="*/ 399711 w 1246517"/>
                <a:gd name="connsiteY64" fmla="*/ 2783822 h 3803775"/>
                <a:gd name="connsiteX65" fmla="*/ 367237 w 1246517"/>
                <a:gd name="connsiteY65" fmla="*/ 2802882 h 3803775"/>
                <a:gd name="connsiteX66" fmla="*/ 334114 w 1246517"/>
                <a:gd name="connsiteY66" fmla="*/ 2746359 h 3803775"/>
                <a:gd name="connsiteX67" fmla="*/ 343856 w 1246517"/>
                <a:gd name="connsiteY67" fmla="*/ 2724752 h 3803775"/>
                <a:gd name="connsiteX68" fmla="*/ 1161738 w 1246517"/>
                <a:gd name="connsiteY68" fmla="*/ 2689648 h 3803775"/>
                <a:gd name="connsiteX69" fmla="*/ 1228909 w 1246517"/>
                <a:gd name="connsiteY69" fmla="*/ 2728714 h 3803775"/>
                <a:gd name="connsiteX70" fmla="*/ 1246517 w 1246517"/>
                <a:gd name="connsiteY70" fmla="*/ 2763222 h 3803775"/>
                <a:gd name="connsiteX71" fmla="*/ 1246517 w 1246517"/>
                <a:gd name="connsiteY71" fmla="*/ 2834192 h 3803775"/>
                <a:gd name="connsiteX72" fmla="*/ 1228909 w 1246517"/>
                <a:gd name="connsiteY72" fmla="*/ 2847865 h 3803775"/>
                <a:gd name="connsiteX73" fmla="*/ 1161738 w 1246517"/>
                <a:gd name="connsiteY73" fmla="*/ 2809450 h 3803775"/>
                <a:gd name="connsiteX74" fmla="*/ 1143478 w 1246517"/>
                <a:gd name="connsiteY74" fmla="*/ 2774291 h 3803775"/>
                <a:gd name="connsiteX75" fmla="*/ 1143478 w 1246517"/>
                <a:gd name="connsiteY75" fmla="*/ 2703972 h 3803775"/>
                <a:gd name="connsiteX76" fmla="*/ 1161738 w 1246517"/>
                <a:gd name="connsiteY76" fmla="*/ 2689648 h 3803775"/>
                <a:gd name="connsiteX77" fmla="*/ 8153 w 1246517"/>
                <a:gd name="connsiteY77" fmla="*/ 2531603 h 3803775"/>
                <a:gd name="connsiteX78" fmla="*/ 28048 w 1246517"/>
                <a:gd name="connsiteY78" fmla="*/ 2532343 h 3803775"/>
                <a:gd name="connsiteX79" fmla="*/ 226993 w 1246517"/>
                <a:gd name="connsiteY79" fmla="*/ 2647986 h 3803775"/>
                <a:gd name="connsiteX80" fmla="*/ 255694 w 1246517"/>
                <a:gd name="connsiteY80" fmla="*/ 2702523 h 3803775"/>
                <a:gd name="connsiteX81" fmla="*/ 226993 w 1246517"/>
                <a:gd name="connsiteY81" fmla="*/ 2724206 h 3803775"/>
                <a:gd name="connsiteX82" fmla="*/ 28048 w 1246517"/>
                <a:gd name="connsiteY82" fmla="*/ 2608562 h 3803775"/>
                <a:gd name="connsiteX83" fmla="*/ 0 w 1246517"/>
                <a:gd name="connsiteY83" fmla="*/ 2554026 h 3803775"/>
                <a:gd name="connsiteX84" fmla="*/ 8153 w 1246517"/>
                <a:gd name="connsiteY84" fmla="*/ 2531603 h 3803775"/>
                <a:gd name="connsiteX85" fmla="*/ 689261 w 1246517"/>
                <a:gd name="connsiteY85" fmla="*/ 2448241 h 3803775"/>
                <a:gd name="connsiteX86" fmla="*/ 712545 w 1246517"/>
                <a:gd name="connsiteY86" fmla="*/ 2450788 h 3803775"/>
                <a:gd name="connsiteX87" fmla="*/ 745340 w 1246517"/>
                <a:gd name="connsiteY87" fmla="*/ 2507311 h 3803775"/>
                <a:gd name="connsiteX88" fmla="*/ 712545 w 1246517"/>
                <a:gd name="connsiteY88" fmla="*/ 2526372 h 3803775"/>
                <a:gd name="connsiteX89" fmla="*/ 679750 w 1246517"/>
                <a:gd name="connsiteY89" fmla="*/ 2469848 h 3803775"/>
                <a:gd name="connsiteX90" fmla="*/ 689261 w 1246517"/>
                <a:gd name="connsiteY90" fmla="*/ 2448241 h 3803775"/>
                <a:gd name="connsiteX91" fmla="*/ 574049 w 1246517"/>
                <a:gd name="connsiteY91" fmla="*/ 2381913 h 3803775"/>
                <a:gd name="connsiteX92" fmla="*/ 597333 w 1246517"/>
                <a:gd name="connsiteY92" fmla="*/ 2384542 h 3803775"/>
                <a:gd name="connsiteX93" fmla="*/ 630128 w 1246517"/>
                <a:gd name="connsiteY93" fmla="*/ 2441065 h 3803775"/>
                <a:gd name="connsiteX94" fmla="*/ 597333 w 1246517"/>
                <a:gd name="connsiteY94" fmla="*/ 2460126 h 3803775"/>
                <a:gd name="connsiteX95" fmla="*/ 564538 w 1246517"/>
                <a:gd name="connsiteY95" fmla="*/ 2402945 h 3803775"/>
                <a:gd name="connsiteX96" fmla="*/ 574049 w 1246517"/>
                <a:gd name="connsiteY96" fmla="*/ 2381913 h 3803775"/>
                <a:gd name="connsiteX97" fmla="*/ 458837 w 1246517"/>
                <a:gd name="connsiteY97" fmla="*/ 2315446 h 3803775"/>
                <a:gd name="connsiteX98" fmla="*/ 482121 w 1246517"/>
                <a:gd name="connsiteY98" fmla="*/ 2318221 h 3803775"/>
                <a:gd name="connsiteX99" fmla="*/ 514916 w 1246517"/>
                <a:gd name="connsiteY99" fmla="*/ 2374368 h 3803775"/>
                <a:gd name="connsiteX100" fmla="*/ 482121 w 1246517"/>
                <a:gd name="connsiteY100" fmla="*/ 2393301 h 3803775"/>
                <a:gd name="connsiteX101" fmla="*/ 449326 w 1246517"/>
                <a:gd name="connsiteY101" fmla="*/ 2337154 h 3803775"/>
                <a:gd name="connsiteX102" fmla="*/ 458837 w 1246517"/>
                <a:gd name="connsiteY102" fmla="*/ 2315446 h 3803775"/>
                <a:gd name="connsiteX103" fmla="*/ 343856 w 1246517"/>
                <a:gd name="connsiteY103" fmla="*/ 2249065 h 3803775"/>
                <a:gd name="connsiteX104" fmla="*/ 367237 w 1246517"/>
                <a:gd name="connsiteY104" fmla="*/ 2251463 h 3803775"/>
                <a:gd name="connsiteX105" fmla="*/ 399711 w 1246517"/>
                <a:gd name="connsiteY105" fmla="*/ 2308369 h 3803775"/>
                <a:gd name="connsiteX106" fmla="*/ 367237 w 1246517"/>
                <a:gd name="connsiteY106" fmla="*/ 2327558 h 3803775"/>
                <a:gd name="connsiteX107" fmla="*/ 334114 w 1246517"/>
                <a:gd name="connsiteY107" fmla="*/ 2269991 h 3803775"/>
                <a:gd name="connsiteX108" fmla="*/ 343856 w 1246517"/>
                <a:gd name="connsiteY108" fmla="*/ 2249065 h 3803775"/>
                <a:gd name="connsiteX109" fmla="*/ 1148940 w 1246517"/>
                <a:gd name="connsiteY109" fmla="*/ 2211925 h 3803775"/>
                <a:gd name="connsiteX110" fmla="*/ 1161738 w 1246517"/>
                <a:gd name="connsiteY110" fmla="*/ 2212169 h 3803775"/>
                <a:gd name="connsiteX111" fmla="*/ 1228909 w 1246517"/>
                <a:gd name="connsiteY111" fmla="*/ 2250584 h 3803775"/>
                <a:gd name="connsiteX112" fmla="*/ 1246517 w 1246517"/>
                <a:gd name="connsiteY112" fmla="*/ 2285092 h 3803775"/>
                <a:gd name="connsiteX113" fmla="*/ 1246517 w 1246517"/>
                <a:gd name="connsiteY113" fmla="*/ 2356062 h 3803775"/>
                <a:gd name="connsiteX114" fmla="*/ 1228909 w 1246517"/>
                <a:gd name="connsiteY114" fmla="*/ 2369735 h 3803775"/>
                <a:gd name="connsiteX115" fmla="*/ 1161738 w 1246517"/>
                <a:gd name="connsiteY115" fmla="*/ 2331320 h 3803775"/>
                <a:gd name="connsiteX116" fmla="*/ 1143478 w 1246517"/>
                <a:gd name="connsiteY116" fmla="*/ 2296812 h 3803775"/>
                <a:gd name="connsiteX117" fmla="*/ 1143478 w 1246517"/>
                <a:gd name="connsiteY117" fmla="*/ 2225842 h 3803775"/>
                <a:gd name="connsiteX118" fmla="*/ 1148940 w 1246517"/>
                <a:gd name="connsiteY118" fmla="*/ 2211925 h 3803775"/>
                <a:gd name="connsiteX119" fmla="*/ 8153 w 1246517"/>
                <a:gd name="connsiteY119" fmla="*/ 2056571 h 3803775"/>
                <a:gd name="connsiteX120" fmla="*/ 28048 w 1246517"/>
                <a:gd name="connsiteY120" fmla="*/ 2057062 h 3803775"/>
                <a:gd name="connsiteX121" fmla="*/ 226993 w 1246517"/>
                <a:gd name="connsiteY121" fmla="*/ 2172346 h 3803775"/>
                <a:gd name="connsiteX122" fmla="*/ 255694 w 1246517"/>
                <a:gd name="connsiteY122" fmla="*/ 2226714 h 3803775"/>
                <a:gd name="connsiteX123" fmla="*/ 226993 w 1246517"/>
                <a:gd name="connsiteY123" fmla="*/ 2248329 h 3803775"/>
                <a:gd name="connsiteX124" fmla="*/ 28048 w 1246517"/>
                <a:gd name="connsiteY124" fmla="*/ 2133045 h 3803775"/>
                <a:gd name="connsiteX125" fmla="*/ 0 w 1246517"/>
                <a:gd name="connsiteY125" fmla="*/ 2078678 h 3803775"/>
                <a:gd name="connsiteX126" fmla="*/ 8153 w 1246517"/>
                <a:gd name="connsiteY126" fmla="*/ 2056571 h 3803775"/>
                <a:gd name="connsiteX127" fmla="*/ 689261 w 1246517"/>
                <a:gd name="connsiteY127" fmla="*/ 1972554 h 3803775"/>
                <a:gd name="connsiteX128" fmla="*/ 712545 w 1246517"/>
                <a:gd name="connsiteY128" fmla="*/ 1974953 h 3803775"/>
                <a:gd name="connsiteX129" fmla="*/ 745340 w 1246517"/>
                <a:gd name="connsiteY129" fmla="*/ 2031858 h 3803775"/>
                <a:gd name="connsiteX130" fmla="*/ 712545 w 1246517"/>
                <a:gd name="connsiteY130" fmla="*/ 2051047 h 3803775"/>
                <a:gd name="connsiteX131" fmla="*/ 679750 w 1246517"/>
                <a:gd name="connsiteY131" fmla="*/ 1993480 h 3803775"/>
                <a:gd name="connsiteX132" fmla="*/ 689261 w 1246517"/>
                <a:gd name="connsiteY132" fmla="*/ 1972554 h 3803775"/>
                <a:gd name="connsiteX133" fmla="*/ 574049 w 1246517"/>
                <a:gd name="connsiteY133" fmla="*/ 1903618 h 3803775"/>
                <a:gd name="connsiteX134" fmla="*/ 597333 w 1246517"/>
                <a:gd name="connsiteY134" fmla="*/ 1906411 h 3803775"/>
                <a:gd name="connsiteX135" fmla="*/ 630128 w 1246517"/>
                <a:gd name="connsiteY135" fmla="*/ 1962934 h 3803775"/>
                <a:gd name="connsiteX136" fmla="*/ 597333 w 1246517"/>
                <a:gd name="connsiteY136" fmla="*/ 1981995 h 3803775"/>
                <a:gd name="connsiteX137" fmla="*/ 564538 w 1246517"/>
                <a:gd name="connsiteY137" fmla="*/ 1925471 h 3803775"/>
                <a:gd name="connsiteX138" fmla="*/ 574049 w 1246517"/>
                <a:gd name="connsiteY138" fmla="*/ 1903618 h 3803775"/>
                <a:gd name="connsiteX139" fmla="*/ 458837 w 1246517"/>
                <a:gd name="connsiteY139" fmla="*/ 1837262 h 3803775"/>
                <a:gd name="connsiteX140" fmla="*/ 482121 w 1246517"/>
                <a:gd name="connsiteY140" fmla="*/ 1839578 h 3803775"/>
                <a:gd name="connsiteX141" fmla="*/ 514916 w 1246517"/>
                <a:gd name="connsiteY141" fmla="*/ 1897145 h 3803775"/>
                <a:gd name="connsiteX142" fmla="*/ 482121 w 1246517"/>
                <a:gd name="connsiteY142" fmla="*/ 1915673 h 3803775"/>
                <a:gd name="connsiteX143" fmla="*/ 449326 w 1246517"/>
                <a:gd name="connsiteY143" fmla="*/ 1858767 h 3803775"/>
                <a:gd name="connsiteX144" fmla="*/ 458837 w 1246517"/>
                <a:gd name="connsiteY144" fmla="*/ 1837262 h 3803775"/>
                <a:gd name="connsiteX145" fmla="*/ 343856 w 1246517"/>
                <a:gd name="connsiteY145" fmla="*/ 1771016 h 3803775"/>
                <a:gd name="connsiteX146" fmla="*/ 367237 w 1246517"/>
                <a:gd name="connsiteY146" fmla="*/ 1773332 h 3803775"/>
                <a:gd name="connsiteX147" fmla="*/ 399711 w 1246517"/>
                <a:gd name="connsiteY147" fmla="*/ 1830238 h 3803775"/>
                <a:gd name="connsiteX148" fmla="*/ 367237 w 1246517"/>
                <a:gd name="connsiteY148" fmla="*/ 1849427 h 3803775"/>
                <a:gd name="connsiteX149" fmla="*/ 334114 w 1246517"/>
                <a:gd name="connsiteY149" fmla="*/ 1792521 h 3803775"/>
                <a:gd name="connsiteX150" fmla="*/ 343856 w 1246517"/>
                <a:gd name="connsiteY150" fmla="*/ 1771016 h 3803775"/>
                <a:gd name="connsiteX151" fmla="*/ 1148940 w 1246517"/>
                <a:gd name="connsiteY151" fmla="*/ 1736675 h 3803775"/>
                <a:gd name="connsiteX152" fmla="*/ 1161738 w 1246517"/>
                <a:gd name="connsiteY152" fmla="*/ 1736919 h 3803775"/>
                <a:gd name="connsiteX153" fmla="*/ 1228909 w 1246517"/>
                <a:gd name="connsiteY153" fmla="*/ 1775334 h 3803775"/>
                <a:gd name="connsiteX154" fmla="*/ 1246517 w 1246517"/>
                <a:gd name="connsiteY154" fmla="*/ 1810494 h 3803775"/>
                <a:gd name="connsiteX155" fmla="*/ 1246517 w 1246517"/>
                <a:gd name="connsiteY155" fmla="*/ 1880813 h 3803775"/>
                <a:gd name="connsiteX156" fmla="*/ 1228909 w 1246517"/>
                <a:gd name="connsiteY156" fmla="*/ 1895138 h 3803775"/>
                <a:gd name="connsiteX157" fmla="*/ 1161738 w 1246517"/>
                <a:gd name="connsiteY157" fmla="*/ 1856071 h 3803775"/>
                <a:gd name="connsiteX158" fmla="*/ 1143478 w 1246517"/>
                <a:gd name="connsiteY158" fmla="*/ 1821563 h 3803775"/>
                <a:gd name="connsiteX159" fmla="*/ 1143478 w 1246517"/>
                <a:gd name="connsiteY159" fmla="*/ 1750592 h 3803775"/>
                <a:gd name="connsiteX160" fmla="*/ 1148940 w 1246517"/>
                <a:gd name="connsiteY160" fmla="*/ 1736675 h 3803775"/>
                <a:gd name="connsiteX161" fmla="*/ 8153 w 1246517"/>
                <a:gd name="connsiteY161" fmla="*/ 1578441 h 3803775"/>
                <a:gd name="connsiteX162" fmla="*/ 28048 w 1246517"/>
                <a:gd name="connsiteY162" fmla="*/ 1578932 h 3803775"/>
                <a:gd name="connsiteX163" fmla="*/ 226993 w 1246517"/>
                <a:gd name="connsiteY163" fmla="*/ 1694872 h 3803775"/>
                <a:gd name="connsiteX164" fmla="*/ 255694 w 1246517"/>
                <a:gd name="connsiteY164" fmla="*/ 1749239 h 3803775"/>
                <a:gd name="connsiteX165" fmla="*/ 226993 w 1246517"/>
                <a:gd name="connsiteY165" fmla="*/ 1770199 h 3803775"/>
                <a:gd name="connsiteX166" fmla="*/ 28048 w 1246517"/>
                <a:gd name="connsiteY166" fmla="*/ 1654915 h 3803775"/>
                <a:gd name="connsiteX167" fmla="*/ 0 w 1246517"/>
                <a:gd name="connsiteY167" fmla="*/ 1600548 h 3803775"/>
                <a:gd name="connsiteX168" fmla="*/ 8153 w 1246517"/>
                <a:gd name="connsiteY168" fmla="*/ 1578441 h 3803775"/>
                <a:gd name="connsiteX169" fmla="*/ 689261 w 1246517"/>
                <a:gd name="connsiteY169" fmla="*/ 1494506 h 3803775"/>
                <a:gd name="connsiteX170" fmla="*/ 712545 w 1246517"/>
                <a:gd name="connsiteY170" fmla="*/ 1496822 h 3803775"/>
                <a:gd name="connsiteX171" fmla="*/ 745340 w 1246517"/>
                <a:gd name="connsiteY171" fmla="*/ 1553727 h 3803775"/>
                <a:gd name="connsiteX172" fmla="*/ 712545 w 1246517"/>
                <a:gd name="connsiteY172" fmla="*/ 1572916 h 3803775"/>
                <a:gd name="connsiteX173" fmla="*/ 679750 w 1246517"/>
                <a:gd name="connsiteY173" fmla="*/ 1516011 h 3803775"/>
                <a:gd name="connsiteX174" fmla="*/ 689261 w 1246517"/>
                <a:gd name="connsiteY174" fmla="*/ 1494506 h 3803775"/>
                <a:gd name="connsiteX175" fmla="*/ 574049 w 1246517"/>
                <a:gd name="connsiteY175" fmla="*/ 1428203 h 3803775"/>
                <a:gd name="connsiteX176" fmla="*/ 597333 w 1246517"/>
                <a:gd name="connsiteY176" fmla="*/ 1430504 h 3803775"/>
                <a:gd name="connsiteX177" fmla="*/ 630128 w 1246517"/>
                <a:gd name="connsiteY177" fmla="*/ 1487027 h 3803775"/>
                <a:gd name="connsiteX178" fmla="*/ 597333 w 1246517"/>
                <a:gd name="connsiteY178" fmla="*/ 1506745 h 3803775"/>
                <a:gd name="connsiteX179" fmla="*/ 564538 w 1246517"/>
                <a:gd name="connsiteY179" fmla="*/ 1449564 h 3803775"/>
                <a:gd name="connsiteX180" fmla="*/ 574049 w 1246517"/>
                <a:gd name="connsiteY180" fmla="*/ 1428203 h 3803775"/>
                <a:gd name="connsiteX181" fmla="*/ 458837 w 1246517"/>
                <a:gd name="connsiteY181" fmla="*/ 1362013 h 3803775"/>
                <a:gd name="connsiteX182" fmla="*/ 482121 w 1246517"/>
                <a:gd name="connsiteY182" fmla="*/ 1364329 h 3803775"/>
                <a:gd name="connsiteX183" fmla="*/ 514916 w 1246517"/>
                <a:gd name="connsiteY183" fmla="*/ 1421896 h 3803775"/>
                <a:gd name="connsiteX184" fmla="*/ 482121 w 1246517"/>
                <a:gd name="connsiteY184" fmla="*/ 1440424 h 3803775"/>
                <a:gd name="connsiteX185" fmla="*/ 449326 w 1246517"/>
                <a:gd name="connsiteY185" fmla="*/ 1383518 h 3803775"/>
                <a:gd name="connsiteX186" fmla="*/ 458837 w 1246517"/>
                <a:gd name="connsiteY186" fmla="*/ 1362013 h 3803775"/>
                <a:gd name="connsiteX187" fmla="*/ 343856 w 1246517"/>
                <a:gd name="connsiteY187" fmla="*/ 1295711 h 3803775"/>
                <a:gd name="connsiteX188" fmla="*/ 367237 w 1246517"/>
                <a:gd name="connsiteY188" fmla="*/ 1298011 h 3803775"/>
                <a:gd name="connsiteX189" fmla="*/ 399711 w 1246517"/>
                <a:gd name="connsiteY189" fmla="*/ 1354535 h 3803775"/>
                <a:gd name="connsiteX190" fmla="*/ 367237 w 1246517"/>
                <a:gd name="connsiteY190" fmla="*/ 1374252 h 3803775"/>
                <a:gd name="connsiteX191" fmla="*/ 334114 w 1246517"/>
                <a:gd name="connsiteY191" fmla="*/ 1317071 h 3803775"/>
                <a:gd name="connsiteX192" fmla="*/ 343856 w 1246517"/>
                <a:gd name="connsiteY192" fmla="*/ 1295711 h 3803775"/>
                <a:gd name="connsiteX193" fmla="*/ 1148940 w 1246517"/>
                <a:gd name="connsiteY193" fmla="*/ 1258545 h 3803775"/>
                <a:gd name="connsiteX194" fmla="*/ 1161738 w 1246517"/>
                <a:gd name="connsiteY194" fmla="*/ 1258789 h 3803775"/>
                <a:gd name="connsiteX195" fmla="*/ 1228909 w 1246517"/>
                <a:gd name="connsiteY195" fmla="*/ 1297855 h 3803775"/>
                <a:gd name="connsiteX196" fmla="*/ 1246517 w 1246517"/>
                <a:gd name="connsiteY196" fmla="*/ 1332364 h 3803775"/>
                <a:gd name="connsiteX197" fmla="*/ 1246517 w 1246517"/>
                <a:gd name="connsiteY197" fmla="*/ 1402683 h 3803775"/>
                <a:gd name="connsiteX198" fmla="*/ 1228909 w 1246517"/>
                <a:gd name="connsiteY198" fmla="*/ 1416357 h 3803775"/>
                <a:gd name="connsiteX199" fmla="*/ 1161738 w 1246517"/>
                <a:gd name="connsiteY199" fmla="*/ 1377941 h 3803775"/>
                <a:gd name="connsiteX200" fmla="*/ 1143478 w 1246517"/>
                <a:gd name="connsiteY200" fmla="*/ 1343433 h 3803775"/>
                <a:gd name="connsiteX201" fmla="*/ 1143478 w 1246517"/>
                <a:gd name="connsiteY201" fmla="*/ 1272462 h 3803775"/>
                <a:gd name="connsiteX202" fmla="*/ 1148940 w 1246517"/>
                <a:gd name="connsiteY202" fmla="*/ 1258545 h 3803775"/>
                <a:gd name="connsiteX203" fmla="*/ 8153 w 1246517"/>
                <a:gd name="connsiteY203" fmla="*/ 1102720 h 3803775"/>
                <a:gd name="connsiteX204" fmla="*/ 28048 w 1246517"/>
                <a:gd name="connsiteY204" fmla="*/ 1102964 h 3803775"/>
                <a:gd name="connsiteX205" fmla="*/ 226993 w 1246517"/>
                <a:gd name="connsiteY205" fmla="*/ 1217382 h 3803775"/>
                <a:gd name="connsiteX206" fmla="*/ 255694 w 1246517"/>
                <a:gd name="connsiteY206" fmla="*/ 1270690 h 3803775"/>
                <a:gd name="connsiteX207" fmla="*/ 226993 w 1246517"/>
                <a:gd name="connsiteY207" fmla="*/ 1292143 h 3803775"/>
                <a:gd name="connsiteX208" fmla="*/ 28048 w 1246517"/>
                <a:gd name="connsiteY208" fmla="*/ 1178376 h 3803775"/>
                <a:gd name="connsiteX209" fmla="*/ 0 w 1246517"/>
                <a:gd name="connsiteY209" fmla="*/ 1124417 h 3803775"/>
                <a:gd name="connsiteX210" fmla="*/ 8153 w 1246517"/>
                <a:gd name="connsiteY210" fmla="*/ 1102720 h 3803775"/>
                <a:gd name="connsiteX211" fmla="*/ 689261 w 1246517"/>
                <a:gd name="connsiteY211" fmla="*/ 1019201 h 3803775"/>
                <a:gd name="connsiteX212" fmla="*/ 712545 w 1246517"/>
                <a:gd name="connsiteY212" fmla="*/ 1021501 h 3803775"/>
                <a:gd name="connsiteX213" fmla="*/ 745340 w 1246517"/>
                <a:gd name="connsiteY213" fmla="*/ 1078025 h 3803775"/>
                <a:gd name="connsiteX214" fmla="*/ 712545 w 1246517"/>
                <a:gd name="connsiteY214" fmla="*/ 1097742 h 3803775"/>
                <a:gd name="connsiteX215" fmla="*/ 679750 w 1246517"/>
                <a:gd name="connsiteY215" fmla="*/ 1040561 h 3803775"/>
                <a:gd name="connsiteX216" fmla="*/ 689261 w 1246517"/>
                <a:gd name="connsiteY216" fmla="*/ 1019201 h 3803775"/>
                <a:gd name="connsiteX217" fmla="*/ 574049 w 1246517"/>
                <a:gd name="connsiteY217" fmla="*/ 952956 h 3803775"/>
                <a:gd name="connsiteX218" fmla="*/ 597333 w 1246517"/>
                <a:gd name="connsiteY218" fmla="*/ 955256 h 3803775"/>
                <a:gd name="connsiteX219" fmla="*/ 630128 w 1246517"/>
                <a:gd name="connsiteY219" fmla="*/ 1012437 h 3803775"/>
                <a:gd name="connsiteX220" fmla="*/ 597333 w 1246517"/>
                <a:gd name="connsiteY220" fmla="*/ 1031497 h 3803775"/>
                <a:gd name="connsiteX221" fmla="*/ 564538 w 1246517"/>
                <a:gd name="connsiteY221" fmla="*/ 974316 h 3803775"/>
                <a:gd name="connsiteX222" fmla="*/ 574049 w 1246517"/>
                <a:gd name="connsiteY222" fmla="*/ 952956 h 3803775"/>
                <a:gd name="connsiteX223" fmla="*/ 458837 w 1246517"/>
                <a:gd name="connsiteY223" fmla="*/ 886708 h 3803775"/>
                <a:gd name="connsiteX224" fmla="*/ 482121 w 1246517"/>
                <a:gd name="connsiteY224" fmla="*/ 889008 h 3803775"/>
                <a:gd name="connsiteX225" fmla="*/ 514916 w 1246517"/>
                <a:gd name="connsiteY225" fmla="*/ 946189 h 3803775"/>
                <a:gd name="connsiteX226" fmla="*/ 482121 w 1246517"/>
                <a:gd name="connsiteY226" fmla="*/ 964592 h 3803775"/>
                <a:gd name="connsiteX227" fmla="*/ 449326 w 1246517"/>
                <a:gd name="connsiteY227" fmla="*/ 908068 h 3803775"/>
                <a:gd name="connsiteX228" fmla="*/ 458837 w 1246517"/>
                <a:gd name="connsiteY228" fmla="*/ 886708 h 3803775"/>
                <a:gd name="connsiteX229" fmla="*/ 343856 w 1246517"/>
                <a:gd name="connsiteY229" fmla="*/ 820462 h 3803775"/>
                <a:gd name="connsiteX230" fmla="*/ 367237 w 1246517"/>
                <a:gd name="connsiteY230" fmla="*/ 822762 h 3803775"/>
                <a:gd name="connsiteX231" fmla="*/ 399711 w 1246517"/>
                <a:gd name="connsiteY231" fmla="*/ 879943 h 3803775"/>
                <a:gd name="connsiteX232" fmla="*/ 367237 w 1246517"/>
                <a:gd name="connsiteY232" fmla="*/ 899003 h 3803775"/>
                <a:gd name="connsiteX233" fmla="*/ 334114 w 1246517"/>
                <a:gd name="connsiteY233" fmla="*/ 841822 h 3803775"/>
                <a:gd name="connsiteX234" fmla="*/ 343856 w 1246517"/>
                <a:gd name="connsiteY234" fmla="*/ 820462 h 3803775"/>
                <a:gd name="connsiteX235" fmla="*/ 1161738 w 1246517"/>
                <a:gd name="connsiteY235" fmla="*/ 782888 h 3803775"/>
                <a:gd name="connsiteX236" fmla="*/ 1228909 w 1246517"/>
                <a:gd name="connsiteY236" fmla="*/ 821954 h 3803775"/>
                <a:gd name="connsiteX237" fmla="*/ 1246517 w 1246517"/>
                <a:gd name="connsiteY237" fmla="*/ 856462 h 3803775"/>
                <a:gd name="connsiteX238" fmla="*/ 1246517 w 1246517"/>
                <a:gd name="connsiteY238" fmla="*/ 927432 h 3803775"/>
                <a:gd name="connsiteX239" fmla="*/ 1228909 w 1246517"/>
                <a:gd name="connsiteY239" fmla="*/ 941105 h 3803775"/>
                <a:gd name="connsiteX240" fmla="*/ 1161738 w 1246517"/>
                <a:gd name="connsiteY240" fmla="*/ 902039 h 3803775"/>
                <a:gd name="connsiteX241" fmla="*/ 1143478 w 1246517"/>
                <a:gd name="connsiteY241" fmla="*/ 867531 h 3803775"/>
                <a:gd name="connsiteX242" fmla="*/ 1143478 w 1246517"/>
                <a:gd name="connsiteY242" fmla="*/ 797212 h 3803775"/>
                <a:gd name="connsiteX243" fmla="*/ 1161738 w 1246517"/>
                <a:gd name="connsiteY243" fmla="*/ 782888 h 3803775"/>
                <a:gd name="connsiteX244" fmla="*/ 8153 w 1246517"/>
                <a:gd name="connsiteY244" fmla="*/ 627557 h 3803775"/>
                <a:gd name="connsiteX245" fmla="*/ 28048 w 1246517"/>
                <a:gd name="connsiteY245" fmla="*/ 627804 h 3803775"/>
                <a:gd name="connsiteX246" fmla="*/ 226993 w 1246517"/>
                <a:gd name="connsiteY246" fmla="*/ 744105 h 3803775"/>
                <a:gd name="connsiteX247" fmla="*/ 255694 w 1246517"/>
                <a:gd name="connsiteY247" fmla="*/ 798642 h 3803775"/>
                <a:gd name="connsiteX248" fmla="*/ 226993 w 1246517"/>
                <a:gd name="connsiteY248" fmla="*/ 819669 h 3803775"/>
                <a:gd name="connsiteX249" fmla="*/ 28048 w 1246517"/>
                <a:gd name="connsiteY249" fmla="*/ 704024 h 3803775"/>
                <a:gd name="connsiteX250" fmla="*/ 0 w 1246517"/>
                <a:gd name="connsiteY250" fmla="*/ 649487 h 3803775"/>
                <a:gd name="connsiteX251" fmla="*/ 8153 w 1246517"/>
                <a:gd name="connsiteY251" fmla="*/ 627557 h 3803775"/>
                <a:gd name="connsiteX252" fmla="*/ 689261 w 1246517"/>
                <a:gd name="connsiteY252" fmla="*/ 541070 h 3803775"/>
                <a:gd name="connsiteX253" fmla="*/ 712545 w 1246517"/>
                <a:gd name="connsiteY253" fmla="*/ 543370 h 3803775"/>
                <a:gd name="connsiteX254" fmla="*/ 745340 w 1246517"/>
                <a:gd name="connsiteY254" fmla="*/ 600551 h 3803775"/>
                <a:gd name="connsiteX255" fmla="*/ 712545 w 1246517"/>
                <a:gd name="connsiteY255" fmla="*/ 619611 h 3803775"/>
                <a:gd name="connsiteX256" fmla="*/ 679750 w 1246517"/>
                <a:gd name="connsiteY256" fmla="*/ 562430 h 3803775"/>
                <a:gd name="connsiteX257" fmla="*/ 689261 w 1246517"/>
                <a:gd name="connsiteY257" fmla="*/ 541070 h 3803775"/>
                <a:gd name="connsiteX258" fmla="*/ 574049 w 1246517"/>
                <a:gd name="connsiteY258" fmla="*/ 474825 h 3803775"/>
                <a:gd name="connsiteX259" fmla="*/ 597333 w 1246517"/>
                <a:gd name="connsiteY259" fmla="*/ 477125 h 3803775"/>
                <a:gd name="connsiteX260" fmla="*/ 630128 w 1246517"/>
                <a:gd name="connsiteY260" fmla="*/ 534306 h 3803775"/>
                <a:gd name="connsiteX261" fmla="*/ 597333 w 1246517"/>
                <a:gd name="connsiteY261" fmla="*/ 553366 h 3803775"/>
                <a:gd name="connsiteX262" fmla="*/ 564538 w 1246517"/>
                <a:gd name="connsiteY262" fmla="*/ 496185 h 3803775"/>
                <a:gd name="connsiteX263" fmla="*/ 574049 w 1246517"/>
                <a:gd name="connsiteY263" fmla="*/ 474825 h 3803775"/>
                <a:gd name="connsiteX264" fmla="*/ 458837 w 1246517"/>
                <a:gd name="connsiteY264" fmla="*/ 408577 h 3803775"/>
                <a:gd name="connsiteX265" fmla="*/ 482121 w 1246517"/>
                <a:gd name="connsiteY265" fmla="*/ 410877 h 3803775"/>
                <a:gd name="connsiteX266" fmla="*/ 514916 w 1246517"/>
                <a:gd name="connsiteY266" fmla="*/ 468058 h 3803775"/>
                <a:gd name="connsiteX267" fmla="*/ 482121 w 1246517"/>
                <a:gd name="connsiteY267" fmla="*/ 487118 h 3803775"/>
                <a:gd name="connsiteX268" fmla="*/ 449326 w 1246517"/>
                <a:gd name="connsiteY268" fmla="*/ 429937 h 3803775"/>
                <a:gd name="connsiteX269" fmla="*/ 458837 w 1246517"/>
                <a:gd name="connsiteY269" fmla="*/ 408577 h 3803775"/>
                <a:gd name="connsiteX270" fmla="*/ 343856 w 1246517"/>
                <a:gd name="connsiteY270" fmla="*/ 342413 h 3803775"/>
                <a:gd name="connsiteX271" fmla="*/ 367237 w 1246517"/>
                <a:gd name="connsiteY271" fmla="*/ 345288 h 3803775"/>
                <a:gd name="connsiteX272" fmla="*/ 399711 w 1246517"/>
                <a:gd name="connsiteY272" fmla="*/ 401812 h 3803775"/>
                <a:gd name="connsiteX273" fmla="*/ 367237 w 1246517"/>
                <a:gd name="connsiteY273" fmla="*/ 420872 h 3803775"/>
                <a:gd name="connsiteX274" fmla="*/ 334114 w 1246517"/>
                <a:gd name="connsiteY274" fmla="*/ 363691 h 3803775"/>
                <a:gd name="connsiteX275" fmla="*/ 343856 w 1246517"/>
                <a:gd name="connsiteY275" fmla="*/ 342413 h 3803775"/>
                <a:gd name="connsiteX276" fmla="*/ 8153 w 1246517"/>
                <a:gd name="connsiteY276" fmla="*/ 149592 h 3803775"/>
                <a:gd name="connsiteX277" fmla="*/ 28048 w 1246517"/>
                <a:gd name="connsiteY277" fmla="*/ 150331 h 3803775"/>
                <a:gd name="connsiteX278" fmla="*/ 226993 w 1246517"/>
                <a:gd name="connsiteY278" fmla="*/ 265975 h 3803775"/>
                <a:gd name="connsiteX279" fmla="*/ 255694 w 1246517"/>
                <a:gd name="connsiteY279" fmla="*/ 320512 h 3803775"/>
                <a:gd name="connsiteX280" fmla="*/ 226993 w 1246517"/>
                <a:gd name="connsiteY280" fmla="*/ 342196 h 3803775"/>
                <a:gd name="connsiteX281" fmla="*/ 28048 w 1246517"/>
                <a:gd name="connsiteY281" fmla="*/ 226551 h 3803775"/>
                <a:gd name="connsiteX282" fmla="*/ 0 w 1246517"/>
                <a:gd name="connsiteY282" fmla="*/ 172014 h 3803775"/>
                <a:gd name="connsiteX283" fmla="*/ 8153 w 1246517"/>
                <a:gd name="connsiteY283" fmla="*/ 149592 h 3803775"/>
                <a:gd name="connsiteX284" fmla="*/ 633666 w 1246517"/>
                <a:gd name="connsiteY284" fmla="*/ 0 h 3803775"/>
                <a:gd name="connsiteX285" fmla="*/ 684846 w 1246517"/>
                <a:gd name="connsiteY285" fmla="*/ 0 h 3803775"/>
                <a:gd name="connsiteX286" fmla="*/ 684846 w 1246517"/>
                <a:gd name="connsiteY286" fmla="*/ 77174 h 3803775"/>
                <a:gd name="connsiteX287" fmla="*/ 633666 w 1246517"/>
                <a:gd name="connsiteY287" fmla="*/ 80472 h 380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</a:cxnLst>
              <a:rect l="l" t="t" r="r" b="b"/>
              <a:pathLst>
                <a:path w="1246517" h="3803775">
                  <a:moveTo>
                    <a:pt x="1161738" y="3643048"/>
                  </a:moveTo>
                  <a:lnTo>
                    <a:pt x="1228909" y="3682265"/>
                  </a:lnTo>
                  <a:cubicBezTo>
                    <a:pt x="1238691" y="3688147"/>
                    <a:pt x="1246517" y="3703180"/>
                    <a:pt x="1246517" y="3716906"/>
                  </a:cubicBezTo>
                  <a:lnTo>
                    <a:pt x="1246517" y="3788150"/>
                  </a:lnTo>
                  <a:cubicBezTo>
                    <a:pt x="1246517" y="3801222"/>
                    <a:pt x="1238691" y="3807104"/>
                    <a:pt x="1228909" y="3801876"/>
                  </a:cubicBezTo>
                  <a:lnTo>
                    <a:pt x="1161738" y="3762659"/>
                  </a:lnTo>
                  <a:cubicBezTo>
                    <a:pt x="1151956" y="3756776"/>
                    <a:pt x="1143478" y="3741743"/>
                    <a:pt x="1143478" y="3728017"/>
                  </a:cubicBezTo>
                  <a:lnTo>
                    <a:pt x="1143478" y="3656774"/>
                  </a:lnTo>
                  <a:cubicBezTo>
                    <a:pt x="1143478" y="3643702"/>
                    <a:pt x="1151956" y="3637819"/>
                    <a:pt x="1161738" y="3643048"/>
                  </a:cubicBezTo>
                  <a:close/>
                  <a:moveTo>
                    <a:pt x="847678" y="3502076"/>
                  </a:moveTo>
                  <a:cubicBezTo>
                    <a:pt x="853581" y="3498602"/>
                    <a:pt x="861780" y="3499098"/>
                    <a:pt x="870963" y="3504392"/>
                  </a:cubicBezTo>
                  <a:cubicBezTo>
                    <a:pt x="888673" y="3514979"/>
                    <a:pt x="903759" y="3540123"/>
                    <a:pt x="903759" y="3561959"/>
                  </a:cubicBezTo>
                  <a:cubicBezTo>
                    <a:pt x="903759" y="3582471"/>
                    <a:pt x="888673" y="3591073"/>
                    <a:pt x="870963" y="3580486"/>
                  </a:cubicBezTo>
                  <a:cubicBezTo>
                    <a:pt x="852597" y="3570561"/>
                    <a:pt x="838167" y="3544093"/>
                    <a:pt x="838167" y="3523581"/>
                  </a:cubicBezTo>
                  <a:cubicBezTo>
                    <a:pt x="838167" y="3512994"/>
                    <a:pt x="841775" y="3505550"/>
                    <a:pt x="847678" y="3502076"/>
                  </a:cubicBezTo>
                  <a:close/>
                  <a:moveTo>
                    <a:pt x="732712" y="3432949"/>
                  </a:moveTo>
                  <a:cubicBezTo>
                    <a:pt x="738697" y="3429475"/>
                    <a:pt x="746896" y="3429972"/>
                    <a:pt x="755751" y="3435265"/>
                  </a:cubicBezTo>
                  <a:cubicBezTo>
                    <a:pt x="774117" y="3445852"/>
                    <a:pt x="788547" y="3471658"/>
                    <a:pt x="788547" y="3492170"/>
                  </a:cubicBezTo>
                  <a:cubicBezTo>
                    <a:pt x="788547" y="3513344"/>
                    <a:pt x="774117" y="3521946"/>
                    <a:pt x="755751" y="3511359"/>
                  </a:cubicBezTo>
                  <a:cubicBezTo>
                    <a:pt x="738041" y="3500772"/>
                    <a:pt x="722955" y="3475628"/>
                    <a:pt x="722955" y="3454454"/>
                  </a:cubicBezTo>
                  <a:cubicBezTo>
                    <a:pt x="722955" y="3443867"/>
                    <a:pt x="726727" y="3436423"/>
                    <a:pt x="732712" y="3432949"/>
                  </a:cubicBezTo>
                  <a:close/>
                  <a:moveTo>
                    <a:pt x="617254" y="3366648"/>
                  </a:moveTo>
                  <a:cubicBezTo>
                    <a:pt x="623157" y="3363197"/>
                    <a:pt x="631356" y="3363690"/>
                    <a:pt x="640539" y="3368948"/>
                  </a:cubicBezTo>
                  <a:cubicBezTo>
                    <a:pt x="658249" y="3379464"/>
                    <a:pt x="673335" y="3404439"/>
                    <a:pt x="673335" y="3425471"/>
                  </a:cubicBezTo>
                  <a:cubicBezTo>
                    <a:pt x="673335" y="3447161"/>
                    <a:pt x="658249" y="3455705"/>
                    <a:pt x="640539" y="3444532"/>
                  </a:cubicBezTo>
                  <a:cubicBezTo>
                    <a:pt x="622173" y="3434016"/>
                    <a:pt x="607743" y="3409040"/>
                    <a:pt x="607743" y="3388008"/>
                  </a:cubicBezTo>
                  <a:cubicBezTo>
                    <a:pt x="607743" y="3377492"/>
                    <a:pt x="611351" y="3370098"/>
                    <a:pt x="617254" y="3366648"/>
                  </a:cubicBezTo>
                  <a:close/>
                  <a:moveTo>
                    <a:pt x="1161738" y="3164898"/>
                  </a:moveTo>
                  <a:lnTo>
                    <a:pt x="1228909" y="3203964"/>
                  </a:lnTo>
                  <a:cubicBezTo>
                    <a:pt x="1238691" y="3209824"/>
                    <a:pt x="1246517" y="3225451"/>
                    <a:pt x="1246517" y="3238473"/>
                  </a:cubicBezTo>
                  <a:lnTo>
                    <a:pt x="1246517" y="3309444"/>
                  </a:lnTo>
                  <a:cubicBezTo>
                    <a:pt x="1246517" y="3322466"/>
                    <a:pt x="1238691" y="3328977"/>
                    <a:pt x="1228909" y="3323117"/>
                  </a:cubicBezTo>
                  <a:lnTo>
                    <a:pt x="1161738" y="3284702"/>
                  </a:lnTo>
                  <a:cubicBezTo>
                    <a:pt x="1151956" y="3278191"/>
                    <a:pt x="1143478" y="3263215"/>
                    <a:pt x="1143478" y="3249542"/>
                  </a:cubicBezTo>
                  <a:lnTo>
                    <a:pt x="1143478" y="3179222"/>
                  </a:lnTo>
                  <a:cubicBezTo>
                    <a:pt x="1143478" y="3165549"/>
                    <a:pt x="1151956" y="3159689"/>
                    <a:pt x="1161738" y="3164898"/>
                  </a:cubicBezTo>
                  <a:close/>
                  <a:moveTo>
                    <a:pt x="8153" y="3009898"/>
                  </a:moveTo>
                  <a:cubicBezTo>
                    <a:pt x="13209" y="3006038"/>
                    <a:pt x="20221" y="3005874"/>
                    <a:pt x="28048" y="3010473"/>
                  </a:cubicBezTo>
                  <a:lnTo>
                    <a:pt x="226993" y="3126116"/>
                  </a:lnTo>
                  <a:cubicBezTo>
                    <a:pt x="242648" y="3135315"/>
                    <a:pt x="255694" y="3159627"/>
                    <a:pt x="255694" y="3180653"/>
                  </a:cubicBezTo>
                  <a:cubicBezTo>
                    <a:pt x="255694" y="3201679"/>
                    <a:pt x="242648" y="3210878"/>
                    <a:pt x="226993" y="3201679"/>
                  </a:cubicBezTo>
                  <a:lnTo>
                    <a:pt x="28048" y="3086036"/>
                  </a:lnTo>
                  <a:cubicBezTo>
                    <a:pt x="12393" y="3077494"/>
                    <a:pt x="0" y="3053182"/>
                    <a:pt x="0" y="3031499"/>
                  </a:cubicBezTo>
                  <a:cubicBezTo>
                    <a:pt x="0" y="3021315"/>
                    <a:pt x="3098" y="3013759"/>
                    <a:pt x="8153" y="3009898"/>
                  </a:cubicBezTo>
                  <a:close/>
                  <a:moveTo>
                    <a:pt x="689261" y="2925960"/>
                  </a:moveTo>
                  <a:cubicBezTo>
                    <a:pt x="695164" y="2922510"/>
                    <a:pt x="703363" y="2923003"/>
                    <a:pt x="712545" y="2928261"/>
                  </a:cubicBezTo>
                  <a:cubicBezTo>
                    <a:pt x="730254" y="2938777"/>
                    <a:pt x="745340" y="2964409"/>
                    <a:pt x="745340" y="2985441"/>
                  </a:cubicBezTo>
                  <a:cubicBezTo>
                    <a:pt x="745340" y="3006473"/>
                    <a:pt x="730254" y="3015018"/>
                    <a:pt x="712545" y="3004502"/>
                  </a:cubicBezTo>
                  <a:cubicBezTo>
                    <a:pt x="694180" y="2993986"/>
                    <a:pt x="679750" y="2968353"/>
                    <a:pt x="679750" y="2947321"/>
                  </a:cubicBezTo>
                  <a:cubicBezTo>
                    <a:pt x="679750" y="2936805"/>
                    <a:pt x="683358" y="2929411"/>
                    <a:pt x="689261" y="2925960"/>
                  </a:cubicBezTo>
                  <a:close/>
                  <a:moveTo>
                    <a:pt x="574049" y="2859687"/>
                  </a:moveTo>
                  <a:cubicBezTo>
                    <a:pt x="579952" y="2856296"/>
                    <a:pt x="588151" y="2856792"/>
                    <a:pt x="597333" y="2862086"/>
                  </a:cubicBezTo>
                  <a:cubicBezTo>
                    <a:pt x="615042" y="2872011"/>
                    <a:pt x="630128" y="2897817"/>
                    <a:pt x="630128" y="2918991"/>
                  </a:cubicBezTo>
                  <a:cubicBezTo>
                    <a:pt x="630128" y="2940165"/>
                    <a:pt x="615042" y="2948767"/>
                    <a:pt x="597333" y="2938180"/>
                  </a:cubicBezTo>
                  <a:cubicBezTo>
                    <a:pt x="578968" y="2927593"/>
                    <a:pt x="564538" y="2901787"/>
                    <a:pt x="564538" y="2880613"/>
                  </a:cubicBezTo>
                  <a:cubicBezTo>
                    <a:pt x="564538" y="2870357"/>
                    <a:pt x="568146" y="2863078"/>
                    <a:pt x="574049" y="2859687"/>
                  </a:cubicBezTo>
                  <a:close/>
                  <a:moveTo>
                    <a:pt x="458837" y="2790588"/>
                  </a:moveTo>
                  <a:cubicBezTo>
                    <a:pt x="464740" y="2787137"/>
                    <a:pt x="472939" y="2787630"/>
                    <a:pt x="482121" y="2792888"/>
                  </a:cubicBezTo>
                  <a:cubicBezTo>
                    <a:pt x="499830" y="2803404"/>
                    <a:pt x="514916" y="2829037"/>
                    <a:pt x="514916" y="2850069"/>
                  </a:cubicBezTo>
                  <a:cubicBezTo>
                    <a:pt x="514916" y="2871101"/>
                    <a:pt x="499830" y="2879645"/>
                    <a:pt x="482121" y="2869129"/>
                  </a:cubicBezTo>
                  <a:cubicBezTo>
                    <a:pt x="463756" y="2858613"/>
                    <a:pt x="449326" y="2832980"/>
                    <a:pt x="449326" y="2811948"/>
                  </a:cubicBezTo>
                  <a:cubicBezTo>
                    <a:pt x="449326" y="2801432"/>
                    <a:pt x="452934" y="2794038"/>
                    <a:pt x="458837" y="2790588"/>
                  </a:cubicBezTo>
                  <a:close/>
                  <a:moveTo>
                    <a:pt x="343856" y="2724752"/>
                  </a:moveTo>
                  <a:cubicBezTo>
                    <a:pt x="349864" y="2721219"/>
                    <a:pt x="358145" y="2721712"/>
                    <a:pt x="367237" y="2727298"/>
                  </a:cubicBezTo>
                  <a:cubicBezTo>
                    <a:pt x="384773" y="2737157"/>
                    <a:pt x="399711" y="2762790"/>
                    <a:pt x="399711" y="2783822"/>
                  </a:cubicBezTo>
                  <a:cubicBezTo>
                    <a:pt x="399711" y="2804854"/>
                    <a:pt x="384773" y="2813398"/>
                    <a:pt x="367237" y="2802882"/>
                  </a:cubicBezTo>
                  <a:cubicBezTo>
                    <a:pt x="349052" y="2792366"/>
                    <a:pt x="334114" y="2766733"/>
                    <a:pt x="334114" y="2746359"/>
                  </a:cubicBezTo>
                  <a:cubicBezTo>
                    <a:pt x="334114" y="2735843"/>
                    <a:pt x="337849" y="2728284"/>
                    <a:pt x="343856" y="2724752"/>
                  </a:cubicBezTo>
                  <a:close/>
                  <a:moveTo>
                    <a:pt x="1161738" y="2689648"/>
                  </a:moveTo>
                  <a:lnTo>
                    <a:pt x="1228909" y="2728714"/>
                  </a:lnTo>
                  <a:cubicBezTo>
                    <a:pt x="1238691" y="2734573"/>
                    <a:pt x="1246517" y="2750200"/>
                    <a:pt x="1246517" y="2763222"/>
                  </a:cubicBezTo>
                  <a:lnTo>
                    <a:pt x="1246517" y="2834192"/>
                  </a:lnTo>
                  <a:cubicBezTo>
                    <a:pt x="1246517" y="2847214"/>
                    <a:pt x="1238691" y="2853725"/>
                    <a:pt x="1228909" y="2847865"/>
                  </a:cubicBezTo>
                  <a:lnTo>
                    <a:pt x="1161738" y="2809450"/>
                  </a:lnTo>
                  <a:cubicBezTo>
                    <a:pt x="1151956" y="2803590"/>
                    <a:pt x="1143478" y="2787964"/>
                    <a:pt x="1143478" y="2774291"/>
                  </a:cubicBezTo>
                  <a:lnTo>
                    <a:pt x="1143478" y="2703972"/>
                  </a:lnTo>
                  <a:cubicBezTo>
                    <a:pt x="1143478" y="2690299"/>
                    <a:pt x="1151956" y="2684439"/>
                    <a:pt x="1161738" y="2689648"/>
                  </a:cubicBezTo>
                  <a:close/>
                  <a:moveTo>
                    <a:pt x="8153" y="2531603"/>
                  </a:moveTo>
                  <a:cubicBezTo>
                    <a:pt x="13209" y="2527743"/>
                    <a:pt x="20221" y="2527743"/>
                    <a:pt x="28048" y="2532343"/>
                  </a:cubicBezTo>
                  <a:lnTo>
                    <a:pt x="226993" y="2647986"/>
                  </a:lnTo>
                  <a:cubicBezTo>
                    <a:pt x="242648" y="2657185"/>
                    <a:pt x="255694" y="2681497"/>
                    <a:pt x="255694" y="2702523"/>
                  </a:cubicBezTo>
                  <a:cubicBezTo>
                    <a:pt x="255694" y="2723549"/>
                    <a:pt x="242648" y="2732748"/>
                    <a:pt x="226993" y="2724206"/>
                  </a:cubicBezTo>
                  <a:lnTo>
                    <a:pt x="28048" y="2608562"/>
                  </a:lnTo>
                  <a:cubicBezTo>
                    <a:pt x="12393" y="2598706"/>
                    <a:pt x="0" y="2575052"/>
                    <a:pt x="0" y="2554026"/>
                  </a:cubicBezTo>
                  <a:cubicBezTo>
                    <a:pt x="0" y="2543184"/>
                    <a:pt x="3098" y="2535464"/>
                    <a:pt x="8153" y="2531603"/>
                  </a:cubicBezTo>
                  <a:close/>
                  <a:moveTo>
                    <a:pt x="689261" y="2448241"/>
                  </a:moveTo>
                  <a:cubicBezTo>
                    <a:pt x="695164" y="2444708"/>
                    <a:pt x="703363" y="2445201"/>
                    <a:pt x="712545" y="2450788"/>
                  </a:cubicBezTo>
                  <a:cubicBezTo>
                    <a:pt x="730254" y="2460647"/>
                    <a:pt x="745340" y="2486279"/>
                    <a:pt x="745340" y="2507311"/>
                  </a:cubicBezTo>
                  <a:cubicBezTo>
                    <a:pt x="745340" y="2528343"/>
                    <a:pt x="730254" y="2536888"/>
                    <a:pt x="712545" y="2526372"/>
                  </a:cubicBezTo>
                  <a:cubicBezTo>
                    <a:pt x="694180" y="2515856"/>
                    <a:pt x="679750" y="2490223"/>
                    <a:pt x="679750" y="2469848"/>
                  </a:cubicBezTo>
                  <a:cubicBezTo>
                    <a:pt x="679750" y="2459332"/>
                    <a:pt x="683358" y="2451774"/>
                    <a:pt x="689261" y="2448241"/>
                  </a:cubicBezTo>
                  <a:close/>
                  <a:moveTo>
                    <a:pt x="574049" y="2381913"/>
                  </a:moveTo>
                  <a:cubicBezTo>
                    <a:pt x="579952" y="2378462"/>
                    <a:pt x="588151" y="2378955"/>
                    <a:pt x="597333" y="2384542"/>
                  </a:cubicBezTo>
                  <a:cubicBezTo>
                    <a:pt x="615042" y="2394401"/>
                    <a:pt x="630128" y="2420033"/>
                    <a:pt x="630128" y="2441065"/>
                  </a:cubicBezTo>
                  <a:cubicBezTo>
                    <a:pt x="630128" y="2462097"/>
                    <a:pt x="615042" y="2470642"/>
                    <a:pt x="597333" y="2460126"/>
                  </a:cubicBezTo>
                  <a:cubicBezTo>
                    <a:pt x="578968" y="2449610"/>
                    <a:pt x="564538" y="2424634"/>
                    <a:pt x="564538" y="2402945"/>
                  </a:cubicBezTo>
                  <a:cubicBezTo>
                    <a:pt x="564538" y="2392758"/>
                    <a:pt x="568146" y="2385364"/>
                    <a:pt x="574049" y="2381913"/>
                  </a:cubicBezTo>
                  <a:close/>
                  <a:moveTo>
                    <a:pt x="458837" y="2315446"/>
                  </a:moveTo>
                  <a:cubicBezTo>
                    <a:pt x="464740" y="2312019"/>
                    <a:pt x="472939" y="2312671"/>
                    <a:pt x="482121" y="2318221"/>
                  </a:cubicBezTo>
                  <a:cubicBezTo>
                    <a:pt x="499830" y="2328667"/>
                    <a:pt x="514916" y="2353476"/>
                    <a:pt x="514916" y="2374368"/>
                  </a:cubicBezTo>
                  <a:cubicBezTo>
                    <a:pt x="514916" y="2395259"/>
                    <a:pt x="499830" y="2404399"/>
                    <a:pt x="482121" y="2393301"/>
                  </a:cubicBezTo>
                  <a:cubicBezTo>
                    <a:pt x="463756" y="2382855"/>
                    <a:pt x="449326" y="2357393"/>
                    <a:pt x="449326" y="2337154"/>
                  </a:cubicBezTo>
                  <a:cubicBezTo>
                    <a:pt x="449326" y="2326382"/>
                    <a:pt x="452934" y="2318874"/>
                    <a:pt x="458837" y="2315446"/>
                  </a:cubicBezTo>
                  <a:close/>
                  <a:moveTo>
                    <a:pt x="343856" y="2249065"/>
                  </a:moveTo>
                  <a:cubicBezTo>
                    <a:pt x="349864" y="2245673"/>
                    <a:pt x="358145" y="2246170"/>
                    <a:pt x="367237" y="2251463"/>
                  </a:cubicBezTo>
                  <a:cubicBezTo>
                    <a:pt x="384773" y="2261389"/>
                    <a:pt x="399711" y="2287194"/>
                    <a:pt x="399711" y="2308369"/>
                  </a:cubicBezTo>
                  <a:cubicBezTo>
                    <a:pt x="399711" y="2329543"/>
                    <a:pt x="384773" y="2338145"/>
                    <a:pt x="367237" y="2327558"/>
                  </a:cubicBezTo>
                  <a:cubicBezTo>
                    <a:pt x="349052" y="2317632"/>
                    <a:pt x="334114" y="2291826"/>
                    <a:pt x="334114" y="2269991"/>
                  </a:cubicBezTo>
                  <a:cubicBezTo>
                    <a:pt x="334114" y="2259734"/>
                    <a:pt x="337849" y="2252456"/>
                    <a:pt x="343856" y="2249065"/>
                  </a:cubicBezTo>
                  <a:close/>
                  <a:moveTo>
                    <a:pt x="1148940" y="2211925"/>
                  </a:moveTo>
                  <a:cubicBezTo>
                    <a:pt x="1152282" y="2209402"/>
                    <a:pt x="1156847" y="2209239"/>
                    <a:pt x="1161738" y="2212169"/>
                  </a:cubicBezTo>
                  <a:lnTo>
                    <a:pt x="1228909" y="2250584"/>
                  </a:lnTo>
                  <a:cubicBezTo>
                    <a:pt x="1238691" y="2256443"/>
                    <a:pt x="1246517" y="2272070"/>
                    <a:pt x="1246517" y="2285092"/>
                  </a:cubicBezTo>
                  <a:lnTo>
                    <a:pt x="1246517" y="2356062"/>
                  </a:lnTo>
                  <a:cubicBezTo>
                    <a:pt x="1246517" y="2369084"/>
                    <a:pt x="1238691" y="2375595"/>
                    <a:pt x="1228909" y="2369735"/>
                  </a:cubicBezTo>
                  <a:lnTo>
                    <a:pt x="1161738" y="2331320"/>
                  </a:lnTo>
                  <a:cubicBezTo>
                    <a:pt x="1151956" y="2325460"/>
                    <a:pt x="1143478" y="2309834"/>
                    <a:pt x="1143478" y="2296812"/>
                  </a:cubicBezTo>
                  <a:lnTo>
                    <a:pt x="1143478" y="2225842"/>
                  </a:lnTo>
                  <a:cubicBezTo>
                    <a:pt x="1143478" y="2219331"/>
                    <a:pt x="1145598" y="2214448"/>
                    <a:pt x="1148940" y="2211925"/>
                  </a:cubicBezTo>
                  <a:close/>
                  <a:moveTo>
                    <a:pt x="8153" y="2056571"/>
                  </a:moveTo>
                  <a:cubicBezTo>
                    <a:pt x="13209" y="2052641"/>
                    <a:pt x="20221" y="2052477"/>
                    <a:pt x="28048" y="2057062"/>
                  </a:cubicBezTo>
                  <a:lnTo>
                    <a:pt x="226993" y="2172346"/>
                  </a:lnTo>
                  <a:cubicBezTo>
                    <a:pt x="242648" y="2181517"/>
                    <a:pt x="255694" y="2205753"/>
                    <a:pt x="255694" y="2226714"/>
                  </a:cubicBezTo>
                  <a:cubicBezTo>
                    <a:pt x="255694" y="2247674"/>
                    <a:pt x="242648" y="2257500"/>
                    <a:pt x="226993" y="2248329"/>
                  </a:cubicBezTo>
                  <a:lnTo>
                    <a:pt x="28048" y="2133045"/>
                  </a:lnTo>
                  <a:cubicBezTo>
                    <a:pt x="12393" y="2123875"/>
                    <a:pt x="0" y="2099639"/>
                    <a:pt x="0" y="2078678"/>
                  </a:cubicBezTo>
                  <a:cubicBezTo>
                    <a:pt x="0" y="2068197"/>
                    <a:pt x="3098" y="2060501"/>
                    <a:pt x="8153" y="2056571"/>
                  </a:cubicBezTo>
                  <a:close/>
                  <a:moveTo>
                    <a:pt x="689261" y="1972554"/>
                  </a:moveTo>
                  <a:cubicBezTo>
                    <a:pt x="695164" y="1969163"/>
                    <a:pt x="703363" y="1969659"/>
                    <a:pt x="712545" y="1974953"/>
                  </a:cubicBezTo>
                  <a:cubicBezTo>
                    <a:pt x="730254" y="1984878"/>
                    <a:pt x="745340" y="2010684"/>
                    <a:pt x="745340" y="2031858"/>
                  </a:cubicBezTo>
                  <a:cubicBezTo>
                    <a:pt x="745340" y="2053032"/>
                    <a:pt x="730254" y="2061634"/>
                    <a:pt x="712545" y="2051047"/>
                  </a:cubicBezTo>
                  <a:cubicBezTo>
                    <a:pt x="694180" y="2041122"/>
                    <a:pt x="679750" y="2015316"/>
                    <a:pt x="679750" y="1993480"/>
                  </a:cubicBezTo>
                  <a:cubicBezTo>
                    <a:pt x="679750" y="1983224"/>
                    <a:pt x="683358" y="1975945"/>
                    <a:pt x="689261" y="1972554"/>
                  </a:cubicBezTo>
                  <a:close/>
                  <a:moveTo>
                    <a:pt x="574049" y="1903618"/>
                  </a:moveTo>
                  <a:cubicBezTo>
                    <a:pt x="579952" y="1900167"/>
                    <a:pt x="588151" y="1900824"/>
                    <a:pt x="597333" y="1906411"/>
                  </a:cubicBezTo>
                  <a:cubicBezTo>
                    <a:pt x="615042" y="1916927"/>
                    <a:pt x="630128" y="1942560"/>
                    <a:pt x="630128" y="1962934"/>
                  </a:cubicBezTo>
                  <a:cubicBezTo>
                    <a:pt x="630128" y="1983966"/>
                    <a:pt x="615042" y="1992511"/>
                    <a:pt x="597333" y="1981995"/>
                  </a:cubicBezTo>
                  <a:cubicBezTo>
                    <a:pt x="578968" y="1971479"/>
                    <a:pt x="564538" y="1946503"/>
                    <a:pt x="564538" y="1925471"/>
                  </a:cubicBezTo>
                  <a:cubicBezTo>
                    <a:pt x="564538" y="1914627"/>
                    <a:pt x="568146" y="1907068"/>
                    <a:pt x="574049" y="1903618"/>
                  </a:cubicBezTo>
                  <a:close/>
                  <a:moveTo>
                    <a:pt x="458837" y="1837262"/>
                  </a:moveTo>
                  <a:cubicBezTo>
                    <a:pt x="464740" y="1833789"/>
                    <a:pt x="472939" y="1834285"/>
                    <a:pt x="482121" y="1839578"/>
                  </a:cubicBezTo>
                  <a:cubicBezTo>
                    <a:pt x="499830" y="1850165"/>
                    <a:pt x="514916" y="1875309"/>
                    <a:pt x="514916" y="1897145"/>
                  </a:cubicBezTo>
                  <a:cubicBezTo>
                    <a:pt x="514916" y="1917658"/>
                    <a:pt x="499830" y="1926260"/>
                    <a:pt x="482121" y="1915673"/>
                  </a:cubicBezTo>
                  <a:cubicBezTo>
                    <a:pt x="463756" y="1905747"/>
                    <a:pt x="449326" y="1879280"/>
                    <a:pt x="449326" y="1858767"/>
                  </a:cubicBezTo>
                  <a:cubicBezTo>
                    <a:pt x="449326" y="1848180"/>
                    <a:pt x="452934" y="1840736"/>
                    <a:pt x="458837" y="1837262"/>
                  </a:cubicBezTo>
                  <a:close/>
                  <a:moveTo>
                    <a:pt x="343856" y="1771016"/>
                  </a:moveTo>
                  <a:cubicBezTo>
                    <a:pt x="349864" y="1767543"/>
                    <a:pt x="358145" y="1768039"/>
                    <a:pt x="367237" y="1773332"/>
                  </a:cubicBezTo>
                  <a:cubicBezTo>
                    <a:pt x="384773" y="1783919"/>
                    <a:pt x="399711" y="1809725"/>
                    <a:pt x="399711" y="1830238"/>
                  </a:cubicBezTo>
                  <a:cubicBezTo>
                    <a:pt x="399711" y="1851412"/>
                    <a:pt x="384773" y="1860014"/>
                    <a:pt x="367237" y="1849427"/>
                  </a:cubicBezTo>
                  <a:cubicBezTo>
                    <a:pt x="349052" y="1838840"/>
                    <a:pt x="334114" y="1813695"/>
                    <a:pt x="334114" y="1792521"/>
                  </a:cubicBezTo>
                  <a:cubicBezTo>
                    <a:pt x="334114" y="1781934"/>
                    <a:pt x="337849" y="1774490"/>
                    <a:pt x="343856" y="1771016"/>
                  </a:cubicBezTo>
                  <a:close/>
                  <a:moveTo>
                    <a:pt x="1148940" y="1736675"/>
                  </a:moveTo>
                  <a:cubicBezTo>
                    <a:pt x="1152282" y="1734152"/>
                    <a:pt x="1156847" y="1733989"/>
                    <a:pt x="1161738" y="1736919"/>
                  </a:cubicBezTo>
                  <a:lnTo>
                    <a:pt x="1228909" y="1775334"/>
                  </a:lnTo>
                  <a:cubicBezTo>
                    <a:pt x="1238691" y="1781194"/>
                    <a:pt x="1246517" y="1796821"/>
                    <a:pt x="1246517" y="1810494"/>
                  </a:cubicBezTo>
                  <a:lnTo>
                    <a:pt x="1246517" y="1880813"/>
                  </a:lnTo>
                  <a:cubicBezTo>
                    <a:pt x="1246517" y="1894487"/>
                    <a:pt x="1238691" y="1900347"/>
                    <a:pt x="1228909" y="1895138"/>
                  </a:cubicBezTo>
                  <a:lnTo>
                    <a:pt x="1161738" y="1856071"/>
                  </a:lnTo>
                  <a:cubicBezTo>
                    <a:pt x="1151956" y="1850211"/>
                    <a:pt x="1143478" y="1834585"/>
                    <a:pt x="1143478" y="1821563"/>
                  </a:cubicBezTo>
                  <a:lnTo>
                    <a:pt x="1143478" y="1750592"/>
                  </a:lnTo>
                  <a:cubicBezTo>
                    <a:pt x="1143478" y="1744081"/>
                    <a:pt x="1145598" y="1739198"/>
                    <a:pt x="1148940" y="1736675"/>
                  </a:cubicBezTo>
                  <a:close/>
                  <a:moveTo>
                    <a:pt x="8153" y="1578441"/>
                  </a:moveTo>
                  <a:cubicBezTo>
                    <a:pt x="13209" y="1574511"/>
                    <a:pt x="20221" y="1574347"/>
                    <a:pt x="28048" y="1578932"/>
                  </a:cubicBezTo>
                  <a:lnTo>
                    <a:pt x="226993" y="1694872"/>
                  </a:lnTo>
                  <a:cubicBezTo>
                    <a:pt x="242648" y="1703387"/>
                    <a:pt x="255694" y="1727623"/>
                    <a:pt x="255694" y="1749239"/>
                  </a:cubicBezTo>
                  <a:cubicBezTo>
                    <a:pt x="255694" y="1769544"/>
                    <a:pt x="242648" y="1779370"/>
                    <a:pt x="226993" y="1770199"/>
                  </a:cubicBezTo>
                  <a:lnTo>
                    <a:pt x="28048" y="1654915"/>
                  </a:lnTo>
                  <a:cubicBezTo>
                    <a:pt x="12393" y="1645745"/>
                    <a:pt x="0" y="1621509"/>
                    <a:pt x="0" y="1600548"/>
                  </a:cubicBezTo>
                  <a:cubicBezTo>
                    <a:pt x="0" y="1590068"/>
                    <a:pt x="3098" y="1582371"/>
                    <a:pt x="8153" y="1578441"/>
                  </a:cubicBezTo>
                  <a:close/>
                  <a:moveTo>
                    <a:pt x="689261" y="1494506"/>
                  </a:moveTo>
                  <a:cubicBezTo>
                    <a:pt x="695164" y="1491032"/>
                    <a:pt x="703363" y="1491528"/>
                    <a:pt x="712545" y="1496822"/>
                  </a:cubicBezTo>
                  <a:cubicBezTo>
                    <a:pt x="730254" y="1507409"/>
                    <a:pt x="745340" y="1533215"/>
                    <a:pt x="745340" y="1553727"/>
                  </a:cubicBezTo>
                  <a:cubicBezTo>
                    <a:pt x="745340" y="1574901"/>
                    <a:pt x="730254" y="1583503"/>
                    <a:pt x="712545" y="1572916"/>
                  </a:cubicBezTo>
                  <a:cubicBezTo>
                    <a:pt x="694180" y="1562329"/>
                    <a:pt x="679750" y="1537185"/>
                    <a:pt x="679750" y="1516011"/>
                  </a:cubicBezTo>
                  <a:cubicBezTo>
                    <a:pt x="679750" y="1505424"/>
                    <a:pt x="683358" y="1497980"/>
                    <a:pt x="689261" y="1494506"/>
                  </a:cubicBezTo>
                  <a:close/>
                  <a:moveTo>
                    <a:pt x="574049" y="1428203"/>
                  </a:moveTo>
                  <a:cubicBezTo>
                    <a:pt x="579952" y="1424753"/>
                    <a:pt x="588151" y="1425246"/>
                    <a:pt x="597333" y="1430504"/>
                  </a:cubicBezTo>
                  <a:cubicBezTo>
                    <a:pt x="615042" y="1441020"/>
                    <a:pt x="630128" y="1466652"/>
                    <a:pt x="630128" y="1487027"/>
                  </a:cubicBezTo>
                  <a:cubicBezTo>
                    <a:pt x="630128" y="1508716"/>
                    <a:pt x="615042" y="1517261"/>
                    <a:pt x="597333" y="1506745"/>
                  </a:cubicBezTo>
                  <a:cubicBezTo>
                    <a:pt x="578968" y="1495571"/>
                    <a:pt x="564538" y="1470596"/>
                    <a:pt x="564538" y="1449564"/>
                  </a:cubicBezTo>
                  <a:cubicBezTo>
                    <a:pt x="564538" y="1439048"/>
                    <a:pt x="568146" y="1431654"/>
                    <a:pt x="574049" y="1428203"/>
                  </a:cubicBezTo>
                  <a:close/>
                  <a:moveTo>
                    <a:pt x="458837" y="1362013"/>
                  </a:moveTo>
                  <a:cubicBezTo>
                    <a:pt x="464740" y="1358540"/>
                    <a:pt x="472939" y="1359036"/>
                    <a:pt x="482121" y="1364329"/>
                  </a:cubicBezTo>
                  <a:cubicBezTo>
                    <a:pt x="499830" y="1374916"/>
                    <a:pt x="514916" y="1400722"/>
                    <a:pt x="514916" y="1421896"/>
                  </a:cubicBezTo>
                  <a:cubicBezTo>
                    <a:pt x="514916" y="1442409"/>
                    <a:pt x="499830" y="1451011"/>
                    <a:pt x="482121" y="1440424"/>
                  </a:cubicBezTo>
                  <a:cubicBezTo>
                    <a:pt x="463756" y="1430498"/>
                    <a:pt x="449326" y="1404692"/>
                    <a:pt x="449326" y="1383518"/>
                  </a:cubicBezTo>
                  <a:cubicBezTo>
                    <a:pt x="449326" y="1372931"/>
                    <a:pt x="452934" y="1365487"/>
                    <a:pt x="458837" y="1362013"/>
                  </a:cubicBezTo>
                  <a:close/>
                  <a:moveTo>
                    <a:pt x="343856" y="1295711"/>
                  </a:moveTo>
                  <a:cubicBezTo>
                    <a:pt x="349864" y="1292260"/>
                    <a:pt x="358145" y="1292753"/>
                    <a:pt x="367237" y="1298011"/>
                  </a:cubicBezTo>
                  <a:cubicBezTo>
                    <a:pt x="384773" y="1308527"/>
                    <a:pt x="399711" y="1334160"/>
                    <a:pt x="399711" y="1354535"/>
                  </a:cubicBezTo>
                  <a:cubicBezTo>
                    <a:pt x="399711" y="1376224"/>
                    <a:pt x="384773" y="1384768"/>
                    <a:pt x="367237" y="1374252"/>
                  </a:cubicBezTo>
                  <a:cubicBezTo>
                    <a:pt x="349052" y="1363079"/>
                    <a:pt x="334114" y="1338103"/>
                    <a:pt x="334114" y="1317071"/>
                  </a:cubicBezTo>
                  <a:cubicBezTo>
                    <a:pt x="334114" y="1306555"/>
                    <a:pt x="337849" y="1299161"/>
                    <a:pt x="343856" y="1295711"/>
                  </a:cubicBezTo>
                  <a:close/>
                  <a:moveTo>
                    <a:pt x="1148940" y="1258545"/>
                  </a:moveTo>
                  <a:cubicBezTo>
                    <a:pt x="1152282" y="1256022"/>
                    <a:pt x="1156847" y="1255859"/>
                    <a:pt x="1161738" y="1258789"/>
                  </a:cubicBezTo>
                  <a:lnTo>
                    <a:pt x="1228909" y="1297855"/>
                  </a:lnTo>
                  <a:cubicBezTo>
                    <a:pt x="1238691" y="1303715"/>
                    <a:pt x="1246517" y="1318691"/>
                    <a:pt x="1246517" y="1332364"/>
                  </a:cubicBezTo>
                  <a:lnTo>
                    <a:pt x="1246517" y="1402683"/>
                  </a:lnTo>
                  <a:cubicBezTo>
                    <a:pt x="1246517" y="1416357"/>
                    <a:pt x="1238691" y="1422217"/>
                    <a:pt x="1228909" y="1416357"/>
                  </a:cubicBezTo>
                  <a:lnTo>
                    <a:pt x="1161738" y="1377941"/>
                  </a:lnTo>
                  <a:cubicBezTo>
                    <a:pt x="1151956" y="1372081"/>
                    <a:pt x="1143478" y="1356455"/>
                    <a:pt x="1143478" y="1343433"/>
                  </a:cubicBezTo>
                  <a:lnTo>
                    <a:pt x="1143478" y="1272462"/>
                  </a:lnTo>
                  <a:cubicBezTo>
                    <a:pt x="1143478" y="1265951"/>
                    <a:pt x="1145598" y="1261068"/>
                    <a:pt x="1148940" y="1258545"/>
                  </a:cubicBezTo>
                  <a:close/>
                  <a:moveTo>
                    <a:pt x="8153" y="1102720"/>
                  </a:moveTo>
                  <a:cubicBezTo>
                    <a:pt x="13209" y="1098901"/>
                    <a:pt x="20221" y="1098739"/>
                    <a:pt x="28048" y="1102964"/>
                  </a:cubicBezTo>
                  <a:lnTo>
                    <a:pt x="226993" y="1217382"/>
                  </a:lnTo>
                  <a:cubicBezTo>
                    <a:pt x="242648" y="1226483"/>
                    <a:pt x="255694" y="1250537"/>
                    <a:pt x="255694" y="1270690"/>
                  </a:cubicBezTo>
                  <a:cubicBezTo>
                    <a:pt x="255694" y="1292143"/>
                    <a:pt x="242648" y="1301245"/>
                    <a:pt x="226993" y="1292143"/>
                  </a:cubicBezTo>
                  <a:lnTo>
                    <a:pt x="28048" y="1178376"/>
                  </a:lnTo>
                  <a:cubicBezTo>
                    <a:pt x="12393" y="1169274"/>
                    <a:pt x="0" y="1145221"/>
                    <a:pt x="0" y="1124417"/>
                  </a:cubicBezTo>
                  <a:cubicBezTo>
                    <a:pt x="0" y="1114016"/>
                    <a:pt x="3098" y="1106540"/>
                    <a:pt x="8153" y="1102720"/>
                  </a:cubicBezTo>
                  <a:close/>
                  <a:moveTo>
                    <a:pt x="689261" y="1019201"/>
                  </a:moveTo>
                  <a:cubicBezTo>
                    <a:pt x="695164" y="1015750"/>
                    <a:pt x="703362" y="1016243"/>
                    <a:pt x="712545" y="1021501"/>
                  </a:cubicBezTo>
                  <a:cubicBezTo>
                    <a:pt x="730254" y="1032017"/>
                    <a:pt x="745340" y="1057650"/>
                    <a:pt x="745340" y="1078025"/>
                  </a:cubicBezTo>
                  <a:cubicBezTo>
                    <a:pt x="745340" y="1099714"/>
                    <a:pt x="730254" y="1108258"/>
                    <a:pt x="712545" y="1097742"/>
                  </a:cubicBezTo>
                  <a:cubicBezTo>
                    <a:pt x="694180" y="1086569"/>
                    <a:pt x="679750" y="1061593"/>
                    <a:pt x="679750" y="1040561"/>
                  </a:cubicBezTo>
                  <a:cubicBezTo>
                    <a:pt x="679750" y="1030045"/>
                    <a:pt x="683357" y="1022651"/>
                    <a:pt x="689261" y="1019201"/>
                  </a:cubicBezTo>
                  <a:close/>
                  <a:moveTo>
                    <a:pt x="574049" y="952956"/>
                  </a:moveTo>
                  <a:cubicBezTo>
                    <a:pt x="579952" y="949505"/>
                    <a:pt x="588151" y="949998"/>
                    <a:pt x="597333" y="955256"/>
                  </a:cubicBezTo>
                  <a:cubicBezTo>
                    <a:pt x="615042" y="965772"/>
                    <a:pt x="630128" y="990748"/>
                    <a:pt x="630128" y="1012437"/>
                  </a:cubicBezTo>
                  <a:cubicBezTo>
                    <a:pt x="630128" y="1032812"/>
                    <a:pt x="615042" y="1042013"/>
                    <a:pt x="597333" y="1031497"/>
                  </a:cubicBezTo>
                  <a:cubicBezTo>
                    <a:pt x="578968" y="1020981"/>
                    <a:pt x="564538" y="995348"/>
                    <a:pt x="564538" y="974316"/>
                  </a:cubicBezTo>
                  <a:cubicBezTo>
                    <a:pt x="564538" y="963800"/>
                    <a:pt x="568146" y="956406"/>
                    <a:pt x="574049" y="952956"/>
                  </a:cubicBezTo>
                  <a:close/>
                  <a:moveTo>
                    <a:pt x="458837" y="886708"/>
                  </a:moveTo>
                  <a:cubicBezTo>
                    <a:pt x="464740" y="883257"/>
                    <a:pt x="472939" y="883750"/>
                    <a:pt x="482121" y="889008"/>
                  </a:cubicBezTo>
                  <a:cubicBezTo>
                    <a:pt x="499830" y="899524"/>
                    <a:pt x="514916" y="925157"/>
                    <a:pt x="514916" y="946189"/>
                  </a:cubicBezTo>
                  <a:cubicBezTo>
                    <a:pt x="514916" y="967221"/>
                    <a:pt x="499830" y="975765"/>
                    <a:pt x="482121" y="964592"/>
                  </a:cubicBezTo>
                  <a:cubicBezTo>
                    <a:pt x="463756" y="954076"/>
                    <a:pt x="449326" y="929100"/>
                    <a:pt x="449326" y="908068"/>
                  </a:cubicBezTo>
                  <a:cubicBezTo>
                    <a:pt x="449326" y="897552"/>
                    <a:pt x="452934" y="890158"/>
                    <a:pt x="458837" y="886708"/>
                  </a:cubicBezTo>
                  <a:close/>
                  <a:moveTo>
                    <a:pt x="343856" y="820462"/>
                  </a:moveTo>
                  <a:cubicBezTo>
                    <a:pt x="349864" y="817011"/>
                    <a:pt x="358145" y="817504"/>
                    <a:pt x="367237" y="822762"/>
                  </a:cubicBezTo>
                  <a:cubicBezTo>
                    <a:pt x="384773" y="833278"/>
                    <a:pt x="399711" y="858911"/>
                    <a:pt x="399711" y="879943"/>
                  </a:cubicBezTo>
                  <a:cubicBezTo>
                    <a:pt x="399711" y="900975"/>
                    <a:pt x="384773" y="909519"/>
                    <a:pt x="367237" y="899003"/>
                  </a:cubicBezTo>
                  <a:cubicBezTo>
                    <a:pt x="349052" y="888487"/>
                    <a:pt x="334114" y="862854"/>
                    <a:pt x="334114" y="841822"/>
                  </a:cubicBezTo>
                  <a:cubicBezTo>
                    <a:pt x="334114" y="831306"/>
                    <a:pt x="337849" y="823912"/>
                    <a:pt x="343856" y="820462"/>
                  </a:cubicBezTo>
                  <a:close/>
                  <a:moveTo>
                    <a:pt x="1161738" y="782888"/>
                  </a:moveTo>
                  <a:lnTo>
                    <a:pt x="1228909" y="821954"/>
                  </a:lnTo>
                  <a:cubicBezTo>
                    <a:pt x="1238691" y="827162"/>
                    <a:pt x="1246517" y="843440"/>
                    <a:pt x="1246517" y="856462"/>
                  </a:cubicBezTo>
                  <a:lnTo>
                    <a:pt x="1246517" y="927432"/>
                  </a:lnTo>
                  <a:cubicBezTo>
                    <a:pt x="1246517" y="940454"/>
                    <a:pt x="1238691" y="946965"/>
                    <a:pt x="1228909" y="941105"/>
                  </a:cubicBezTo>
                  <a:lnTo>
                    <a:pt x="1161738" y="902039"/>
                  </a:lnTo>
                  <a:cubicBezTo>
                    <a:pt x="1151956" y="896179"/>
                    <a:pt x="1143478" y="881204"/>
                    <a:pt x="1143478" y="867531"/>
                  </a:cubicBezTo>
                  <a:lnTo>
                    <a:pt x="1143478" y="797212"/>
                  </a:lnTo>
                  <a:cubicBezTo>
                    <a:pt x="1143478" y="783539"/>
                    <a:pt x="1151956" y="777679"/>
                    <a:pt x="1161738" y="782888"/>
                  </a:cubicBezTo>
                  <a:close/>
                  <a:moveTo>
                    <a:pt x="8153" y="627557"/>
                  </a:moveTo>
                  <a:cubicBezTo>
                    <a:pt x="13209" y="623697"/>
                    <a:pt x="20221" y="623533"/>
                    <a:pt x="28048" y="627804"/>
                  </a:cubicBezTo>
                  <a:lnTo>
                    <a:pt x="226993" y="744105"/>
                  </a:lnTo>
                  <a:cubicBezTo>
                    <a:pt x="242648" y="753304"/>
                    <a:pt x="255694" y="777616"/>
                    <a:pt x="255694" y="798642"/>
                  </a:cubicBezTo>
                  <a:cubicBezTo>
                    <a:pt x="255694" y="819669"/>
                    <a:pt x="242648" y="828868"/>
                    <a:pt x="226993" y="819669"/>
                  </a:cubicBezTo>
                  <a:lnTo>
                    <a:pt x="28048" y="704024"/>
                  </a:lnTo>
                  <a:cubicBezTo>
                    <a:pt x="12393" y="694825"/>
                    <a:pt x="0" y="671170"/>
                    <a:pt x="0" y="649487"/>
                  </a:cubicBezTo>
                  <a:cubicBezTo>
                    <a:pt x="0" y="638974"/>
                    <a:pt x="3098" y="631418"/>
                    <a:pt x="8153" y="627557"/>
                  </a:cubicBezTo>
                  <a:close/>
                  <a:moveTo>
                    <a:pt x="689261" y="541070"/>
                  </a:moveTo>
                  <a:cubicBezTo>
                    <a:pt x="695164" y="537619"/>
                    <a:pt x="703362" y="538112"/>
                    <a:pt x="712545" y="543370"/>
                  </a:cubicBezTo>
                  <a:cubicBezTo>
                    <a:pt x="730254" y="553886"/>
                    <a:pt x="745340" y="579519"/>
                    <a:pt x="745340" y="600551"/>
                  </a:cubicBezTo>
                  <a:cubicBezTo>
                    <a:pt x="745340" y="621583"/>
                    <a:pt x="730254" y="630127"/>
                    <a:pt x="712545" y="619611"/>
                  </a:cubicBezTo>
                  <a:cubicBezTo>
                    <a:pt x="694180" y="609095"/>
                    <a:pt x="679750" y="583462"/>
                    <a:pt x="679750" y="562430"/>
                  </a:cubicBezTo>
                  <a:cubicBezTo>
                    <a:pt x="679750" y="551914"/>
                    <a:pt x="683357" y="544520"/>
                    <a:pt x="689261" y="541070"/>
                  </a:cubicBezTo>
                  <a:close/>
                  <a:moveTo>
                    <a:pt x="574049" y="474825"/>
                  </a:moveTo>
                  <a:cubicBezTo>
                    <a:pt x="579952" y="471374"/>
                    <a:pt x="588151" y="471867"/>
                    <a:pt x="597333" y="477125"/>
                  </a:cubicBezTo>
                  <a:cubicBezTo>
                    <a:pt x="615042" y="487641"/>
                    <a:pt x="630128" y="513274"/>
                    <a:pt x="630128" y="534306"/>
                  </a:cubicBezTo>
                  <a:cubicBezTo>
                    <a:pt x="630128" y="554681"/>
                    <a:pt x="615042" y="563882"/>
                    <a:pt x="597333" y="553366"/>
                  </a:cubicBezTo>
                  <a:cubicBezTo>
                    <a:pt x="578968" y="542850"/>
                    <a:pt x="564538" y="517217"/>
                    <a:pt x="564538" y="496185"/>
                  </a:cubicBezTo>
                  <a:cubicBezTo>
                    <a:pt x="564538" y="485669"/>
                    <a:pt x="568146" y="478275"/>
                    <a:pt x="574049" y="474825"/>
                  </a:cubicBezTo>
                  <a:close/>
                  <a:moveTo>
                    <a:pt x="458837" y="408577"/>
                  </a:moveTo>
                  <a:cubicBezTo>
                    <a:pt x="464740" y="405126"/>
                    <a:pt x="472939" y="405619"/>
                    <a:pt x="482121" y="410877"/>
                  </a:cubicBezTo>
                  <a:cubicBezTo>
                    <a:pt x="499830" y="421393"/>
                    <a:pt x="514916" y="447026"/>
                    <a:pt x="514916" y="468058"/>
                  </a:cubicBezTo>
                  <a:cubicBezTo>
                    <a:pt x="514916" y="489090"/>
                    <a:pt x="499830" y="497634"/>
                    <a:pt x="482121" y="487118"/>
                  </a:cubicBezTo>
                  <a:cubicBezTo>
                    <a:pt x="463756" y="476602"/>
                    <a:pt x="449326" y="450969"/>
                    <a:pt x="449326" y="429937"/>
                  </a:cubicBezTo>
                  <a:cubicBezTo>
                    <a:pt x="449326" y="419421"/>
                    <a:pt x="452934" y="412027"/>
                    <a:pt x="458837" y="408577"/>
                  </a:cubicBezTo>
                  <a:close/>
                  <a:moveTo>
                    <a:pt x="343856" y="342413"/>
                  </a:moveTo>
                  <a:cubicBezTo>
                    <a:pt x="349864" y="339045"/>
                    <a:pt x="358145" y="339702"/>
                    <a:pt x="367237" y="345288"/>
                  </a:cubicBezTo>
                  <a:cubicBezTo>
                    <a:pt x="384773" y="355147"/>
                    <a:pt x="399711" y="380780"/>
                    <a:pt x="399711" y="401812"/>
                  </a:cubicBezTo>
                  <a:cubicBezTo>
                    <a:pt x="399711" y="422844"/>
                    <a:pt x="384773" y="431388"/>
                    <a:pt x="367237" y="420872"/>
                  </a:cubicBezTo>
                  <a:cubicBezTo>
                    <a:pt x="349052" y="410356"/>
                    <a:pt x="334114" y="384723"/>
                    <a:pt x="334114" y="363691"/>
                  </a:cubicBezTo>
                  <a:cubicBezTo>
                    <a:pt x="334114" y="353175"/>
                    <a:pt x="337849" y="345781"/>
                    <a:pt x="343856" y="342413"/>
                  </a:cubicBezTo>
                  <a:close/>
                  <a:moveTo>
                    <a:pt x="8153" y="149592"/>
                  </a:moveTo>
                  <a:cubicBezTo>
                    <a:pt x="13209" y="145731"/>
                    <a:pt x="20221" y="145731"/>
                    <a:pt x="28048" y="150331"/>
                  </a:cubicBezTo>
                  <a:lnTo>
                    <a:pt x="226993" y="265975"/>
                  </a:lnTo>
                  <a:cubicBezTo>
                    <a:pt x="242648" y="275174"/>
                    <a:pt x="255694" y="299486"/>
                    <a:pt x="255694" y="320512"/>
                  </a:cubicBezTo>
                  <a:cubicBezTo>
                    <a:pt x="255694" y="341539"/>
                    <a:pt x="242648" y="350738"/>
                    <a:pt x="226993" y="342196"/>
                  </a:cubicBezTo>
                  <a:lnTo>
                    <a:pt x="28048" y="226551"/>
                  </a:lnTo>
                  <a:cubicBezTo>
                    <a:pt x="12393" y="216695"/>
                    <a:pt x="0" y="192383"/>
                    <a:pt x="0" y="172014"/>
                  </a:cubicBezTo>
                  <a:cubicBezTo>
                    <a:pt x="0" y="161173"/>
                    <a:pt x="3098" y="153452"/>
                    <a:pt x="8153" y="149592"/>
                  </a:cubicBezTo>
                  <a:close/>
                  <a:moveTo>
                    <a:pt x="633666" y="0"/>
                  </a:moveTo>
                  <a:lnTo>
                    <a:pt x="684846" y="0"/>
                  </a:lnTo>
                  <a:lnTo>
                    <a:pt x="684846" y="77174"/>
                  </a:lnTo>
                  <a:cubicBezTo>
                    <a:pt x="669559" y="84430"/>
                    <a:pt x="648289" y="85749"/>
                    <a:pt x="633666" y="80472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8" name="Freeform 617">
              <a:extLst>
                <a:ext uri="{FF2B5EF4-FFF2-40B4-BE49-F238E27FC236}">
                  <a16:creationId xmlns:a16="http://schemas.microsoft.com/office/drawing/2014/main" id="{2F00D869-203B-834A-9C6F-508F801A3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83392" y="8830262"/>
              <a:ext cx="2567585" cy="910308"/>
            </a:xfrm>
            <a:custGeom>
              <a:avLst/>
              <a:gdLst>
                <a:gd name="connsiteX0" fmla="*/ 2527516 w 2567585"/>
                <a:gd name="connsiteY0" fmla="*/ 833676 h 910308"/>
                <a:gd name="connsiteX1" fmla="*/ 2547049 w 2567585"/>
                <a:gd name="connsiteY1" fmla="*/ 838637 h 910308"/>
                <a:gd name="connsiteX2" fmla="*/ 2566913 w 2567585"/>
                <a:gd name="connsiteY2" fmla="*/ 892209 h 910308"/>
                <a:gd name="connsiteX3" fmla="*/ 2536455 w 2567585"/>
                <a:gd name="connsiteY3" fmla="*/ 904115 h 910308"/>
                <a:gd name="connsiteX4" fmla="*/ 2515929 w 2567585"/>
                <a:gd name="connsiteY4" fmla="*/ 850542 h 910308"/>
                <a:gd name="connsiteX5" fmla="*/ 2527516 w 2567585"/>
                <a:gd name="connsiteY5" fmla="*/ 833676 h 910308"/>
                <a:gd name="connsiteX6" fmla="*/ 40788 w 2567585"/>
                <a:gd name="connsiteY6" fmla="*/ 0 h 910308"/>
                <a:gd name="connsiteX7" fmla="*/ 68773 w 2567585"/>
                <a:gd name="connsiteY7" fmla="*/ 6398 h 910308"/>
                <a:gd name="connsiteX8" fmla="*/ 68773 w 2567585"/>
                <a:gd name="connsiteY8" fmla="*/ 39212 h 910308"/>
                <a:gd name="connsiteX9" fmla="*/ 12311 w 2567585"/>
                <a:gd name="connsiteY9" fmla="*/ 39212 h 910308"/>
                <a:gd name="connsiteX10" fmla="*/ 12311 w 2567585"/>
                <a:gd name="connsiteY10" fmla="*/ 6398 h 910308"/>
                <a:gd name="connsiteX11" fmla="*/ 40788 w 2567585"/>
                <a:gd name="connsiteY11" fmla="*/ 0 h 91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7585" h="910308">
                  <a:moveTo>
                    <a:pt x="2527516" y="833676"/>
                  </a:moveTo>
                  <a:cubicBezTo>
                    <a:pt x="2533144" y="831527"/>
                    <a:pt x="2540097" y="833015"/>
                    <a:pt x="2547049" y="838637"/>
                  </a:cubicBezTo>
                  <a:cubicBezTo>
                    <a:pt x="2560954" y="850542"/>
                    <a:pt x="2570224" y="874352"/>
                    <a:pt x="2566913" y="892209"/>
                  </a:cubicBezTo>
                  <a:cubicBezTo>
                    <a:pt x="2564265" y="910067"/>
                    <a:pt x="2550360" y="916020"/>
                    <a:pt x="2536455" y="904115"/>
                  </a:cubicBezTo>
                  <a:cubicBezTo>
                    <a:pt x="2522550" y="892209"/>
                    <a:pt x="2513280" y="869061"/>
                    <a:pt x="2515929" y="850542"/>
                  </a:cubicBezTo>
                  <a:cubicBezTo>
                    <a:pt x="2517584" y="841613"/>
                    <a:pt x="2521888" y="835826"/>
                    <a:pt x="2527516" y="833676"/>
                  </a:cubicBezTo>
                  <a:close/>
                  <a:moveTo>
                    <a:pt x="40788" y="0"/>
                  </a:moveTo>
                  <a:cubicBezTo>
                    <a:pt x="51047" y="0"/>
                    <a:pt x="61223" y="2133"/>
                    <a:pt x="68773" y="6398"/>
                  </a:cubicBezTo>
                  <a:cubicBezTo>
                    <a:pt x="84530" y="16242"/>
                    <a:pt x="84530" y="30680"/>
                    <a:pt x="68773" y="39212"/>
                  </a:cubicBezTo>
                  <a:cubicBezTo>
                    <a:pt x="53016" y="49056"/>
                    <a:pt x="27411" y="49056"/>
                    <a:pt x="12311" y="39212"/>
                  </a:cubicBezTo>
                  <a:cubicBezTo>
                    <a:pt x="-4103" y="30024"/>
                    <a:pt x="-4103" y="15586"/>
                    <a:pt x="12311" y="6398"/>
                  </a:cubicBezTo>
                  <a:cubicBezTo>
                    <a:pt x="20190" y="2133"/>
                    <a:pt x="30530" y="0"/>
                    <a:pt x="40788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E6C67908-D2AA-EE4B-8BDE-A8163FA3D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Software</a:t>
            </a:r>
          </a:p>
        </p:txBody>
      </p:sp>
    </p:spTree>
    <p:extLst>
      <p:ext uri="{BB962C8B-B14F-4D97-AF65-F5344CB8AC3E}">
        <p14:creationId xmlns:p14="http://schemas.microsoft.com/office/powerpoint/2010/main" val="386303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F0FCC2-0FC8-3F41-9E29-3BFB187DB443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6067960" y="798756"/>
            <a:chExt cx="10409636" cy="12249016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4585680D-13CD-554E-8C64-303ABF1D3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960" y="798756"/>
              <a:ext cx="9562175" cy="12231080"/>
            </a:xfrm>
            <a:custGeom>
              <a:avLst/>
              <a:gdLst>
                <a:gd name="connsiteX0" fmla="*/ 3600848 w 9562175"/>
                <a:gd name="connsiteY0" fmla="*/ 0 h 12231080"/>
                <a:gd name="connsiteX1" fmla="*/ 4496122 w 9562175"/>
                <a:gd name="connsiteY1" fmla="*/ 627521 h 12231080"/>
                <a:gd name="connsiteX2" fmla="*/ 5998308 w 9562175"/>
                <a:gd name="connsiteY2" fmla="*/ 1595633 h 12231080"/>
                <a:gd name="connsiteX3" fmla="*/ 8062832 w 9562175"/>
                <a:gd name="connsiteY3" fmla="*/ 1176249 h 12231080"/>
                <a:gd name="connsiteX4" fmla="*/ 8116388 w 9562175"/>
                <a:gd name="connsiteY4" fmla="*/ 3999583 h 12231080"/>
                <a:gd name="connsiteX5" fmla="*/ 8937365 w 9562175"/>
                <a:gd name="connsiteY5" fmla="*/ 8352169 h 12231080"/>
                <a:gd name="connsiteX6" fmla="*/ 8559246 w 9562175"/>
                <a:gd name="connsiteY6" fmla="*/ 8559315 h 12231080"/>
                <a:gd name="connsiteX7" fmla="*/ 8508054 w 9562175"/>
                <a:gd name="connsiteY7" fmla="*/ 8582243 h 12231080"/>
                <a:gd name="connsiteX8" fmla="*/ 8593241 w 9562175"/>
                <a:gd name="connsiteY8" fmla="*/ 8631261 h 12231080"/>
                <a:gd name="connsiteX9" fmla="*/ 8591281 w 9562175"/>
                <a:gd name="connsiteY9" fmla="*/ 8822646 h 12231080"/>
                <a:gd name="connsiteX10" fmla="*/ 6429098 w 9562175"/>
                <a:gd name="connsiteY10" fmla="*/ 10120278 h 12231080"/>
                <a:gd name="connsiteX11" fmla="*/ 6498497 w 9562175"/>
                <a:gd name="connsiteY11" fmla="*/ 10129969 h 12231080"/>
                <a:gd name="connsiteX12" fmla="*/ 7420314 w 9562175"/>
                <a:gd name="connsiteY12" fmla="*/ 10546695 h 12231080"/>
                <a:gd name="connsiteX13" fmla="*/ 7447440 w 9562175"/>
                <a:gd name="connsiteY13" fmla="*/ 10580981 h 12231080"/>
                <a:gd name="connsiteX14" fmla="*/ 7527912 w 9562175"/>
                <a:gd name="connsiteY14" fmla="*/ 10564954 h 12231080"/>
                <a:gd name="connsiteX15" fmla="*/ 7994178 w 9562175"/>
                <a:gd name="connsiteY15" fmla="*/ 10526594 h 12231080"/>
                <a:gd name="connsiteX16" fmla="*/ 9562175 w 9562175"/>
                <a:gd name="connsiteY16" fmla="*/ 11379490 h 12231080"/>
                <a:gd name="connsiteX17" fmla="*/ 7994178 w 9562175"/>
                <a:gd name="connsiteY17" fmla="*/ 12231080 h 12231080"/>
                <a:gd name="connsiteX18" fmla="*/ 6693976 w 9562175"/>
                <a:gd name="connsiteY18" fmla="*/ 11855571 h 12231080"/>
                <a:gd name="connsiteX19" fmla="*/ 6580039 w 9562175"/>
                <a:gd name="connsiteY19" fmla="*/ 11741570 h 12231080"/>
                <a:gd name="connsiteX20" fmla="*/ 6498497 w 9562175"/>
                <a:gd name="connsiteY20" fmla="*/ 11757799 h 12231080"/>
                <a:gd name="connsiteX21" fmla="*/ 6032037 w 9562175"/>
                <a:gd name="connsiteY21" fmla="*/ 11796155 h 12231080"/>
                <a:gd name="connsiteX22" fmla="*/ 4587855 w 9562175"/>
                <a:gd name="connsiteY22" fmla="*/ 11275442 h 12231080"/>
                <a:gd name="connsiteX23" fmla="*/ 4563810 w 9562175"/>
                <a:gd name="connsiteY23" fmla="*/ 11239729 h 12231080"/>
                <a:gd name="connsiteX24" fmla="*/ 3250582 w 9562175"/>
                <a:gd name="connsiteY24" fmla="*/ 12027861 h 12231080"/>
                <a:gd name="connsiteX25" fmla="*/ 2978190 w 9562175"/>
                <a:gd name="connsiteY25" fmla="*/ 12023942 h 12231080"/>
                <a:gd name="connsiteX26" fmla="*/ 234027 w 9562175"/>
                <a:gd name="connsiteY26" fmla="*/ 10500044 h 12231080"/>
                <a:gd name="connsiteX27" fmla="*/ 236640 w 9562175"/>
                <a:gd name="connsiteY27" fmla="*/ 10309312 h 12231080"/>
                <a:gd name="connsiteX28" fmla="*/ 1618263 w 9562175"/>
                <a:gd name="connsiteY28" fmla="*/ 9455658 h 12231080"/>
                <a:gd name="connsiteX29" fmla="*/ 1409994 w 9562175"/>
                <a:gd name="connsiteY29" fmla="*/ 9246116 h 12231080"/>
                <a:gd name="connsiteX30" fmla="*/ 971866 w 9562175"/>
                <a:gd name="connsiteY30" fmla="*/ 6535488 h 12231080"/>
                <a:gd name="connsiteX31" fmla="*/ 870631 w 9562175"/>
                <a:gd name="connsiteY31" fmla="*/ 3083730 h 12231080"/>
                <a:gd name="connsiteX32" fmla="*/ 1780433 w 9562175"/>
                <a:gd name="connsiteY32" fmla="*/ 1610005 h 12231080"/>
                <a:gd name="connsiteX33" fmla="*/ 3600848 w 9562175"/>
                <a:gd name="connsiteY33" fmla="*/ 0 h 1223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562175" h="12231080">
                  <a:moveTo>
                    <a:pt x="3600848" y="0"/>
                  </a:moveTo>
                  <a:cubicBezTo>
                    <a:pt x="3949565" y="-170"/>
                    <a:pt x="4274060" y="178210"/>
                    <a:pt x="4496122" y="627521"/>
                  </a:cubicBezTo>
                  <a:cubicBezTo>
                    <a:pt x="5130959" y="1913112"/>
                    <a:pt x="5333427" y="1941854"/>
                    <a:pt x="5998308" y="1595633"/>
                  </a:cubicBezTo>
                  <a:cubicBezTo>
                    <a:pt x="6662534" y="1248759"/>
                    <a:pt x="7098821" y="736613"/>
                    <a:pt x="8062832" y="1176249"/>
                  </a:cubicBezTo>
                  <a:cubicBezTo>
                    <a:pt x="8816537" y="1519857"/>
                    <a:pt x="9399777" y="3049762"/>
                    <a:pt x="8116388" y="3999583"/>
                  </a:cubicBezTo>
                  <a:cubicBezTo>
                    <a:pt x="7626545" y="4362135"/>
                    <a:pt x="9662986" y="7833490"/>
                    <a:pt x="8937365" y="8352169"/>
                  </a:cubicBezTo>
                  <a:cubicBezTo>
                    <a:pt x="8848867" y="8415371"/>
                    <a:pt x="8719732" y="8485095"/>
                    <a:pt x="8559246" y="8559315"/>
                  </a:cubicBezTo>
                  <a:lnTo>
                    <a:pt x="8508054" y="8582243"/>
                  </a:lnTo>
                  <a:lnTo>
                    <a:pt x="8593241" y="8631261"/>
                  </a:lnTo>
                  <a:cubicBezTo>
                    <a:pt x="8666401" y="8674372"/>
                    <a:pt x="8665094" y="8780189"/>
                    <a:pt x="8591281" y="8822646"/>
                  </a:cubicBezTo>
                  <a:lnTo>
                    <a:pt x="6429098" y="10120278"/>
                  </a:lnTo>
                  <a:lnTo>
                    <a:pt x="6498497" y="10129969"/>
                  </a:lnTo>
                  <a:cubicBezTo>
                    <a:pt x="6897586" y="10197385"/>
                    <a:pt x="7228358" y="10349036"/>
                    <a:pt x="7420314" y="10546695"/>
                  </a:cubicBezTo>
                  <a:lnTo>
                    <a:pt x="7447440" y="10580981"/>
                  </a:lnTo>
                  <a:lnTo>
                    <a:pt x="7527912" y="10564954"/>
                  </a:lnTo>
                  <a:cubicBezTo>
                    <a:pt x="7675206" y="10540025"/>
                    <a:pt x="7831811" y="10526594"/>
                    <a:pt x="7994178" y="10526594"/>
                  </a:cubicBezTo>
                  <a:cubicBezTo>
                    <a:pt x="8860788" y="10526594"/>
                    <a:pt x="9562175" y="10908634"/>
                    <a:pt x="9562175" y="11379490"/>
                  </a:cubicBezTo>
                  <a:cubicBezTo>
                    <a:pt x="9562175" y="11849693"/>
                    <a:pt x="8860788" y="12231080"/>
                    <a:pt x="7994178" y="12231080"/>
                  </a:cubicBezTo>
                  <a:cubicBezTo>
                    <a:pt x="7452954" y="12231080"/>
                    <a:pt x="6975761" y="12082101"/>
                    <a:pt x="6693976" y="11855571"/>
                  </a:cubicBezTo>
                  <a:lnTo>
                    <a:pt x="6580039" y="11741570"/>
                  </a:lnTo>
                  <a:lnTo>
                    <a:pt x="6498497" y="11757799"/>
                  </a:lnTo>
                  <a:cubicBezTo>
                    <a:pt x="6351141" y="11782724"/>
                    <a:pt x="6194472" y="11796155"/>
                    <a:pt x="6032037" y="11796155"/>
                  </a:cubicBezTo>
                  <a:cubicBezTo>
                    <a:pt x="5382787" y="11796155"/>
                    <a:pt x="4825781" y="11581257"/>
                    <a:pt x="4587855" y="11275442"/>
                  </a:cubicBezTo>
                  <a:lnTo>
                    <a:pt x="4563810" y="11239729"/>
                  </a:lnTo>
                  <a:lnTo>
                    <a:pt x="3250582" y="12027861"/>
                  </a:lnTo>
                  <a:cubicBezTo>
                    <a:pt x="3165663" y="12075544"/>
                    <a:pt x="3061149" y="12074238"/>
                    <a:pt x="2978190" y="12023942"/>
                  </a:cubicBezTo>
                  <a:lnTo>
                    <a:pt x="234027" y="10500044"/>
                  </a:lnTo>
                  <a:cubicBezTo>
                    <a:pt x="161520" y="10456280"/>
                    <a:pt x="162827" y="10351116"/>
                    <a:pt x="236640" y="10309312"/>
                  </a:cubicBezTo>
                  <a:lnTo>
                    <a:pt x="1618263" y="9455658"/>
                  </a:lnTo>
                  <a:lnTo>
                    <a:pt x="1409994" y="9246116"/>
                  </a:lnTo>
                  <a:cubicBezTo>
                    <a:pt x="900484" y="8658575"/>
                    <a:pt x="629833" y="7767268"/>
                    <a:pt x="971866" y="6535488"/>
                  </a:cubicBezTo>
                  <a:cubicBezTo>
                    <a:pt x="1173028" y="5812997"/>
                    <a:pt x="-1238306" y="4253696"/>
                    <a:pt x="870631" y="3083730"/>
                  </a:cubicBezTo>
                  <a:cubicBezTo>
                    <a:pt x="1429705" y="2773438"/>
                    <a:pt x="1611274" y="2356666"/>
                    <a:pt x="1780433" y="1610005"/>
                  </a:cubicBezTo>
                  <a:cubicBezTo>
                    <a:pt x="1949266" y="864936"/>
                    <a:pt x="2833672" y="376"/>
                    <a:pt x="3600848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8B9F721-5D7B-0949-9A52-A86825CAC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4671" y="8113815"/>
              <a:ext cx="1716660" cy="4496151"/>
            </a:xfrm>
            <a:custGeom>
              <a:avLst/>
              <a:gdLst>
                <a:gd name="T0" fmla="*/ 1355 w 2628"/>
                <a:gd name="T1" fmla="*/ 434 h 6882"/>
                <a:gd name="T2" fmla="*/ 2627 w 2628"/>
                <a:gd name="T3" fmla="*/ 0 h 6882"/>
                <a:gd name="T4" fmla="*/ 385 w 2628"/>
                <a:gd name="T5" fmla="*/ 6657 h 6882"/>
                <a:gd name="T6" fmla="*/ 0 w 2628"/>
                <a:gd name="T7" fmla="*/ 6881 h 6882"/>
                <a:gd name="T8" fmla="*/ 1355 w 2628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8" h="6882">
                  <a:moveTo>
                    <a:pt x="1355" y="434"/>
                  </a:moveTo>
                  <a:lnTo>
                    <a:pt x="2627" y="0"/>
                  </a:lnTo>
                  <a:lnTo>
                    <a:pt x="385" y="6657"/>
                  </a:lnTo>
                  <a:lnTo>
                    <a:pt x="0" y="6881"/>
                  </a:lnTo>
                  <a:lnTo>
                    <a:pt x="1355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8DC408B-ECEB-9E4B-AE7B-CFB6D2742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7486" y="6855121"/>
              <a:ext cx="1716660" cy="4496153"/>
            </a:xfrm>
            <a:custGeom>
              <a:avLst/>
              <a:gdLst>
                <a:gd name="T0" fmla="*/ 1354 w 2627"/>
                <a:gd name="T1" fmla="*/ 434 h 6882"/>
                <a:gd name="T2" fmla="*/ 2626 w 2627"/>
                <a:gd name="T3" fmla="*/ 0 h 6882"/>
                <a:gd name="T4" fmla="*/ 384 w 2627"/>
                <a:gd name="T5" fmla="*/ 6657 h 6882"/>
                <a:gd name="T6" fmla="*/ 0 w 2627"/>
                <a:gd name="T7" fmla="*/ 6881 h 6882"/>
                <a:gd name="T8" fmla="*/ 1354 w 2627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7" h="6882">
                  <a:moveTo>
                    <a:pt x="1354" y="434"/>
                  </a:moveTo>
                  <a:lnTo>
                    <a:pt x="2626" y="0"/>
                  </a:lnTo>
                  <a:lnTo>
                    <a:pt x="384" y="6657"/>
                  </a:lnTo>
                  <a:lnTo>
                    <a:pt x="0" y="6881"/>
                  </a:lnTo>
                  <a:lnTo>
                    <a:pt x="1354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78964C59-E4FF-9D45-A7E8-7005B9D6C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3686" y="4061227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7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7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00AF84BB-ADE1-2149-ABC9-097B85A91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7062" y="4041066"/>
              <a:ext cx="1486236" cy="2373369"/>
            </a:xfrm>
            <a:custGeom>
              <a:avLst/>
              <a:gdLst>
                <a:gd name="T0" fmla="*/ 1999 w 2275"/>
                <a:gd name="T1" fmla="*/ 2319 h 3635"/>
                <a:gd name="T2" fmla="*/ 119 w 2275"/>
                <a:gd name="T3" fmla="*/ 3602 h 3635"/>
                <a:gd name="T4" fmla="*/ 119 w 2275"/>
                <a:gd name="T5" fmla="*/ 3602 h 3635"/>
                <a:gd name="T6" fmla="*/ 0 w 2275"/>
                <a:gd name="T7" fmla="*/ 3534 h 3635"/>
                <a:gd name="T8" fmla="*/ 0 w 2275"/>
                <a:gd name="T9" fmla="*/ 1428 h 3635"/>
                <a:gd name="T10" fmla="*/ 0 w 2275"/>
                <a:gd name="T11" fmla="*/ 1428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117 w 2275"/>
                <a:gd name="T21" fmla="*/ 2113 h 3635"/>
                <a:gd name="T22" fmla="*/ 2117 w 2275"/>
                <a:gd name="T23" fmla="*/ 2113 h 3635"/>
                <a:gd name="T24" fmla="*/ 1999 w 2275"/>
                <a:gd name="T25" fmla="*/ 2319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1999" y="2319"/>
                  </a:moveTo>
                  <a:lnTo>
                    <a:pt x="119" y="3602"/>
                  </a:lnTo>
                  <a:lnTo>
                    <a:pt x="119" y="3602"/>
                  </a:lnTo>
                  <a:cubicBezTo>
                    <a:pt x="66" y="3634"/>
                    <a:pt x="0" y="3596"/>
                    <a:pt x="0" y="353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7" y="2113"/>
                  </a:lnTo>
                  <a:lnTo>
                    <a:pt x="2117" y="2113"/>
                  </a:lnTo>
                  <a:cubicBezTo>
                    <a:pt x="2117" y="2198"/>
                    <a:pt x="2072" y="2276"/>
                    <a:pt x="1999" y="2319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BBC96F-76E5-C84F-9ACF-707ED55DE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549" y="4078509"/>
              <a:ext cx="1486236" cy="2373369"/>
            </a:xfrm>
            <a:custGeom>
              <a:avLst/>
              <a:gdLst>
                <a:gd name="T0" fmla="*/ 2156 w 2275"/>
                <a:gd name="T1" fmla="*/ 2412 h 3635"/>
                <a:gd name="T2" fmla="*/ 119 w 2275"/>
                <a:gd name="T3" fmla="*/ 3603 h 3635"/>
                <a:gd name="T4" fmla="*/ 119 w 2275"/>
                <a:gd name="T5" fmla="*/ 3603 h 3635"/>
                <a:gd name="T6" fmla="*/ 0 w 2275"/>
                <a:gd name="T7" fmla="*/ 3535 h 3635"/>
                <a:gd name="T8" fmla="*/ 0 w 2275"/>
                <a:gd name="T9" fmla="*/ 1429 h 3635"/>
                <a:gd name="T10" fmla="*/ 0 w 2275"/>
                <a:gd name="T11" fmla="*/ 1429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274 w 2275"/>
                <a:gd name="T21" fmla="*/ 2206 h 3635"/>
                <a:gd name="T22" fmla="*/ 2274 w 2275"/>
                <a:gd name="T23" fmla="*/ 2206 h 3635"/>
                <a:gd name="T24" fmla="*/ 2156 w 2275"/>
                <a:gd name="T25" fmla="*/ 2412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2156" y="2412"/>
                  </a:moveTo>
                  <a:lnTo>
                    <a:pt x="119" y="3603"/>
                  </a:lnTo>
                  <a:lnTo>
                    <a:pt x="119" y="3603"/>
                  </a:lnTo>
                  <a:cubicBezTo>
                    <a:pt x="67" y="3634"/>
                    <a:pt x="0" y="3597"/>
                    <a:pt x="0" y="3535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4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274" y="2206"/>
                  </a:lnTo>
                  <a:lnTo>
                    <a:pt x="2274" y="2206"/>
                  </a:lnTo>
                  <a:cubicBezTo>
                    <a:pt x="2274" y="2291"/>
                    <a:pt x="2229" y="2369"/>
                    <a:pt x="2156" y="2412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D4C12628-F717-7F43-B297-21CF93D7D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003088"/>
              <a:ext cx="1163642" cy="751758"/>
            </a:xfrm>
            <a:custGeom>
              <a:avLst/>
              <a:gdLst>
                <a:gd name="T0" fmla="*/ 1748 w 1781"/>
                <a:gd name="T1" fmla="*/ 157 h 1149"/>
                <a:gd name="T2" fmla="*/ 51 w 1781"/>
                <a:gd name="T3" fmla="*/ 1135 h 1149"/>
                <a:gd name="T4" fmla="*/ 51 w 1781"/>
                <a:gd name="T5" fmla="*/ 1135 h 1149"/>
                <a:gd name="T6" fmla="*/ 0 w 1781"/>
                <a:gd name="T7" fmla="*/ 1107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1" y="1135"/>
                  </a:lnTo>
                  <a:lnTo>
                    <a:pt x="51" y="1135"/>
                  </a:lnTo>
                  <a:cubicBezTo>
                    <a:pt x="28" y="1148"/>
                    <a:pt x="0" y="1132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5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997868EC-B971-5040-92CC-F54D8FE62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201827"/>
              <a:ext cx="1163642" cy="751760"/>
            </a:xfrm>
            <a:custGeom>
              <a:avLst/>
              <a:gdLst>
                <a:gd name="T0" fmla="*/ 1748 w 1781"/>
                <a:gd name="T1" fmla="*/ 158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8 h 1150"/>
                <a:gd name="T10" fmla="*/ 0 w 1781"/>
                <a:gd name="T11" fmla="*/ 1058 h 1150"/>
                <a:gd name="T12" fmla="*/ 41 w 1781"/>
                <a:gd name="T13" fmla="*/ 985 h 1150"/>
                <a:gd name="T14" fmla="*/ 1727 w 1781"/>
                <a:gd name="T15" fmla="*/ 15 h 1150"/>
                <a:gd name="T16" fmla="*/ 1727 w 1781"/>
                <a:gd name="T17" fmla="*/ 15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8"/>
                  </a:lnTo>
                  <a:lnTo>
                    <a:pt x="0" y="1058"/>
                  </a:lnTo>
                  <a:cubicBezTo>
                    <a:pt x="0" y="1028"/>
                    <a:pt x="16" y="1001"/>
                    <a:pt x="41" y="985"/>
                  </a:cubicBezTo>
                  <a:lnTo>
                    <a:pt x="1727" y="15"/>
                  </a:lnTo>
                  <a:lnTo>
                    <a:pt x="1727" y="15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501102D7-9C13-DA44-A76C-9FBCFD7E1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397688"/>
              <a:ext cx="1163642" cy="751760"/>
            </a:xfrm>
            <a:custGeom>
              <a:avLst/>
              <a:gdLst>
                <a:gd name="T0" fmla="*/ 1748 w 1781"/>
                <a:gd name="T1" fmla="*/ 157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5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7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7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7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47A243C0-2A51-0349-B6B6-B6E6FB995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8728" y="2802536"/>
              <a:ext cx="63367" cy="241945"/>
            </a:xfrm>
            <a:custGeom>
              <a:avLst/>
              <a:gdLst>
                <a:gd name="T0" fmla="*/ 96 w 97"/>
                <a:gd name="T1" fmla="*/ 371 h 372"/>
                <a:gd name="T2" fmla="*/ 0 w 97"/>
                <a:gd name="T3" fmla="*/ 312 h 372"/>
                <a:gd name="T4" fmla="*/ 0 w 97"/>
                <a:gd name="T5" fmla="*/ 0 h 372"/>
                <a:gd name="T6" fmla="*/ 96 w 97"/>
                <a:gd name="T7" fmla="*/ 58 h 372"/>
                <a:gd name="T8" fmla="*/ 96 w 97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72">
                  <a:moveTo>
                    <a:pt x="96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6" y="58"/>
                  </a:lnTo>
                  <a:lnTo>
                    <a:pt x="96" y="371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B39B8A92-224C-1540-95FE-5C33A7A3B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6546" y="904417"/>
              <a:ext cx="167058" cy="285151"/>
            </a:xfrm>
            <a:custGeom>
              <a:avLst/>
              <a:gdLst>
                <a:gd name="T0" fmla="*/ 254 w 255"/>
                <a:gd name="T1" fmla="*/ 434 h 435"/>
                <a:gd name="T2" fmla="*/ 0 w 255"/>
                <a:gd name="T3" fmla="*/ 219 h 435"/>
                <a:gd name="T4" fmla="*/ 158 w 255"/>
                <a:gd name="T5" fmla="*/ 0 h 435"/>
                <a:gd name="T6" fmla="*/ 254 w 255"/>
                <a:gd name="T7" fmla="*/ 58 h 435"/>
                <a:gd name="T8" fmla="*/ 254 w 255"/>
                <a:gd name="T9" fmla="*/ 434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435">
                  <a:moveTo>
                    <a:pt x="254" y="434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4" y="58"/>
                  </a:lnTo>
                  <a:lnTo>
                    <a:pt x="254" y="434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5E6F0335-1157-244A-B691-C03675ABD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2803" y="884255"/>
              <a:ext cx="1486236" cy="2142945"/>
            </a:xfrm>
            <a:custGeom>
              <a:avLst/>
              <a:gdLst>
                <a:gd name="T0" fmla="*/ 1998 w 2275"/>
                <a:gd name="T1" fmla="*/ 1963 h 3279"/>
                <a:gd name="T2" fmla="*/ 118 w 2275"/>
                <a:gd name="T3" fmla="*/ 3247 h 3279"/>
                <a:gd name="T4" fmla="*/ 118 w 2275"/>
                <a:gd name="T5" fmla="*/ 3247 h 3279"/>
                <a:gd name="T6" fmla="*/ 0 w 2275"/>
                <a:gd name="T7" fmla="*/ 3179 h 3279"/>
                <a:gd name="T8" fmla="*/ 0 w 2275"/>
                <a:gd name="T9" fmla="*/ 1429 h 3279"/>
                <a:gd name="T10" fmla="*/ 0 w 2275"/>
                <a:gd name="T11" fmla="*/ 1429 h 3279"/>
                <a:gd name="T12" fmla="*/ 117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116 w 2275"/>
                <a:gd name="T21" fmla="*/ 1757 h 3279"/>
                <a:gd name="T22" fmla="*/ 2116 w 2275"/>
                <a:gd name="T23" fmla="*/ 1757 h 3279"/>
                <a:gd name="T24" fmla="*/ 1998 w 2275"/>
                <a:gd name="T25" fmla="*/ 1963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1998" y="1963"/>
                  </a:moveTo>
                  <a:lnTo>
                    <a:pt x="118" y="3247"/>
                  </a:lnTo>
                  <a:lnTo>
                    <a:pt x="118" y="3247"/>
                  </a:lnTo>
                  <a:cubicBezTo>
                    <a:pt x="66" y="3278"/>
                    <a:pt x="0" y="3240"/>
                    <a:pt x="0" y="3179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3"/>
                    <a:pt x="44" y="1265"/>
                    <a:pt x="117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116" y="1757"/>
                  </a:lnTo>
                  <a:lnTo>
                    <a:pt x="2116" y="1757"/>
                  </a:lnTo>
                  <a:cubicBezTo>
                    <a:pt x="2116" y="1842"/>
                    <a:pt x="2071" y="1920"/>
                    <a:pt x="1998" y="1963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F522F55B-D9D3-B74C-8EDA-72C1DA49D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3291" y="921698"/>
              <a:ext cx="1486236" cy="2142945"/>
            </a:xfrm>
            <a:custGeom>
              <a:avLst/>
              <a:gdLst>
                <a:gd name="T0" fmla="*/ 2156 w 2275"/>
                <a:gd name="T1" fmla="*/ 2055 h 3279"/>
                <a:gd name="T2" fmla="*/ 119 w 2275"/>
                <a:gd name="T3" fmla="*/ 3247 h 3279"/>
                <a:gd name="T4" fmla="*/ 119 w 2275"/>
                <a:gd name="T5" fmla="*/ 3247 h 3279"/>
                <a:gd name="T6" fmla="*/ 0 w 2275"/>
                <a:gd name="T7" fmla="*/ 3178 h 3279"/>
                <a:gd name="T8" fmla="*/ 0 w 2275"/>
                <a:gd name="T9" fmla="*/ 1428 h 3279"/>
                <a:gd name="T10" fmla="*/ 0 w 2275"/>
                <a:gd name="T11" fmla="*/ 1428 h 3279"/>
                <a:gd name="T12" fmla="*/ 118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274 w 2275"/>
                <a:gd name="T21" fmla="*/ 1849 h 3279"/>
                <a:gd name="T22" fmla="*/ 2274 w 2275"/>
                <a:gd name="T23" fmla="*/ 1849 h 3279"/>
                <a:gd name="T24" fmla="*/ 2156 w 2275"/>
                <a:gd name="T25" fmla="*/ 2055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2156" y="2055"/>
                  </a:moveTo>
                  <a:lnTo>
                    <a:pt x="119" y="3247"/>
                  </a:lnTo>
                  <a:lnTo>
                    <a:pt x="119" y="3247"/>
                  </a:lnTo>
                  <a:cubicBezTo>
                    <a:pt x="66" y="3278"/>
                    <a:pt x="0" y="3239"/>
                    <a:pt x="0" y="3178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274" y="1849"/>
                  </a:lnTo>
                  <a:lnTo>
                    <a:pt x="2274" y="1849"/>
                  </a:lnTo>
                  <a:cubicBezTo>
                    <a:pt x="2274" y="1934"/>
                    <a:pt x="2229" y="2012"/>
                    <a:pt x="2156" y="205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EF53726-CB27-594B-9FCD-AF6D7553B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4748" y="1224265"/>
              <a:ext cx="1162990" cy="1528941"/>
            </a:xfrm>
            <a:custGeom>
              <a:avLst/>
              <a:gdLst>
                <a:gd name="connsiteX0" fmla="*/ 811619 w 1162990"/>
                <a:gd name="connsiteY0" fmla="*/ 988059 h 1528941"/>
                <a:gd name="connsiteX1" fmla="*/ 823115 w 1162990"/>
                <a:gd name="connsiteY1" fmla="*/ 1007877 h 1528941"/>
                <a:gd name="connsiteX2" fmla="*/ 823115 w 1162990"/>
                <a:gd name="connsiteY2" fmla="*/ 1045720 h 1528941"/>
                <a:gd name="connsiteX3" fmla="*/ 802243 w 1162990"/>
                <a:gd name="connsiteY3" fmla="*/ 1081606 h 1528941"/>
                <a:gd name="connsiteX4" fmla="*/ 32612 w 1162990"/>
                <a:gd name="connsiteY4" fmla="*/ 1525932 h 1528941"/>
                <a:gd name="connsiteX5" fmla="*/ 1 w 1162990"/>
                <a:gd name="connsiteY5" fmla="*/ 1507010 h 1528941"/>
                <a:gd name="connsiteX6" fmla="*/ 1 w 1162990"/>
                <a:gd name="connsiteY6" fmla="*/ 1475040 h 1528941"/>
                <a:gd name="connsiteX7" fmla="*/ 26742 w 1162990"/>
                <a:gd name="connsiteY7" fmla="*/ 1427410 h 1528941"/>
                <a:gd name="connsiteX8" fmla="*/ 787894 w 1162990"/>
                <a:gd name="connsiteY8" fmla="*/ 988304 h 1528941"/>
                <a:gd name="connsiteX9" fmla="*/ 811619 w 1162990"/>
                <a:gd name="connsiteY9" fmla="*/ 988059 h 1528941"/>
                <a:gd name="connsiteX10" fmla="*/ 327960 w 1162990"/>
                <a:gd name="connsiteY10" fmla="*/ 861188 h 1528941"/>
                <a:gd name="connsiteX11" fmla="*/ 350746 w 1162990"/>
                <a:gd name="connsiteY11" fmla="*/ 884679 h 1528941"/>
                <a:gd name="connsiteX12" fmla="*/ 350746 w 1162990"/>
                <a:gd name="connsiteY12" fmla="*/ 921872 h 1528941"/>
                <a:gd name="connsiteX13" fmla="*/ 329923 w 1162990"/>
                <a:gd name="connsiteY13" fmla="*/ 957761 h 1528941"/>
                <a:gd name="connsiteX14" fmla="*/ 32537 w 1162990"/>
                <a:gd name="connsiteY14" fmla="*/ 1130678 h 1528941"/>
                <a:gd name="connsiteX15" fmla="*/ 0 w 1162990"/>
                <a:gd name="connsiteY15" fmla="*/ 1111755 h 1528941"/>
                <a:gd name="connsiteX16" fmla="*/ 0 w 1162990"/>
                <a:gd name="connsiteY16" fmla="*/ 1079782 h 1528941"/>
                <a:gd name="connsiteX17" fmla="*/ 26680 w 1162990"/>
                <a:gd name="connsiteY17" fmla="*/ 1032800 h 1528941"/>
                <a:gd name="connsiteX18" fmla="*/ 316257 w 1162990"/>
                <a:gd name="connsiteY18" fmla="*/ 864450 h 1528941"/>
                <a:gd name="connsiteX19" fmla="*/ 327960 w 1162990"/>
                <a:gd name="connsiteY19" fmla="*/ 861188 h 1528941"/>
                <a:gd name="connsiteX20" fmla="*/ 1128457 w 1162990"/>
                <a:gd name="connsiteY20" fmla="*/ 780271 h 1528941"/>
                <a:gd name="connsiteX21" fmla="*/ 1162990 w 1162990"/>
                <a:gd name="connsiteY21" fmla="*/ 800504 h 1528941"/>
                <a:gd name="connsiteX22" fmla="*/ 1162990 w 1162990"/>
                <a:gd name="connsiteY22" fmla="*/ 838359 h 1528941"/>
                <a:gd name="connsiteX23" fmla="*/ 1142140 w 1162990"/>
                <a:gd name="connsiteY23" fmla="*/ 874257 h 1528941"/>
                <a:gd name="connsiteX24" fmla="*/ 888681 w 1162990"/>
                <a:gd name="connsiteY24" fmla="*/ 1027637 h 1528941"/>
                <a:gd name="connsiteX25" fmla="*/ 855451 w 1162990"/>
                <a:gd name="connsiteY25" fmla="*/ 1008709 h 1528941"/>
                <a:gd name="connsiteX26" fmla="*/ 855451 w 1162990"/>
                <a:gd name="connsiteY26" fmla="*/ 976075 h 1528941"/>
                <a:gd name="connsiteX27" fmla="*/ 882165 w 1162990"/>
                <a:gd name="connsiteY27" fmla="*/ 929082 h 1528941"/>
                <a:gd name="connsiteX28" fmla="*/ 1128341 w 1162990"/>
                <a:gd name="connsiteY28" fmla="*/ 595954 h 1528941"/>
                <a:gd name="connsiteX29" fmla="*/ 1162988 w 1162990"/>
                <a:gd name="connsiteY29" fmla="*/ 616236 h 1528941"/>
                <a:gd name="connsiteX30" fmla="*/ 1162988 w 1162990"/>
                <a:gd name="connsiteY30" fmla="*/ 654184 h 1528941"/>
                <a:gd name="connsiteX31" fmla="*/ 1142723 w 1162990"/>
                <a:gd name="connsiteY31" fmla="*/ 690169 h 1528941"/>
                <a:gd name="connsiteX32" fmla="*/ 32687 w 1162990"/>
                <a:gd name="connsiteY32" fmla="*/ 1330046 h 1528941"/>
                <a:gd name="connsiteX33" fmla="*/ 0 w 1162990"/>
                <a:gd name="connsiteY33" fmla="*/ 1311072 h 1528941"/>
                <a:gd name="connsiteX34" fmla="*/ 0 w 1162990"/>
                <a:gd name="connsiteY34" fmla="*/ 1278359 h 1528941"/>
                <a:gd name="connsiteX35" fmla="*/ 26803 w 1162990"/>
                <a:gd name="connsiteY35" fmla="*/ 1231906 h 1528941"/>
                <a:gd name="connsiteX36" fmla="*/ 823212 w 1162990"/>
                <a:gd name="connsiteY36" fmla="*/ 581796 h 1528941"/>
                <a:gd name="connsiteX37" fmla="*/ 846153 w 1162990"/>
                <a:gd name="connsiteY37" fmla="*/ 604675 h 1528941"/>
                <a:gd name="connsiteX38" fmla="*/ 846153 w 1162990"/>
                <a:gd name="connsiteY38" fmla="*/ 642570 h 1528941"/>
                <a:gd name="connsiteX39" fmla="*/ 825187 w 1162990"/>
                <a:gd name="connsiteY39" fmla="*/ 678506 h 1528941"/>
                <a:gd name="connsiteX40" fmla="*/ 421600 w 1162990"/>
                <a:gd name="connsiteY40" fmla="*/ 912415 h 1528941"/>
                <a:gd name="connsiteX41" fmla="*/ 388841 w 1162990"/>
                <a:gd name="connsiteY41" fmla="*/ 893467 h 1528941"/>
                <a:gd name="connsiteX42" fmla="*/ 388841 w 1162990"/>
                <a:gd name="connsiteY42" fmla="*/ 860798 h 1528941"/>
                <a:gd name="connsiteX43" fmla="*/ 415703 w 1162990"/>
                <a:gd name="connsiteY43" fmla="*/ 814408 h 1528941"/>
                <a:gd name="connsiteX44" fmla="*/ 811429 w 1162990"/>
                <a:gd name="connsiteY44" fmla="*/ 585073 h 1528941"/>
                <a:gd name="connsiteX45" fmla="*/ 823212 w 1162990"/>
                <a:gd name="connsiteY45" fmla="*/ 581796 h 1528941"/>
                <a:gd name="connsiteX46" fmla="*/ 1134380 w 1162990"/>
                <a:gd name="connsiteY46" fmla="*/ 400324 h 1528941"/>
                <a:gd name="connsiteX47" fmla="*/ 1157229 w 1162990"/>
                <a:gd name="connsiteY47" fmla="*/ 423149 h 1528941"/>
                <a:gd name="connsiteX48" fmla="*/ 1157229 w 1162990"/>
                <a:gd name="connsiteY48" fmla="*/ 460957 h 1528941"/>
                <a:gd name="connsiteX49" fmla="*/ 1136348 w 1162990"/>
                <a:gd name="connsiteY49" fmla="*/ 496809 h 1528941"/>
                <a:gd name="connsiteX50" fmla="*/ 905358 w 1162990"/>
                <a:gd name="connsiteY50" fmla="*/ 633047 h 1528941"/>
                <a:gd name="connsiteX51" fmla="*/ 872732 w 1162990"/>
                <a:gd name="connsiteY51" fmla="*/ 614143 h 1528941"/>
                <a:gd name="connsiteX52" fmla="*/ 872732 w 1162990"/>
                <a:gd name="connsiteY52" fmla="*/ 581550 h 1528941"/>
                <a:gd name="connsiteX53" fmla="*/ 898833 w 1162990"/>
                <a:gd name="connsiteY53" fmla="*/ 535268 h 1528941"/>
                <a:gd name="connsiteX54" fmla="*/ 1122645 w 1162990"/>
                <a:gd name="connsiteY54" fmla="*/ 403593 h 1528941"/>
                <a:gd name="connsiteX55" fmla="*/ 1134380 w 1162990"/>
                <a:gd name="connsiteY55" fmla="*/ 400324 h 1528941"/>
                <a:gd name="connsiteX56" fmla="*/ 523986 w 1162990"/>
                <a:gd name="connsiteY56" fmla="*/ 360306 h 1528941"/>
                <a:gd name="connsiteX57" fmla="*/ 546604 w 1162990"/>
                <a:gd name="connsiteY57" fmla="*/ 383581 h 1528941"/>
                <a:gd name="connsiteX58" fmla="*/ 546604 w 1162990"/>
                <a:gd name="connsiteY58" fmla="*/ 420869 h 1528941"/>
                <a:gd name="connsiteX59" fmla="*/ 525682 w 1162990"/>
                <a:gd name="connsiteY59" fmla="*/ 456850 h 1528941"/>
                <a:gd name="connsiteX60" fmla="*/ 32693 w 1162990"/>
                <a:gd name="connsiteY60" fmla="*/ 744692 h 1528941"/>
                <a:gd name="connsiteX61" fmla="*/ 1 w 1162990"/>
                <a:gd name="connsiteY61" fmla="*/ 725721 h 1528941"/>
                <a:gd name="connsiteX62" fmla="*/ 1 w 1162990"/>
                <a:gd name="connsiteY62" fmla="*/ 693666 h 1528941"/>
                <a:gd name="connsiteX63" fmla="*/ 26808 w 1162990"/>
                <a:gd name="connsiteY63" fmla="*/ 646564 h 1528941"/>
                <a:gd name="connsiteX64" fmla="*/ 511951 w 1162990"/>
                <a:gd name="connsiteY64" fmla="*/ 363955 h 1528941"/>
                <a:gd name="connsiteX65" fmla="*/ 523986 w 1162990"/>
                <a:gd name="connsiteY65" fmla="*/ 360306 h 1528941"/>
                <a:gd name="connsiteX66" fmla="*/ 1140373 w 1162990"/>
                <a:gd name="connsiteY66" fmla="*/ 201610 h 1528941"/>
                <a:gd name="connsiteX67" fmla="*/ 1162988 w 1162990"/>
                <a:gd name="connsiteY67" fmla="*/ 225144 h 1528941"/>
                <a:gd name="connsiteX68" fmla="*/ 1162988 w 1162990"/>
                <a:gd name="connsiteY68" fmla="*/ 262405 h 1528941"/>
                <a:gd name="connsiteX69" fmla="*/ 1142723 w 1162990"/>
                <a:gd name="connsiteY69" fmla="*/ 298358 h 1528941"/>
                <a:gd name="connsiteX70" fmla="*/ 32687 w 1162990"/>
                <a:gd name="connsiteY70" fmla="*/ 938333 h 1528941"/>
                <a:gd name="connsiteX71" fmla="*/ 0 w 1162990"/>
                <a:gd name="connsiteY71" fmla="*/ 919376 h 1528941"/>
                <a:gd name="connsiteX72" fmla="*/ 0 w 1162990"/>
                <a:gd name="connsiteY72" fmla="*/ 886691 h 1528941"/>
                <a:gd name="connsiteX73" fmla="*/ 26803 w 1162990"/>
                <a:gd name="connsiteY73" fmla="*/ 840278 h 1528941"/>
                <a:gd name="connsiteX74" fmla="*/ 1128341 w 1162990"/>
                <a:gd name="connsiteY74" fmla="*/ 204879 h 1528941"/>
                <a:gd name="connsiteX75" fmla="*/ 1140373 w 1162990"/>
                <a:gd name="connsiteY75" fmla="*/ 201610 h 1528941"/>
                <a:gd name="connsiteX76" fmla="*/ 1131532 w 1162990"/>
                <a:gd name="connsiteY76" fmla="*/ 1 h 1528941"/>
                <a:gd name="connsiteX77" fmla="*/ 1154350 w 1162990"/>
                <a:gd name="connsiteY77" fmla="*/ 23582 h 1528941"/>
                <a:gd name="connsiteX78" fmla="*/ 1154350 w 1162990"/>
                <a:gd name="connsiteY78" fmla="*/ 60918 h 1528941"/>
                <a:gd name="connsiteX79" fmla="*/ 1133497 w 1162990"/>
                <a:gd name="connsiteY79" fmla="*/ 97599 h 1528941"/>
                <a:gd name="connsiteX80" fmla="*/ 612176 w 1162990"/>
                <a:gd name="connsiteY80" fmla="*/ 405460 h 1528941"/>
                <a:gd name="connsiteX81" fmla="*/ 578942 w 1162990"/>
                <a:gd name="connsiteY81" fmla="*/ 386464 h 1528941"/>
                <a:gd name="connsiteX82" fmla="*/ 578942 w 1162990"/>
                <a:gd name="connsiteY82" fmla="*/ 353713 h 1528941"/>
                <a:gd name="connsiteX83" fmla="*/ 606311 w 1162990"/>
                <a:gd name="connsiteY83" fmla="*/ 307206 h 1528941"/>
                <a:gd name="connsiteX84" fmla="*/ 1119813 w 1162990"/>
                <a:gd name="connsiteY84" fmla="*/ 3276 h 1528941"/>
                <a:gd name="connsiteX85" fmla="*/ 1131532 w 1162990"/>
                <a:gd name="connsiteY85" fmla="*/ 1 h 152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162990" h="1528941">
                  <a:moveTo>
                    <a:pt x="811619" y="988059"/>
                  </a:moveTo>
                  <a:cubicBezTo>
                    <a:pt x="818386" y="991892"/>
                    <a:pt x="823115" y="999069"/>
                    <a:pt x="823115" y="1007877"/>
                  </a:cubicBezTo>
                  <a:lnTo>
                    <a:pt x="823115" y="1045720"/>
                  </a:lnTo>
                  <a:cubicBezTo>
                    <a:pt x="823115" y="1060074"/>
                    <a:pt x="815288" y="1073776"/>
                    <a:pt x="802243" y="1081606"/>
                  </a:cubicBezTo>
                  <a:lnTo>
                    <a:pt x="32612" y="1525932"/>
                  </a:lnTo>
                  <a:cubicBezTo>
                    <a:pt x="18263" y="1534414"/>
                    <a:pt x="1" y="1523974"/>
                    <a:pt x="1" y="1507010"/>
                  </a:cubicBezTo>
                  <a:lnTo>
                    <a:pt x="1" y="1475040"/>
                  </a:lnTo>
                  <a:cubicBezTo>
                    <a:pt x="1" y="1455466"/>
                    <a:pt x="9784" y="1437849"/>
                    <a:pt x="26742" y="1427410"/>
                  </a:cubicBezTo>
                  <a:lnTo>
                    <a:pt x="787894" y="988304"/>
                  </a:lnTo>
                  <a:cubicBezTo>
                    <a:pt x="796047" y="983736"/>
                    <a:pt x="804852" y="984226"/>
                    <a:pt x="811619" y="988059"/>
                  </a:cubicBezTo>
                  <a:close/>
                  <a:moveTo>
                    <a:pt x="327960" y="861188"/>
                  </a:moveTo>
                  <a:cubicBezTo>
                    <a:pt x="339765" y="861310"/>
                    <a:pt x="350746" y="870976"/>
                    <a:pt x="350746" y="884679"/>
                  </a:cubicBezTo>
                  <a:lnTo>
                    <a:pt x="350746" y="921872"/>
                  </a:lnTo>
                  <a:cubicBezTo>
                    <a:pt x="350746" y="936880"/>
                    <a:pt x="342937" y="950583"/>
                    <a:pt x="329923" y="957761"/>
                  </a:cubicBezTo>
                  <a:lnTo>
                    <a:pt x="32537" y="1130678"/>
                  </a:lnTo>
                  <a:cubicBezTo>
                    <a:pt x="18221" y="1139814"/>
                    <a:pt x="0" y="1128721"/>
                    <a:pt x="0" y="1111755"/>
                  </a:cubicBezTo>
                  <a:lnTo>
                    <a:pt x="0" y="1079782"/>
                  </a:lnTo>
                  <a:cubicBezTo>
                    <a:pt x="0" y="1060206"/>
                    <a:pt x="9761" y="1042588"/>
                    <a:pt x="26680" y="1032800"/>
                  </a:cubicBezTo>
                  <a:lnTo>
                    <a:pt x="316257" y="864450"/>
                  </a:lnTo>
                  <a:cubicBezTo>
                    <a:pt x="319999" y="862166"/>
                    <a:pt x="324025" y="861147"/>
                    <a:pt x="327960" y="861188"/>
                  </a:cubicBezTo>
                  <a:close/>
                  <a:moveTo>
                    <a:pt x="1128457" y="780271"/>
                  </a:moveTo>
                  <a:cubicBezTo>
                    <a:pt x="1143443" y="771786"/>
                    <a:pt x="1162990" y="782882"/>
                    <a:pt x="1162990" y="800504"/>
                  </a:cubicBezTo>
                  <a:lnTo>
                    <a:pt x="1162990" y="838359"/>
                  </a:lnTo>
                  <a:cubicBezTo>
                    <a:pt x="1162990" y="852718"/>
                    <a:pt x="1155172" y="866425"/>
                    <a:pt x="1142140" y="874257"/>
                  </a:cubicBezTo>
                  <a:lnTo>
                    <a:pt x="888681" y="1027637"/>
                  </a:lnTo>
                  <a:cubicBezTo>
                    <a:pt x="873695" y="1036121"/>
                    <a:pt x="855451" y="1025679"/>
                    <a:pt x="855451" y="1008709"/>
                  </a:cubicBezTo>
                  <a:lnTo>
                    <a:pt x="855451" y="976075"/>
                  </a:lnTo>
                  <a:cubicBezTo>
                    <a:pt x="855451" y="957147"/>
                    <a:pt x="865224" y="938872"/>
                    <a:pt x="882165" y="929082"/>
                  </a:cubicBezTo>
                  <a:close/>
                  <a:moveTo>
                    <a:pt x="1128341" y="595954"/>
                  </a:moveTo>
                  <a:cubicBezTo>
                    <a:pt x="1144030" y="587448"/>
                    <a:pt x="1162988" y="598571"/>
                    <a:pt x="1162988" y="616236"/>
                  </a:cubicBezTo>
                  <a:lnTo>
                    <a:pt x="1162988" y="654184"/>
                  </a:lnTo>
                  <a:cubicBezTo>
                    <a:pt x="1162988" y="668578"/>
                    <a:pt x="1155797" y="682317"/>
                    <a:pt x="1142723" y="690169"/>
                  </a:cubicBezTo>
                  <a:lnTo>
                    <a:pt x="32687" y="1330046"/>
                  </a:lnTo>
                  <a:cubicBezTo>
                    <a:pt x="18304" y="1338552"/>
                    <a:pt x="0" y="1328084"/>
                    <a:pt x="0" y="1311072"/>
                  </a:cubicBezTo>
                  <a:lnTo>
                    <a:pt x="0" y="1278359"/>
                  </a:lnTo>
                  <a:cubicBezTo>
                    <a:pt x="0" y="1259385"/>
                    <a:pt x="9806" y="1241720"/>
                    <a:pt x="26803" y="1231906"/>
                  </a:cubicBezTo>
                  <a:close/>
                  <a:moveTo>
                    <a:pt x="823212" y="581796"/>
                  </a:moveTo>
                  <a:cubicBezTo>
                    <a:pt x="835097" y="581888"/>
                    <a:pt x="846153" y="591444"/>
                    <a:pt x="846153" y="604675"/>
                  </a:cubicBezTo>
                  <a:lnTo>
                    <a:pt x="846153" y="642570"/>
                  </a:lnTo>
                  <a:cubicBezTo>
                    <a:pt x="846153" y="657598"/>
                    <a:pt x="838291" y="670666"/>
                    <a:pt x="825187" y="678506"/>
                  </a:cubicBezTo>
                  <a:lnTo>
                    <a:pt x="421600" y="912415"/>
                  </a:lnTo>
                  <a:cubicBezTo>
                    <a:pt x="407186" y="920909"/>
                    <a:pt x="388841" y="910455"/>
                    <a:pt x="388841" y="893467"/>
                  </a:cubicBezTo>
                  <a:lnTo>
                    <a:pt x="388841" y="860798"/>
                  </a:lnTo>
                  <a:cubicBezTo>
                    <a:pt x="388841" y="841850"/>
                    <a:pt x="399324" y="823556"/>
                    <a:pt x="415703" y="814408"/>
                  </a:cubicBezTo>
                  <a:lnTo>
                    <a:pt x="811429" y="585073"/>
                  </a:lnTo>
                  <a:cubicBezTo>
                    <a:pt x="815196" y="582787"/>
                    <a:pt x="819250" y="581766"/>
                    <a:pt x="823212" y="581796"/>
                  </a:cubicBezTo>
                  <a:close/>
                  <a:moveTo>
                    <a:pt x="1134380" y="400324"/>
                  </a:moveTo>
                  <a:cubicBezTo>
                    <a:pt x="1146218" y="400415"/>
                    <a:pt x="1157229" y="409949"/>
                    <a:pt x="1157229" y="423149"/>
                  </a:cubicBezTo>
                  <a:lnTo>
                    <a:pt x="1157229" y="460957"/>
                  </a:lnTo>
                  <a:cubicBezTo>
                    <a:pt x="1157229" y="475949"/>
                    <a:pt x="1149398" y="489638"/>
                    <a:pt x="1136348" y="496809"/>
                  </a:cubicBezTo>
                  <a:lnTo>
                    <a:pt x="905358" y="633047"/>
                  </a:lnTo>
                  <a:cubicBezTo>
                    <a:pt x="891002" y="641521"/>
                    <a:pt x="872732" y="631091"/>
                    <a:pt x="872732" y="614143"/>
                  </a:cubicBezTo>
                  <a:lnTo>
                    <a:pt x="872732" y="581550"/>
                  </a:lnTo>
                  <a:cubicBezTo>
                    <a:pt x="872732" y="562646"/>
                    <a:pt x="882520" y="544394"/>
                    <a:pt x="898833" y="535268"/>
                  </a:cubicBezTo>
                  <a:lnTo>
                    <a:pt x="1122645" y="403593"/>
                  </a:lnTo>
                  <a:cubicBezTo>
                    <a:pt x="1126397" y="401312"/>
                    <a:pt x="1130435" y="400293"/>
                    <a:pt x="1134380" y="400324"/>
                  </a:cubicBezTo>
                  <a:close/>
                  <a:moveTo>
                    <a:pt x="523986" y="360306"/>
                  </a:moveTo>
                  <a:cubicBezTo>
                    <a:pt x="535938" y="360152"/>
                    <a:pt x="546604" y="369843"/>
                    <a:pt x="546604" y="383581"/>
                  </a:cubicBezTo>
                  <a:lnTo>
                    <a:pt x="546604" y="420869"/>
                  </a:lnTo>
                  <a:cubicBezTo>
                    <a:pt x="546604" y="435916"/>
                    <a:pt x="538758" y="449654"/>
                    <a:pt x="525682" y="456850"/>
                  </a:cubicBezTo>
                  <a:lnTo>
                    <a:pt x="32693" y="744692"/>
                  </a:lnTo>
                  <a:cubicBezTo>
                    <a:pt x="18308" y="753851"/>
                    <a:pt x="1" y="742730"/>
                    <a:pt x="1" y="725721"/>
                  </a:cubicBezTo>
                  <a:lnTo>
                    <a:pt x="1" y="693666"/>
                  </a:lnTo>
                  <a:cubicBezTo>
                    <a:pt x="1" y="674040"/>
                    <a:pt x="9808" y="656377"/>
                    <a:pt x="26808" y="646564"/>
                  </a:cubicBezTo>
                  <a:lnTo>
                    <a:pt x="511951" y="363955"/>
                  </a:lnTo>
                  <a:cubicBezTo>
                    <a:pt x="515874" y="361502"/>
                    <a:pt x="520001" y="360357"/>
                    <a:pt x="523986" y="360306"/>
                  </a:cubicBezTo>
                  <a:close/>
                  <a:moveTo>
                    <a:pt x="1140373" y="201610"/>
                  </a:moveTo>
                  <a:cubicBezTo>
                    <a:pt x="1152324" y="201733"/>
                    <a:pt x="1162988" y="211416"/>
                    <a:pt x="1162988" y="225144"/>
                  </a:cubicBezTo>
                  <a:lnTo>
                    <a:pt x="1162988" y="262405"/>
                  </a:lnTo>
                  <a:cubicBezTo>
                    <a:pt x="1162988" y="277440"/>
                    <a:pt x="1155797" y="291168"/>
                    <a:pt x="1142723" y="298358"/>
                  </a:cubicBezTo>
                  <a:lnTo>
                    <a:pt x="32687" y="938333"/>
                  </a:lnTo>
                  <a:cubicBezTo>
                    <a:pt x="18304" y="946831"/>
                    <a:pt x="0" y="936372"/>
                    <a:pt x="0" y="919376"/>
                  </a:cubicBezTo>
                  <a:lnTo>
                    <a:pt x="0" y="886691"/>
                  </a:lnTo>
                  <a:cubicBezTo>
                    <a:pt x="0" y="867733"/>
                    <a:pt x="9806" y="849430"/>
                    <a:pt x="26803" y="840278"/>
                  </a:cubicBezTo>
                  <a:lnTo>
                    <a:pt x="1128341" y="204879"/>
                  </a:lnTo>
                  <a:cubicBezTo>
                    <a:pt x="1132263" y="202591"/>
                    <a:pt x="1136390" y="201569"/>
                    <a:pt x="1140373" y="201610"/>
                  </a:cubicBezTo>
                  <a:close/>
                  <a:moveTo>
                    <a:pt x="1131532" y="1"/>
                  </a:moveTo>
                  <a:cubicBezTo>
                    <a:pt x="1143354" y="124"/>
                    <a:pt x="1154350" y="9826"/>
                    <a:pt x="1154350" y="23582"/>
                  </a:cubicBezTo>
                  <a:lnTo>
                    <a:pt x="1154350" y="60918"/>
                  </a:lnTo>
                  <a:cubicBezTo>
                    <a:pt x="1154350" y="75984"/>
                    <a:pt x="1146531" y="89739"/>
                    <a:pt x="1133497" y="97599"/>
                  </a:cubicBezTo>
                  <a:lnTo>
                    <a:pt x="612176" y="405460"/>
                  </a:lnTo>
                  <a:cubicBezTo>
                    <a:pt x="597188" y="413975"/>
                    <a:pt x="578942" y="403495"/>
                    <a:pt x="578942" y="386464"/>
                  </a:cubicBezTo>
                  <a:lnTo>
                    <a:pt x="578942" y="353713"/>
                  </a:lnTo>
                  <a:cubicBezTo>
                    <a:pt x="578942" y="334717"/>
                    <a:pt x="588717" y="317032"/>
                    <a:pt x="606311" y="307206"/>
                  </a:cubicBezTo>
                  <a:lnTo>
                    <a:pt x="1119813" y="3276"/>
                  </a:lnTo>
                  <a:cubicBezTo>
                    <a:pt x="1123560" y="984"/>
                    <a:pt x="1127592" y="-40"/>
                    <a:pt x="113153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EF690EBD-3319-0D40-BDBA-5B86F50B4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7228" y="2580752"/>
              <a:ext cx="63367" cy="241945"/>
            </a:xfrm>
            <a:custGeom>
              <a:avLst/>
              <a:gdLst>
                <a:gd name="T0" fmla="*/ 95 w 96"/>
                <a:gd name="T1" fmla="*/ 371 h 372"/>
                <a:gd name="T2" fmla="*/ 0 w 96"/>
                <a:gd name="T3" fmla="*/ 312 h 372"/>
                <a:gd name="T4" fmla="*/ 0 w 96"/>
                <a:gd name="T5" fmla="*/ 0 h 372"/>
                <a:gd name="T6" fmla="*/ 95 w 96"/>
                <a:gd name="T7" fmla="*/ 58 h 372"/>
                <a:gd name="T8" fmla="*/ 95 w 96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72">
                  <a:moveTo>
                    <a:pt x="95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5" y="58"/>
                  </a:lnTo>
                  <a:lnTo>
                    <a:pt x="95" y="371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E4347A37-A020-6949-8526-C723B5C4C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5047" y="987946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8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3693EE92-CDD7-EA45-8A81-F81952095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8424" y="967783"/>
              <a:ext cx="1486236" cy="1837633"/>
            </a:xfrm>
            <a:custGeom>
              <a:avLst/>
              <a:gdLst>
                <a:gd name="T0" fmla="*/ 1999 w 2275"/>
                <a:gd name="T1" fmla="*/ 1499 h 2815"/>
                <a:gd name="T2" fmla="*/ 119 w 2275"/>
                <a:gd name="T3" fmla="*/ 2783 h 2815"/>
                <a:gd name="T4" fmla="*/ 119 w 2275"/>
                <a:gd name="T5" fmla="*/ 2783 h 2815"/>
                <a:gd name="T6" fmla="*/ 0 w 2275"/>
                <a:gd name="T7" fmla="*/ 2714 h 2815"/>
                <a:gd name="T8" fmla="*/ 0 w 2275"/>
                <a:gd name="T9" fmla="*/ 1428 h 2815"/>
                <a:gd name="T10" fmla="*/ 0 w 2275"/>
                <a:gd name="T11" fmla="*/ 1428 h 2815"/>
                <a:gd name="T12" fmla="*/ 118 w 2275"/>
                <a:gd name="T13" fmla="*/ 1222 h 2815"/>
                <a:gd name="T14" fmla="*/ 2155 w 2275"/>
                <a:gd name="T15" fmla="*/ 31 h 2815"/>
                <a:gd name="T16" fmla="*/ 2155 w 2275"/>
                <a:gd name="T17" fmla="*/ 31 h 2815"/>
                <a:gd name="T18" fmla="*/ 2274 w 2275"/>
                <a:gd name="T19" fmla="*/ 99 h 2815"/>
                <a:gd name="T20" fmla="*/ 2116 w 2275"/>
                <a:gd name="T21" fmla="*/ 1293 h 2815"/>
                <a:gd name="T22" fmla="*/ 2116 w 2275"/>
                <a:gd name="T23" fmla="*/ 1293 h 2815"/>
                <a:gd name="T24" fmla="*/ 1999 w 2275"/>
                <a:gd name="T25" fmla="*/ 1499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2815">
                  <a:moveTo>
                    <a:pt x="1999" y="1499"/>
                  </a:moveTo>
                  <a:lnTo>
                    <a:pt x="119" y="2783"/>
                  </a:lnTo>
                  <a:lnTo>
                    <a:pt x="119" y="2783"/>
                  </a:lnTo>
                  <a:cubicBezTo>
                    <a:pt x="66" y="2814"/>
                    <a:pt x="0" y="2776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6" y="1293"/>
                  </a:lnTo>
                  <a:lnTo>
                    <a:pt x="2116" y="1293"/>
                  </a:lnTo>
                  <a:cubicBezTo>
                    <a:pt x="2116" y="1378"/>
                    <a:pt x="2072" y="1456"/>
                    <a:pt x="1999" y="1499"/>
                  </a:cubicBez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12C08971-452C-654B-877E-4A183BFDF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1791" y="1005228"/>
              <a:ext cx="1486236" cy="1837633"/>
            </a:xfrm>
            <a:custGeom>
              <a:avLst/>
              <a:gdLst>
                <a:gd name="T0" fmla="*/ 2156 w 2276"/>
                <a:gd name="T1" fmla="*/ 1591 h 2814"/>
                <a:gd name="T2" fmla="*/ 119 w 2276"/>
                <a:gd name="T3" fmla="*/ 2782 h 2814"/>
                <a:gd name="T4" fmla="*/ 119 w 2276"/>
                <a:gd name="T5" fmla="*/ 2782 h 2814"/>
                <a:gd name="T6" fmla="*/ 0 w 2276"/>
                <a:gd name="T7" fmla="*/ 2714 h 2814"/>
                <a:gd name="T8" fmla="*/ 0 w 2276"/>
                <a:gd name="T9" fmla="*/ 1428 h 2814"/>
                <a:gd name="T10" fmla="*/ 0 w 2276"/>
                <a:gd name="T11" fmla="*/ 1428 h 2814"/>
                <a:gd name="T12" fmla="*/ 118 w 2276"/>
                <a:gd name="T13" fmla="*/ 1222 h 2814"/>
                <a:gd name="T14" fmla="*/ 2155 w 2276"/>
                <a:gd name="T15" fmla="*/ 31 h 2814"/>
                <a:gd name="T16" fmla="*/ 2155 w 2276"/>
                <a:gd name="T17" fmla="*/ 31 h 2814"/>
                <a:gd name="T18" fmla="*/ 2275 w 2276"/>
                <a:gd name="T19" fmla="*/ 99 h 2814"/>
                <a:gd name="T20" fmla="*/ 2275 w 2276"/>
                <a:gd name="T21" fmla="*/ 1385 h 2814"/>
                <a:gd name="T22" fmla="*/ 2275 w 2276"/>
                <a:gd name="T23" fmla="*/ 1385 h 2814"/>
                <a:gd name="T24" fmla="*/ 2156 w 2276"/>
                <a:gd name="T25" fmla="*/ 1591 h 2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6" h="2814">
                  <a:moveTo>
                    <a:pt x="2156" y="1591"/>
                  </a:moveTo>
                  <a:lnTo>
                    <a:pt x="119" y="2782"/>
                  </a:lnTo>
                  <a:lnTo>
                    <a:pt x="119" y="2782"/>
                  </a:lnTo>
                  <a:cubicBezTo>
                    <a:pt x="67" y="2813"/>
                    <a:pt x="0" y="2775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5" y="38"/>
                    <a:pt x="2275" y="99"/>
                  </a:cubicBezTo>
                  <a:lnTo>
                    <a:pt x="2275" y="1385"/>
                  </a:lnTo>
                  <a:lnTo>
                    <a:pt x="2275" y="1385"/>
                  </a:lnTo>
                  <a:cubicBezTo>
                    <a:pt x="2275" y="1470"/>
                    <a:pt x="2229" y="1548"/>
                    <a:pt x="2156" y="1591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196C558F-AA89-6549-B292-7D05CF5FF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394067"/>
              <a:ext cx="1163642" cy="751760"/>
            </a:xfrm>
            <a:custGeom>
              <a:avLst/>
              <a:gdLst>
                <a:gd name="T0" fmla="*/ 1748 w 1781"/>
                <a:gd name="T1" fmla="*/ 157 h 1149"/>
                <a:gd name="T2" fmla="*/ 50 w 1781"/>
                <a:gd name="T3" fmla="*/ 1136 h 1149"/>
                <a:gd name="T4" fmla="*/ 50 w 1781"/>
                <a:gd name="T5" fmla="*/ 1136 h 1149"/>
                <a:gd name="T6" fmla="*/ 0 w 1781"/>
                <a:gd name="T7" fmla="*/ 1106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2 h 1149"/>
                <a:gd name="T22" fmla="*/ 1780 w 1781"/>
                <a:gd name="T23" fmla="*/ 102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6"/>
                    <a:pt x="1780" y="44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4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2" name="Freeform 32">
              <a:extLst>
                <a:ext uri="{FF2B5EF4-FFF2-40B4-BE49-F238E27FC236}">
                  <a16:creationId xmlns:a16="http://schemas.microsoft.com/office/drawing/2014/main" id="{328D6BE3-3EAD-BF40-9685-13AE85F69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592810"/>
              <a:ext cx="1163642" cy="751758"/>
            </a:xfrm>
            <a:custGeom>
              <a:avLst/>
              <a:gdLst>
                <a:gd name="T0" fmla="*/ 1748 w 1781"/>
                <a:gd name="T1" fmla="*/ 156 h 1149"/>
                <a:gd name="T2" fmla="*/ 50 w 1781"/>
                <a:gd name="T3" fmla="*/ 1135 h 1149"/>
                <a:gd name="T4" fmla="*/ 50 w 1781"/>
                <a:gd name="T5" fmla="*/ 1135 h 1149"/>
                <a:gd name="T6" fmla="*/ 0 w 1781"/>
                <a:gd name="T7" fmla="*/ 1106 h 1149"/>
                <a:gd name="T8" fmla="*/ 0 w 1781"/>
                <a:gd name="T9" fmla="*/ 1056 h 1149"/>
                <a:gd name="T10" fmla="*/ 0 w 1781"/>
                <a:gd name="T11" fmla="*/ 1056 h 1149"/>
                <a:gd name="T12" fmla="*/ 41 w 1781"/>
                <a:gd name="T13" fmla="*/ 985 h 1149"/>
                <a:gd name="T14" fmla="*/ 1727 w 1781"/>
                <a:gd name="T15" fmla="*/ 13 h 1149"/>
                <a:gd name="T16" fmla="*/ 1727 w 1781"/>
                <a:gd name="T17" fmla="*/ 13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6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6"/>
                  </a:moveTo>
                  <a:lnTo>
                    <a:pt x="50" y="1135"/>
                  </a:lnTo>
                  <a:lnTo>
                    <a:pt x="50" y="1135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3"/>
                  </a:lnTo>
                  <a:lnTo>
                    <a:pt x="1727" y="13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4"/>
                    <a:pt x="1768" y="145"/>
                    <a:pt x="1748" y="156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A369FEBE-54A5-F547-99C9-258CA9733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788671"/>
              <a:ext cx="1163642" cy="751758"/>
            </a:xfrm>
            <a:custGeom>
              <a:avLst/>
              <a:gdLst>
                <a:gd name="T0" fmla="*/ 1748 w 1781"/>
                <a:gd name="T1" fmla="*/ 158 h 1150"/>
                <a:gd name="T2" fmla="*/ 50 w 1781"/>
                <a:gd name="T3" fmla="*/ 1136 h 1150"/>
                <a:gd name="T4" fmla="*/ 50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6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6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0FC3BE-A2E4-8746-BE61-E39A42BDB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4992" y="5518661"/>
              <a:ext cx="8818832" cy="7087772"/>
            </a:xfrm>
            <a:custGeom>
              <a:avLst/>
              <a:gdLst>
                <a:gd name="connsiteX0" fmla="*/ 8818832 w 8818832"/>
                <a:gd name="connsiteY0" fmla="*/ 0 h 7087772"/>
                <a:gd name="connsiteX1" fmla="*/ 8818832 w 8818832"/>
                <a:gd name="connsiteY1" fmla="*/ 305699 h 7087772"/>
                <a:gd name="connsiteX2" fmla="*/ 8693430 w 8818832"/>
                <a:gd name="connsiteY2" fmla="*/ 522561 h 7087772"/>
                <a:gd name="connsiteX3" fmla="*/ 3478156 w 8818832"/>
                <a:gd name="connsiteY3" fmla="*/ 3634413 h 7087772"/>
                <a:gd name="connsiteX4" fmla="*/ 3154855 w 8818832"/>
                <a:gd name="connsiteY4" fmla="*/ 3630494 h 7087772"/>
                <a:gd name="connsiteX5" fmla="*/ 3014646 w 8818832"/>
                <a:gd name="connsiteY5" fmla="*/ 3551234 h 7087772"/>
                <a:gd name="connsiteX6" fmla="*/ 2271089 w 8818832"/>
                <a:gd name="connsiteY6" fmla="*/ 7087772 h 7087772"/>
                <a:gd name="connsiteX7" fmla="*/ 2137185 w 8818832"/>
                <a:gd name="connsiteY7" fmla="*/ 7007459 h 7087772"/>
                <a:gd name="connsiteX8" fmla="*/ 2869230 w 8818832"/>
                <a:gd name="connsiteY8" fmla="*/ 3469030 h 7087772"/>
                <a:gd name="connsiteX9" fmla="*/ 868604 w 8818832"/>
                <a:gd name="connsiteY9" fmla="*/ 2338080 h 7087772"/>
                <a:gd name="connsiteX10" fmla="*/ 134557 w 8818832"/>
                <a:gd name="connsiteY10" fmla="*/ 5831960 h 7087772"/>
                <a:gd name="connsiteX11" fmla="*/ 0 w 8818832"/>
                <a:gd name="connsiteY11" fmla="*/ 5751647 h 7087772"/>
                <a:gd name="connsiteX12" fmla="*/ 723217 w 8818832"/>
                <a:gd name="connsiteY12" fmla="*/ 2255893 h 7087772"/>
                <a:gd name="connsiteX13" fmla="*/ 622002 w 8818832"/>
                <a:gd name="connsiteY13" fmla="*/ 2198676 h 7087772"/>
                <a:gd name="connsiteX14" fmla="*/ 501172 w 8818832"/>
                <a:gd name="connsiteY14" fmla="*/ 1985080 h 7087772"/>
                <a:gd name="connsiteX15" fmla="*/ 501172 w 8818832"/>
                <a:gd name="connsiteY15" fmla="*/ 1736863 h 7087772"/>
                <a:gd name="connsiteX16" fmla="*/ 796594 w 8818832"/>
                <a:gd name="connsiteY16" fmla="*/ 1901217 h 7087772"/>
                <a:gd name="connsiteX17" fmla="*/ 868741 w 8818832"/>
                <a:gd name="connsiteY17" fmla="*/ 1552484 h 7087772"/>
                <a:gd name="connsiteX18" fmla="*/ 1018974 w 8818832"/>
                <a:gd name="connsiteY18" fmla="*/ 1622351 h 7087772"/>
                <a:gd name="connsiteX19" fmla="*/ 943245 w 8818832"/>
                <a:gd name="connsiteY19" fmla="*/ 1982804 h 7087772"/>
                <a:gd name="connsiteX20" fmla="*/ 2946175 w 8818832"/>
                <a:gd name="connsiteY20" fmla="*/ 3097104 h 7087772"/>
                <a:gd name="connsiteX21" fmla="*/ 3005925 w 8818832"/>
                <a:gd name="connsiteY21" fmla="*/ 2808296 h 7087772"/>
                <a:gd name="connsiteX22" fmla="*/ 3156159 w 8818832"/>
                <a:gd name="connsiteY22" fmla="*/ 2878162 h 7087772"/>
                <a:gd name="connsiteX23" fmla="*/ 3092958 w 8818832"/>
                <a:gd name="connsiteY23" fmla="*/ 3178764 h 7087772"/>
                <a:gd name="connsiteX24" fmla="*/ 3315526 w 8818832"/>
                <a:gd name="connsiteY24" fmla="*/ 3302587 h 708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818832" h="7087772">
                  <a:moveTo>
                    <a:pt x="8818832" y="0"/>
                  </a:moveTo>
                  <a:lnTo>
                    <a:pt x="8818832" y="305699"/>
                  </a:lnTo>
                  <a:cubicBezTo>
                    <a:pt x="8818832" y="395840"/>
                    <a:pt x="8770500" y="478144"/>
                    <a:pt x="8693430" y="522561"/>
                  </a:cubicBezTo>
                  <a:lnTo>
                    <a:pt x="3478156" y="3634413"/>
                  </a:lnTo>
                  <a:cubicBezTo>
                    <a:pt x="3377573" y="3691895"/>
                    <a:pt x="3254131" y="3689935"/>
                    <a:pt x="3154855" y="3630494"/>
                  </a:cubicBezTo>
                  <a:lnTo>
                    <a:pt x="3014646" y="3551234"/>
                  </a:lnTo>
                  <a:lnTo>
                    <a:pt x="2271089" y="7087772"/>
                  </a:lnTo>
                  <a:lnTo>
                    <a:pt x="2137185" y="7007459"/>
                  </a:lnTo>
                  <a:lnTo>
                    <a:pt x="2869230" y="3469030"/>
                  </a:lnTo>
                  <a:lnTo>
                    <a:pt x="868604" y="2338080"/>
                  </a:lnTo>
                  <a:lnTo>
                    <a:pt x="134557" y="5831960"/>
                  </a:lnTo>
                  <a:lnTo>
                    <a:pt x="0" y="5751647"/>
                  </a:lnTo>
                  <a:lnTo>
                    <a:pt x="723217" y="2255893"/>
                  </a:lnTo>
                  <a:lnTo>
                    <a:pt x="622002" y="2198676"/>
                  </a:lnTo>
                  <a:cubicBezTo>
                    <a:pt x="546892" y="2154259"/>
                    <a:pt x="501172" y="2072609"/>
                    <a:pt x="501172" y="1985080"/>
                  </a:cubicBezTo>
                  <a:lnTo>
                    <a:pt x="501172" y="1736863"/>
                  </a:lnTo>
                  <a:lnTo>
                    <a:pt x="796594" y="1901217"/>
                  </a:lnTo>
                  <a:lnTo>
                    <a:pt x="868741" y="1552484"/>
                  </a:lnTo>
                  <a:lnTo>
                    <a:pt x="1018974" y="1622351"/>
                  </a:lnTo>
                  <a:lnTo>
                    <a:pt x="943245" y="1982804"/>
                  </a:lnTo>
                  <a:lnTo>
                    <a:pt x="2946175" y="3097104"/>
                  </a:lnTo>
                  <a:lnTo>
                    <a:pt x="3005925" y="2808296"/>
                  </a:lnTo>
                  <a:lnTo>
                    <a:pt x="3156159" y="2878162"/>
                  </a:lnTo>
                  <a:lnTo>
                    <a:pt x="3092958" y="3178764"/>
                  </a:lnTo>
                  <a:lnTo>
                    <a:pt x="3315526" y="330258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5" name="Freeform 35">
              <a:extLst>
                <a:ext uri="{FF2B5EF4-FFF2-40B4-BE49-F238E27FC236}">
                  <a16:creationId xmlns:a16="http://schemas.microsoft.com/office/drawing/2014/main" id="{6D528976-BFDF-4C4B-93FD-1349EE173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6467" y="5596429"/>
              <a:ext cx="5440892" cy="3568694"/>
            </a:xfrm>
            <a:custGeom>
              <a:avLst/>
              <a:gdLst>
                <a:gd name="T0" fmla="*/ 194 w 8328"/>
                <a:gd name="T1" fmla="*/ 4972 h 5464"/>
                <a:gd name="T2" fmla="*/ 8327 w 8328"/>
                <a:gd name="T3" fmla="*/ 0 h 5464"/>
                <a:gd name="T4" fmla="*/ 8327 w 8328"/>
                <a:gd name="T5" fmla="*/ 334 h 5464"/>
                <a:gd name="T6" fmla="*/ 8327 w 8328"/>
                <a:gd name="T7" fmla="*/ 334 h 5464"/>
                <a:gd name="T8" fmla="*/ 8123 w 8328"/>
                <a:gd name="T9" fmla="*/ 686 h 5464"/>
                <a:gd name="T10" fmla="*/ 217 w 8328"/>
                <a:gd name="T11" fmla="*/ 5404 h 5464"/>
                <a:gd name="T12" fmla="*/ 217 w 8328"/>
                <a:gd name="T13" fmla="*/ 5404 h 5464"/>
                <a:gd name="T14" fmla="*/ 215 w 8328"/>
                <a:gd name="T15" fmla="*/ 5406 h 5464"/>
                <a:gd name="T16" fmla="*/ 215 w 8328"/>
                <a:gd name="T17" fmla="*/ 5406 h 5464"/>
                <a:gd name="T18" fmla="*/ 0 w 8328"/>
                <a:gd name="T19" fmla="*/ 5285 h 5464"/>
                <a:gd name="T20" fmla="*/ 0 w 8328"/>
                <a:gd name="T21" fmla="*/ 5148 h 5464"/>
                <a:gd name="T22" fmla="*/ 0 w 8328"/>
                <a:gd name="T23" fmla="*/ 5148 h 5464"/>
                <a:gd name="T24" fmla="*/ 184 w 8328"/>
                <a:gd name="T25" fmla="*/ 4977 h 5464"/>
                <a:gd name="T26" fmla="*/ 194 w 8328"/>
                <a:gd name="T27" fmla="*/ 4972 h 5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28" h="5464">
                  <a:moveTo>
                    <a:pt x="194" y="4972"/>
                  </a:moveTo>
                  <a:lnTo>
                    <a:pt x="8327" y="0"/>
                  </a:lnTo>
                  <a:lnTo>
                    <a:pt x="8327" y="334"/>
                  </a:lnTo>
                  <a:lnTo>
                    <a:pt x="8327" y="334"/>
                  </a:lnTo>
                  <a:cubicBezTo>
                    <a:pt x="8327" y="479"/>
                    <a:pt x="8249" y="614"/>
                    <a:pt x="8123" y="686"/>
                  </a:cubicBezTo>
                  <a:lnTo>
                    <a:pt x="217" y="5404"/>
                  </a:lnTo>
                  <a:lnTo>
                    <a:pt x="217" y="5404"/>
                  </a:lnTo>
                  <a:cubicBezTo>
                    <a:pt x="217" y="5405"/>
                    <a:pt x="216" y="5405"/>
                    <a:pt x="215" y="5406"/>
                  </a:cubicBezTo>
                  <a:lnTo>
                    <a:pt x="215" y="5406"/>
                  </a:lnTo>
                  <a:cubicBezTo>
                    <a:pt x="121" y="5463"/>
                    <a:pt x="0" y="5395"/>
                    <a:pt x="0" y="5285"/>
                  </a:cubicBezTo>
                  <a:lnTo>
                    <a:pt x="0" y="5148"/>
                  </a:lnTo>
                  <a:lnTo>
                    <a:pt x="0" y="5148"/>
                  </a:lnTo>
                  <a:cubicBezTo>
                    <a:pt x="0" y="5017"/>
                    <a:pt x="71" y="5042"/>
                    <a:pt x="184" y="4977"/>
                  </a:cubicBezTo>
                  <a:lnTo>
                    <a:pt x="194" y="49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6" name="Freeform 36">
              <a:extLst>
                <a:ext uri="{FF2B5EF4-FFF2-40B4-BE49-F238E27FC236}">
                  <a16:creationId xmlns:a16="http://schemas.microsoft.com/office/drawing/2014/main" id="{1DE2173E-F077-EB40-9AC7-27B3C0AD6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7202" y="5337203"/>
              <a:ext cx="8505532" cy="3554293"/>
            </a:xfrm>
            <a:custGeom>
              <a:avLst/>
              <a:gdLst>
                <a:gd name="T0" fmla="*/ 4868 w 13020"/>
                <a:gd name="T1" fmla="*/ 4875 h 5440"/>
                <a:gd name="T2" fmla="*/ 13019 w 13020"/>
                <a:gd name="T3" fmla="*/ 0 h 5440"/>
                <a:gd name="T4" fmla="*/ 13019 w 13020"/>
                <a:gd name="T5" fmla="*/ 273 h 5440"/>
                <a:gd name="T6" fmla="*/ 13019 w 13020"/>
                <a:gd name="T7" fmla="*/ 273 h 5440"/>
                <a:gd name="T8" fmla="*/ 12921 w 13020"/>
                <a:gd name="T9" fmla="*/ 441 h 5440"/>
                <a:gd name="T10" fmla="*/ 4679 w 13020"/>
                <a:gd name="T11" fmla="*/ 5372 h 5440"/>
                <a:gd name="T12" fmla="*/ 4679 w 13020"/>
                <a:gd name="T13" fmla="*/ 5372 h 5440"/>
                <a:gd name="T14" fmla="*/ 4301 w 13020"/>
                <a:gd name="T15" fmla="*/ 5366 h 5440"/>
                <a:gd name="T16" fmla="*/ 78 w 13020"/>
                <a:gd name="T17" fmla="*/ 3014 h 5440"/>
                <a:gd name="T18" fmla="*/ 78 w 13020"/>
                <a:gd name="T19" fmla="*/ 3014 h 5440"/>
                <a:gd name="T20" fmla="*/ 3 w 13020"/>
                <a:gd name="T21" fmla="*/ 2882 h 5440"/>
                <a:gd name="T22" fmla="*/ 2 w 13020"/>
                <a:gd name="T23" fmla="*/ 2763 h 5440"/>
                <a:gd name="T24" fmla="*/ 2 w 13020"/>
                <a:gd name="T25" fmla="*/ 2763 h 5440"/>
                <a:gd name="T26" fmla="*/ 97 w 13020"/>
                <a:gd name="T27" fmla="*/ 2463 h 5440"/>
                <a:gd name="T28" fmla="*/ 4102 w 13020"/>
                <a:gd name="T29" fmla="*/ 4866 h 5440"/>
                <a:gd name="T30" fmla="*/ 4102 w 13020"/>
                <a:gd name="T31" fmla="*/ 4866 h 5440"/>
                <a:gd name="T32" fmla="*/ 4868 w 13020"/>
                <a:gd name="T33" fmla="*/ 4875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020" h="5440">
                  <a:moveTo>
                    <a:pt x="4868" y="4875"/>
                  </a:moveTo>
                  <a:lnTo>
                    <a:pt x="13019" y="0"/>
                  </a:lnTo>
                  <a:lnTo>
                    <a:pt x="13019" y="273"/>
                  </a:lnTo>
                  <a:lnTo>
                    <a:pt x="13019" y="273"/>
                  </a:lnTo>
                  <a:cubicBezTo>
                    <a:pt x="13019" y="343"/>
                    <a:pt x="12982" y="407"/>
                    <a:pt x="12921" y="441"/>
                  </a:cubicBezTo>
                  <a:lnTo>
                    <a:pt x="4679" y="5372"/>
                  </a:lnTo>
                  <a:lnTo>
                    <a:pt x="4679" y="5372"/>
                  </a:lnTo>
                  <a:cubicBezTo>
                    <a:pt x="4562" y="5439"/>
                    <a:pt x="4417" y="5437"/>
                    <a:pt x="4301" y="5366"/>
                  </a:cubicBezTo>
                  <a:lnTo>
                    <a:pt x="78" y="3014"/>
                  </a:lnTo>
                  <a:lnTo>
                    <a:pt x="78" y="3014"/>
                  </a:lnTo>
                  <a:cubicBezTo>
                    <a:pt x="32" y="2986"/>
                    <a:pt x="4" y="2936"/>
                    <a:pt x="3" y="2882"/>
                  </a:cubicBezTo>
                  <a:lnTo>
                    <a:pt x="2" y="2763"/>
                  </a:lnTo>
                  <a:lnTo>
                    <a:pt x="2" y="2763"/>
                  </a:lnTo>
                  <a:cubicBezTo>
                    <a:pt x="0" y="2655"/>
                    <a:pt x="34" y="2550"/>
                    <a:pt x="97" y="2463"/>
                  </a:cubicBezTo>
                  <a:lnTo>
                    <a:pt x="4102" y="4866"/>
                  </a:lnTo>
                  <a:lnTo>
                    <a:pt x="4102" y="4866"/>
                  </a:lnTo>
                  <a:cubicBezTo>
                    <a:pt x="4337" y="5007"/>
                    <a:pt x="4630" y="5011"/>
                    <a:pt x="4868" y="48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3AE58DEF-7FF5-9B4C-946E-B84F88840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4483" y="3574457"/>
              <a:ext cx="8505532" cy="5112536"/>
            </a:xfrm>
            <a:custGeom>
              <a:avLst/>
              <a:gdLst>
                <a:gd name="T0" fmla="*/ 8526 w 13020"/>
                <a:gd name="T1" fmla="*/ 32 h 7826"/>
                <a:gd name="T2" fmla="*/ 12907 w 13020"/>
                <a:gd name="T3" fmla="*/ 2553 h 7826"/>
                <a:gd name="T4" fmla="*/ 12907 w 13020"/>
                <a:gd name="T5" fmla="*/ 2553 h 7826"/>
                <a:gd name="T6" fmla="*/ 12904 w 13020"/>
                <a:gd name="T7" fmla="*/ 2846 h 7826"/>
                <a:gd name="T8" fmla="*/ 4728 w 13020"/>
                <a:gd name="T9" fmla="*/ 7752 h 7826"/>
                <a:gd name="T10" fmla="*/ 4728 w 13020"/>
                <a:gd name="T11" fmla="*/ 7752 h 7826"/>
                <a:gd name="T12" fmla="*/ 4311 w 13020"/>
                <a:gd name="T13" fmla="*/ 7746 h 7826"/>
                <a:gd name="T14" fmla="*/ 111 w 13020"/>
                <a:gd name="T15" fmla="*/ 5413 h 7826"/>
                <a:gd name="T16" fmla="*/ 111 w 13020"/>
                <a:gd name="T17" fmla="*/ 5413 h 7826"/>
                <a:gd name="T18" fmla="*/ 114 w 13020"/>
                <a:gd name="T19" fmla="*/ 5121 h 7826"/>
                <a:gd name="T20" fmla="*/ 8355 w 13020"/>
                <a:gd name="T21" fmla="*/ 31 h 7826"/>
                <a:gd name="T22" fmla="*/ 8355 w 13020"/>
                <a:gd name="T23" fmla="*/ 31 h 7826"/>
                <a:gd name="T24" fmla="*/ 8526 w 13020"/>
                <a:gd name="T25" fmla="*/ 32 h 7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20" h="7826">
                  <a:moveTo>
                    <a:pt x="8526" y="32"/>
                  </a:moveTo>
                  <a:lnTo>
                    <a:pt x="12907" y="2553"/>
                  </a:lnTo>
                  <a:lnTo>
                    <a:pt x="12907" y="2553"/>
                  </a:lnTo>
                  <a:cubicBezTo>
                    <a:pt x="13019" y="2619"/>
                    <a:pt x="13017" y="2782"/>
                    <a:pt x="12904" y="2846"/>
                  </a:cubicBezTo>
                  <a:lnTo>
                    <a:pt x="4728" y="7752"/>
                  </a:lnTo>
                  <a:lnTo>
                    <a:pt x="4728" y="7752"/>
                  </a:lnTo>
                  <a:cubicBezTo>
                    <a:pt x="4598" y="7825"/>
                    <a:pt x="4438" y="7823"/>
                    <a:pt x="4311" y="7746"/>
                  </a:cubicBezTo>
                  <a:lnTo>
                    <a:pt x="111" y="5413"/>
                  </a:lnTo>
                  <a:lnTo>
                    <a:pt x="111" y="5413"/>
                  </a:lnTo>
                  <a:cubicBezTo>
                    <a:pt x="0" y="5346"/>
                    <a:pt x="1" y="5185"/>
                    <a:pt x="114" y="5121"/>
                  </a:cubicBezTo>
                  <a:lnTo>
                    <a:pt x="8355" y="31"/>
                  </a:lnTo>
                  <a:lnTo>
                    <a:pt x="8355" y="31"/>
                  </a:lnTo>
                  <a:cubicBezTo>
                    <a:pt x="8408" y="0"/>
                    <a:pt x="8474" y="1"/>
                    <a:pt x="8526" y="3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11C08CDD-3310-BB41-A6D0-577033FAD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9531" y="3617662"/>
              <a:ext cx="8344237" cy="5020368"/>
            </a:xfrm>
            <a:custGeom>
              <a:avLst/>
              <a:gdLst>
                <a:gd name="T0" fmla="*/ 8413 w 12773"/>
                <a:gd name="T1" fmla="*/ 31 h 7685"/>
                <a:gd name="T2" fmla="*/ 12661 w 12773"/>
                <a:gd name="T3" fmla="*/ 2482 h 7685"/>
                <a:gd name="T4" fmla="*/ 12661 w 12773"/>
                <a:gd name="T5" fmla="*/ 2482 h 7685"/>
                <a:gd name="T6" fmla="*/ 12659 w 12773"/>
                <a:gd name="T7" fmla="*/ 2771 h 7685"/>
                <a:gd name="T8" fmla="*/ 4592 w 12773"/>
                <a:gd name="T9" fmla="*/ 7611 h 7685"/>
                <a:gd name="T10" fmla="*/ 4592 w 12773"/>
                <a:gd name="T11" fmla="*/ 7611 h 7685"/>
                <a:gd name="T12" fmla="*/ 4180 w 12773"/>
                <a:gd name="T13" fmla="*/ 7606 h 7685"/>
                <a:gd name="T14" fmla="*/ 110 w 12773"/>
                <a:gd name="T15" fmla="*/ 5341 h 7685"/>
                <a:gd name="T16" fmla="*/ 110 w 12773"/>
                <a:gd name="T17" fmla="*/ 5341 h 7685"/>
                <a:gd name="T18" fmla="*/ 113 w 12773"/>
                <a:gd name="T19" fmla="*/ 5052 h 7685"/>
                <a:gd name="T20" fmla="*/ 8244 w 12773"/>
                <a:gd name="T21" fmla="*/ 30 h 7685"/>
                <a:gd name="T22" fmla="*/ 8244 w 12773"/>
                <a:gd name="T23" fmla="*/ 30 h 7685"/>
                <a:gd name="T24" fmla="*/ 8413 w 12773"/>
                <a:gd name="T25" fmla="*/ 31 h 7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73" h="7685">
                  <a:moveTo>
                    <a:pt x="8413" y="31"/>
                  </a:moveTo>
                  <a:lnTo>
                    <a:pt x="12661" y="2482"/>
                  </a:lnTo>
                  <a:lnTo>
                    <a:pt x="12661" y="2482"/>
                  </a:lnTo>
                  <a:cubicBezTo>
                    <a:pt x="12772" y="2547"/>
                    <a:pt x="12770" y="2708"/>
                    <a:pt x="12659" y="2771"/>
                  </a:cubicBezTo>
                  <a:lnTo>
                    <a:pt x="4592" y="7611"/>
                  </a:lnTo>
                  <a:lnTo>
                    <a:pt x="4592" y="7611"/>
                  </a:lnTo>
                  <a:cubicBezTo>
                    <a:pt x="4464" y="7684"/>
                    <a:pt x="4306" y="7682"/>
                    <a:pt x="4180" y="7606"/>
                  </a:cubicBezTo>
                  <a:lnTo>
                    <a:pt x="110" y="5341"/>
                  </a:lnTo>
                  <a:lnTo>
                    <a:pt x="110" y="5341"/>
                  </a:lnTo>
                  <a:cubicBezTo>
                    <a:pt x="0" y="5275"/>
                    <a:pt x="2" y="5116"/>
                    <a:pt x="113" y="5052"/>
                  </a:cubicBezTo>
                  <a:lnTo>
                    <a:pt x="8244" y="30"/>
                  </a:lnTo>
                  <a:lnTo>
                    <a:pt x="8244" y="30"/>
                  </a:lnTo>
                  <a:cubicBezTo>
                    <a:pt x="8297" y="0"/>
                    <a:pt x="8362" y="0"/>
                    <a:pt x="8413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29" name="Freeform 39">
              <a:extLst>
                <a:ext uri="{FF2B5EF4-FFF2-40B4-BE49-F238E27FC236}">
                  <a16:creationId xmlns:a16="http://schemas.microsoft.com/office/drawing/2014/main" id="{DCF9E8CF-87A6-2242-82CB-D80394689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41916" y="4798586"/>
              <a:ext cx="4870590" cy="2851499"/>
            </a:xfrm>
            <a:custGeom>
              <a:avLst/>
              <a:gdLst>
                <a:gd name="T0" fmla="*/ 4373 w 7459"/>
                <a:gd name="T1" fmla="*/ 0 h 4364"/>
                <a:gd name="T2" fmla="*/ 0 w 7459"/>
                <a:gd name="T3" fmla="*/ 2568 h 4364"/>
                <a:gd name="T4" fmla="*/ 3081 w 7459"/>
                <a:gd name="T5" fmla="*/ 4363 h 4364"/>
                <a:gd name="T6" fmla="*/ 7458 w 7459"/>
                <a:gd name="T7" fmla="*/ 1788 h 4364"/>
                <a:gd name="T8" fmla="*/ 4373 w 7459"/>
                <a:gd name="T9" fmla="*/ 0 h 4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59" h="4364">
                  <a:moveTo>
                    <a:pt x="4373" y="0"/>
                  </a:moveTo>
                  <a:lnTo>
                    <a:pt x="0" y="2568"/>
                  </a:lnTo>
                  <a:lnTo>
                    <a:pt x="3081" y="4363"/>
                  </a:lnTo>
                  <a:lnTo>
                    <a:pt x="7458" y="1788"/>
                  </a:lnTo>
                  <a:lnTo>
                    <a:pt x="437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0" name="Freeform 40">
              <a:extLst>
                <a:ext uri="{FF2B5EF4-FFF2-40B4-BE49-F238E27FC236}">
                  <a16:creationId xmlns:a16="http://schemas.microsoft.com/office/drawing/2014/main" id="{86B3BE09-BFA0-6E4B-A32F-A36ADEFA0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5847015"/>
              <a:ext cx="4674730" cy="1728181"/>
            </a:xfrm>
            <a:custGeom>
              <a:avLst/>
              <a:gdLst>
                <a:gd name="T0" fmla="*/ 0 w 7159"/>
                <a:gd name="T1" fmla="*/ 763 h 2646"/>
                <a:gd name="T2" fmla="*/ 0 w 7159"/>
                <a:gd name="T3" fmla="*/ 922 h 2646"/>
                <a:gd name="T4" fmla="*/ 2944 w 7159"/>
                <a:gd name="T5" fmla="*/ 2645 h 2646"/>
                <a:gd name="T6" fmla="*/ 7158 w 7159"/>
                <a:gd name="T7" fmla="*/ 158 h 2646"/>
                <a:gd name="T8" fmla="*/ 7158 w 7159"/>
                <a:gd name="T9" fmla="*/ 0 h 2646"/>
                <a:gd name="T10" fmla="*/ 0 w 7159"/>
                <a:gd name="T11" fmla="*/ 763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59" h="2646">
                  <a:moveTo>
                    <a:pt x="0" y="763"/>
                  </a:moveTo>
                  <a:lnTo>
                    <a:pt x="0" y="922"/>
                  </a:lnTo>
                  <a:lnTo>
                    <a:pt x="2944" y="2645"/>
                  </a:lnTo>
                  <a:lnTo>
                    <a:pt x="7158" y="158"/>
                  </a:lnTo>
                  <a:lnTo>
                    <a:pt x="7158" y="0"/>
                  </a:lnTo>
                  <a:lnTo>
                    <a:pt x="0" y="76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1" name="Freeform 41">
              <a:extLst>
                <a:ext uri="{FF2B5EF4-FFF2-40B4-BE49-F238E27FC236}">
                  <a16:creationId xmlns:a16="http://schemas.microsoft.com/office/drawing/2014/main" id="{CB939103-9EC9-6048-BD3D-ACCDDEA74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9810" y="5847015"/>
              <a:ext cx="2753569" cy="1728181"/>
            </a:xfrm>
            <a:custGeom>
              <a:avLst/>
              <a:gdLst>
                <a:gd name="T0" fmla="*/ 0 w 4215"/>
                <a:gd name="T1" fmla="*/ 2487 h 2646"/>
                <a:gd name="T2" fmla="*/ 0 w 4215"/>
                <a:gd name="T3" fmla="*/ 2645 h 2646"/>
                <a:gd name="T4" fmla="*/ 4214 w 4215"/>
                <a:gd name="T5" fmla="*/ 158 h 2646"/>
                <a:gd name="T6" fmla="*/ 4214 w 4215"/>
                <a:gd name="T7" fmla="*/ 0 h 2646"/>
                <a:gd name="T8" fmla="*/ 0 w 4215"/>
                <a:gd name="T9" fmla="*/ 2487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5" h="2646">
                  <a:moveTo>
                    <a:pt x="0" y="2487"/>
                  </a:moveTo>
                  <a:lnTo>
                    <a:pt x="0" y="2645"/>
                  </a:lnTo>
                  <a:lnTo>
                    <a:pt x="4214" y="158"/>
                  </a:lnTo>
                  <a:lnTo>
                    <a:pt x="4214" y="0"/>
                  </a:lnTo>
                  <a:lnTo>
                    <a:pt x="0" y="2487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2" name="Freeform 42">
              <a:extLst>
                <a:ext uri="{FF2B5EF4-FFF2-40B4-BE49-F238E27FC236}">
                  <a16:creationId xmlns:a16="http://schemas.microsoft.com/office/drawing/2014/main" id="{9EDB8D9D-F8C3-0C46-8BF6-E8239D3EA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4723698"/>
              <a:ext cx="4674730" cy="2747808"/>
            </a:xfrm>
            <a:custGeom>
              <a:avLst/>
              <a:gdLst>
                <a:gd name="T0" fmla="*/ 4210 w 7159"/>
                <a:gd name="T1" fmla="*/ 0 h 4207"/>
                <a:gd name="T2" fmla="*/ 0 w 7159"/>
                <a:gd name="T3" fmla="*/ 2482 h 4207"/>
                <a:gd name="T4" fmla="*/ 2944 w 7159"/>
                <a:gd name="T5" fmla="*/ 4206 h 4207"/>
                <a:gd name="T6" fmla="*/ 7158 w 7159"/>
                <a:gd name="T7" fmla="*/ 1719 h 4207"/>
                <a:gd name="T8" fmla="*/ 4210 w 7159"/>
                <a:gd name="T9" fmla="*/ 0 h 4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9" h="4207">
                  <a:moveTo>
                    <a:pt x="4210" y="0"/>
                  </a:moveTo>
                  <a:lnTo>
                    <a:pt x="0" y="2482"/>
                  </a:lnTo>
                  <a:lnTo>
                    <a:pt x="2944" y="4206"/>
                  </a:lnTo>
                  <a:lnTo>
                    <a:pt x="7158" y="1719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3" name="Freeform 43">
              <a:extLst>
                <a:ext uri="{FF2B5EF4-FFF2-40B4-BE49-F238E27FC236}">
                  <a16:creationId xmlns:a16="http://schemas.microsoft.com/office/drawing/2014/main" id="{0472FDE4-9C37-C342-A1D3-D322CF2514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474" y="4870593"/>
              <a:ext cx="3562935" cy="2093979"/>
            </a:xfrm>
            <a:custGeom>
              <a:avLst/>
              <a:gdLst>
                <a:gd name="T0" fmla="*/ 3888 w 5455"/>
                <a:gd name="T1" fmla="*/ 0 h 3207"/>
                <a:gd name="T2" fmla="*/ 0 w 5455"/>
                <a:gd name="T3" fmla="*/ 2291 h 3207"/>
                <a:gd name="T4" fmla="*/ 1563 w 5455"/>
                <a:gd name="T5" fmla="*/ 3206 h 3207"/>
                <a:gd name="T6" fmla="*/ 5454 w 5455"/>
                <a:gd name="T7" fmla="*/ 909 h 3207"/>
                <a:gd name="T8" fmla="*/ 3888 w 5455"/>
                <a:gd name="T9" fmla="*/ 0 h 3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55" h="3207">
                  <a:moveTo>
                    <a:pt x="3888" y="0"/>
                  </a:moveTo>
                  <a:lnTo>
                    <a:pt x="0" y="2291"/>
                  </a:lnTo>
                  <a:lnTo>
                    <a:pt x="1563" y="3206"/>
                  </a:lnTo>
                  <a:lnTo>
                    <a:pt x="5454" y="909"/>
                  </a:lnTo>
                  <a:lnTo>
                    <a:pt x="388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4" name="Freeform 44">
              <a:extLst>
                <a:ext uri="{FF2B5EF4-FFF2-40B4-BE49-F238E27FC236}">
                  <a16:creationId xmlns:a16="http://schemas.microsoft.com/office/drawing/2014/main" id="{0F48EA7D-70F3-5544-BD6A-3E5B03F93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1107" y="6011193"/>
              <a:ext cx="1564005" cy="918816"/>
            </a:xfrm>
            <a:custGeom>
              <a:avLst/>
              <a:gdLst>
                <a:gd name="T0" fmla="*/ 1448 w 2396"/>
                <a:gd name="T1" fmla="*/ 0 h 1408"/>
                <a:gd name="T2" fmla="*/ 0 w 2396"/>
                <a:gd name="T3" fmla="*/ 854 h 1408"/>
                <a:gd name="T4" fmla="*/ 945 w 2396"/>
                <a:gd name="T5" fmla="*/ 1407 h 1408"/>
                <a:gd name="T6" fmla="*/ 2395 w 2396"/>
                <a:gd name="T7" fmla="*/ 552 h 1408"/>
                <a:gd name="T8" fmla="*/ 1448 w 2396"/>
                <a:gd name="T9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6" h="1408">
                  <a:moveTo>
                    <a:pt x="1448" y="0"/>
                  </a:moveTo>
                  <a:lnTo>
                    <a:pt x="0" y="854"/>
                  </a:lnTo>
                  <a:lnTo>
                    <a:pt x="945" y="1407"/>
                  </a:lnTo>
                  <a:lnTo>
                    <a:pt x="2395" y="552"/>
                  </a:lnTo>
                  <a:lnTo>
                    <a:pt x="144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id="{D8F9784A-F30F-5D49-8897-334C0E669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96294" y="6405793"/>
              <a:ext cx="437806" cy="256348"/>
            </a:xfrm>
            <a:custGeom>
              <a:avLst/>
              <a:gdLst>
                <a:gd name="T0" fmla="*/ 19 w 671"/>
                <a:gd name="T1" fmla="*/ 0 h 393"/>
                <a:gd name="T2" fmla="*/ 0 w 671"/>
                <a:gd name="T3" fmla="*/ 10 h 393"/>
                <a:gd name="T4" fmla="*/ 651 w 671"/>
                <a:gd name="T5" fmla="*/ 392 h 393"/>
                <a:gd name="T6" fmla="*/ 670 w 671"/>
                <a:gd name="T7" fmla="*/ 380 h 393"/>
                <a:gd name="T8" fmla="*/ 19 w 671"/>
                <a:gd name="T9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393">
                  <a:moveTo>
                    <a:pt x="19" y="0"/>
                  </a:moveTo>
                  <a:lnTo>
                    <a:pt x="0" y="10"/>
                  </a:lnTo>
                  <a:lnTo>
                    <a:pt x="651" y="392"/>
                  </a:lnTo>
                  <a:lnTo>
                    <a:pt x="670" y="380"/>
                  </a:lnTo>
                  <a:lnTo>
                    <a:pt x="19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434F51CE-16A5-714C-9465-F318853B1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0" y="1932685"/>
              <a:ext cx="2830675" cy="4363004"/>
            </a:xfrm>
            <a:custGeom>
              <a:avLst/>
              <a:gdLst>
                <a:gd name="connsiteX0" fmla="*/ 2750688 w 2830675"/>
                <a:gd name="connsiteY0" fmla="*/ 0 h 4363004"/>
                <a:gd name="connsiteX1" fmla="*/ 2830675 w 2830675"/>
                <a:gd name="connsiteY1" fmla="*/ 48467 h 4363004"/>
                <a:gd name="connsiteX2" fmla="*/ 2830675 w 2830675"/>
                <a:gd name="connsiteY2" fmla="*/ 491876 h 4363004"/>
                <a:gd name="connsiteX3" fmla="*/ 2750688 w 2830675"/>
                <a:gd name="connsiteY3" fmla="*/ 459128 h 4363004"/>
                <a:gd name="connsiteX4" fmla="*/ 2750035 w 2830675"/>
                <a:gd name="connsiteY4" fmla="*/ 0 h 4363004"/>
                <a:gd name="connsiteX5" fmla="*/ 2750035 w 2830675"/>
                <a:gd name="connsiteY5" fmla="*/ 2744923 h 4363004"/>
                <a:gd name="connsiteX6" fmla="*/ 0 w 2830675"/>
                <a:gd name="connsiteY6" fmla="*/ 4363004 h 4363004"/>
                <a:gd name="connsiteX7" fmla="*/ 0 w 2830675"/>
                <a:gd name="connsiteY7" fmla="*/ 1618081 h 436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0675" h="4363004">
                  <a:moveTo>
                    <a:pt x="2750688" y="0"/>
                  </a:moveTo>
                  <a:lnTo>
                    <a:pt x="2830675" y="48467"/>
                  </a:lnTo>
                  <a:lnTo>
                    <a:pt x="2830675" y="491876"/>
                  </a:lnTo>
                  <a:lnTo>
                    <a:pt x="2750688" y="459128"/>
                  </a:lnTo>
                  <a:close/>
                  <a:moveTo>
                    <a:pt x="2750035" y="0"/>
                  </a:moveTo>
                  <a:lnTo>
                    <a:pt x="2750035" y="2744923"/>
                  </a:lnTo>
                  <a:lnTo>
                    <a:pt x="0" y="4363004"/>
                  </a:lnTo>
                  <a:lnTo>
                    <a:pt x="0" y="161808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7" name="Freeform 48">
              <a:extLst>
                <a:ext uri="{FF2B5EF4-FFF2-40B4-BE49-F238E27FC236}">
                  <a16:creationId xmlns:a16="http://schemas.microsoft.com/office/drawing/2014/main" id="{2947221F-196F-A544-8F19-65585708C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1" y="3548535"/>
              <a:ext cx="80648" cy="2793893"/>
            </a:xfrm>
            <a:custGeom>
              <a:avLst/>
              <a:gdLst>
                <a:gd name="T0" fmla="*/ 121 w 122"/>
                <a:gd name="T1" fmla="*/ 74 h 4277"/>
                <a:gd name="T2" fmla="*/ 121 w 122"/>
                <a:gd name="T3" fmla="*/ 4276 h 4277"/>
                <a:gd name="T4" fmla="*/ 0 w 122"/>
                <a:gd name="T5" fmla="*/ 4202 h 4277"/>
                <a:gd name="T6" fmla="*/ 0 w 122"/>
                <a:gd name="T7" fmla="*/ 0 h 4277"/>
                <a:gd name="T8" fmla="*/ 121 w 122"/>
                <a:gd name="T9" fmla="*/ 74 h 4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4277">
                  <a:moveTo>
                    <a:pt x="121" y="74"/>
                  </a:moveTo>
                  <a:lnTo>
                    <a:pt x="121" y="4276"/>
                  </a:lnTo>
                  <a:lnTo>
                    <a:pt x="0" y="4202"/>
                  </a:lnTo>
                  <a:lnTo>
                    <a:pt x="0" y="0"/>
                  </a:lnTo>
                  <a:lnTo>
                    <a:pt x="121" y="74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8" name="Freeform 49">
              <a:extLst>
                <a:ext uri="{FF2B5EF4-FFF2-40B4-BE49-F238E27FC236}">
                  <a16:creationId xmlns:a16="http://schemas.microsoft.com/office/drawing/2014/main" id="{81F69DC5-5E76-CE41-B3C2-3BDAE8366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1978770"/>
              <a:ext cx="2750688" cy="4363657"/>
            </a:xfrm>
            <a:custGeom>
              <a:avLst/>
              <a:gdLst>
                <a:gd name="T0" fmla="*/ 4210 w 4211"/>
                <a:gd name="T1" fmla="*/ 0 h 6680"/>
                <a:gd name="T2" fmla="*/ 4210 w 4211"/>
                <a:gd name="T3" fmla="*/ 4202 h 6680"/>
                <a:gd name="T4" fmla="*/ 0 w 4211"/>
                <a:gd name="T5" fmla="*/ 6679 h 6680"/>
                <a:gd name="T6" fmla="*/ 0 w 4211"/>
                <a:gd name="T7" fmla="*/ 2477 h 6680"/>
                <a:gd name="T8" fmla="*/ 4210 w 4211"/>
                <a:gd name="T9" fmla="*/ 0 h 6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1" h="6680">
                  <a:moveTo>
                    <a:pt x="4210" y="0"/>
                  </a:moveTo>
                  <a:lnTo>
                    <a:pt x="4210" y="4202"/>
                  </a:lnTo>
                  <a:lnTo>
                    <a:pt x="0" y="6679"/>
                  </a:lnTo>
                  <a:lnTo>
                    <a:pt x="0" y="2477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39" name="Freeform 50">
              <a:extLst>
                <a:ext uri="{FF2B5EF4-FFF2-40B4-BE49-F238E27FC236}">
                  <a16:creationId xmlns:a16="http://schemas.microsoft.com/office/drawing/2014/main" id="{64785DCD-DC09-7742-A6B6-1CFBC0340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2015" y="2249519"/>
              <a:ext cx="2638357" cy="3954654"/>
            </a:xfrm>
            <a:custGeom>
              <a:avLst/>
              <a:gdLst>
                <a:gd name="T0" fmla="*/ 4001 w 4038"/>
                <a:gd name="T1" fmla="*/ 3759 h 6055"/>
                <a:gd name="T2" fmla="*/ 108 w 4038"/>
                <a:gd name="T3" fmla="*/ 6025 h 6055"/>
                <a:gd name="T4" fmla="*/ 108 w 4038"/>
                <a:gd name="T5" fmla="*/ 6025 h 6055"/>
                <a:gd name="T6" fmla="*/ 0 w 4038"/>
                <a:gd name="T7" fmla="*/ 5964 h 6055"/>
                <a:gd name="T8" fmla="*/ 0 w 4038"/>
                <a:gd name="T9" fmla="*/ 2367 h 6055"/>
                <a:gd name="T10" fmla="*/ 0 w 4038"/>
                <a:gd name="T11" fmla="*/ 2367 h 6055"/>
                <a:gd name="T12" fmla="*/ 36 w 4038"/>
                <a:gd name="T13" fmla="*/ 2305 h 6055"/>
                <a:gd name="T14" fmla="*/ 3929 w 4038"/>
                <a:gd name="T15" fmla="*/ 28 h 6055"/>
                <a:gd name="T16" fmla="*/ 3929 w 4038"/>
                <a:gd name="T17" fmla="*/ 28 h 6055"/>
                <a:gd name="T18" fmla="*/ 4037 w 4038"/>
                <a:gd name="T19" fmla="*/ 90 h 6055"/>
                <a:gd name="T20" fmla="*/ 4037 w 4038"/>
                <a:gd name="T21" fmla="*/ 3697 h 6055"/>
                <a:gd name="T22" fmla="*/ 4037 w 4038"/>
                <a:gd name="T23" fmla="*/ 3697 h 6055"/>
                <a:gd name="T24" fmla="*/ 4001 w 4038"/>
                <a:gd name="T25" fmla="*/ 3759 h 6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38" h="6055">
                  <a:moveTo>
                    <a:pt x="4001" y="3759"/>
                  </a:moveTo>
                  <a:lnTo>
                    <a:pt x="108" y="6025"/>
                  </a:lnTo>
                  <a:lnTo>
                    <a:pt x="108" y="6025"/>
                  </a:lnTo>
                  <a:cubicBezTo>
                    <a:pt x="60" y="6054"/>
                    <a:pt x="0" y="6019"/>
                    <a:pt x="0" y="5964"/>
                  </a:cubicBezTo>
                  <a:lnTo>
                    <a:pt x="0" y="2367"/>
                  </a:lnTo>
                  <a:lnTo>
                    <a:pt x="0" y="2367"/>
                  </a:lnTo>
                  <a:cubicBezTo>
                    <a:pt x="0" y="2342"/>
                    <a:pt x="13" y="2318"/>
                    <a:pt x="36" y="2305"/>
                  </a:cubicBezTo>
                  <a:lnTo>
                    <a:pt x="3929" y="28"/>
                  </a:lnTo>
                  <a:lnTo>
                    <a:pt x="3929" y="28"/>
                  </a:lnTo>
                  <a:cubicBezTo>
                    <a:pt x="3976" y="0"/>
                    <a:pt x="4037" y="34"/>
                    <a:pt x="4037" y="90"/>
                  </a:cubicBezTo>
                  <a:lnTo>
                    <a:pt x="4037" y="3697"/>
                  </a:lnTo>
                  <a:lnTo>
                    <a:pt x="4037" y="3697"/>
                  </a:lnTo>
                  <a:cubicBezTo>
                    <a:pt x="4037" y="3722"/>
                    <a:pt x="4023" y="3746"/>
                    <a:pt x="4001" y="37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813ABA2F-EB63-8C4F-99C7-AF0DE228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2891244"/>
              <a:ext cx="1661280" cy="1141897"/>
            </a:xfrm>
            <a:custGeom>
              <a:avLst/>
              <a:gdLst>
                <a:gd name="connsiteX0" fmla="*/ 419125 w 1661280"/>
                <a:gd name="connsiteY0" fmla="*/ 706482 h 1141897"/>
                <a:gd name="connsiteX1" fmla="*/ 454434 w 1661280"/>
                <a:gd name="connsiteY1" fmla="*/ 741423 h 1141897"/>
                <a:gd name="connsiteX2" fmla="*/ 454434 w 1661280"/>
                <a:gd name="connsiteY2" fmla="*/ 886580 h 1141897"/>
                <a:gd name="connsiteX3" fmla="*/ 436780 w 1661280"/>
                <a:gd name="connsiteY3" fmla="*/ 917312 h 1141897"/>
                <a:gd name="connsiteX4" fmla="*/ 60155 w 1661280"/>
                <a:gd name="connsiteY4" fmla="*/ 1136356 h 1141897"/>
                <a:gd name="connsiteX5" fmla="*/ 0 w 1661280"/>
                <a:gd name="connsiteY5" fmla="*/ 1102355 h 1141897"/>
                <a:gd name="connsiteX6" fmla="*/ 0 w 1661280"/>
                <a:gd name="connsiteY6" fmla="*/ 968967 h 1141897"/>
                <a:gd name="connsiteX7" fmla="*/ 20270 w 1661280"/>
                <a:gd name="connsiteY7" fmla="*/ 934312 h 1141897"/>
                <a:gd name="connsiteX8" fmla="*/ 400817 w 1661280"/>
                <a:gd name="connsiteY8" fmla="*/ 711345 h 1141897"/>
                <a:gd name="connsiteX9" fmla="*/ 419125 w 1661280"/>
                <a:gd name="connsiteY9" fmla="*/ 706482 h 1141897"/>
                <a:gd name="connsiteX10" fmla="*/ 949785 w 1661280"/>
                <a:gd name="connsiteY10" fmla="*/ 395663 h 1141897"/>
                <a:gd name="connsiteX11" fmla="*/ 984412 w 1661280"/>
                <a:gd name="connsiteY11" fmla="*/ 430846 h 1141897"/>
                <a:gd name="connsiteX12" fmla="*/ 984412 w 1661280"/>
                <a:gd name="connsiteY12" fmla="*/ 577444 h 1141897"/>
                <a:gd name="connsiteX13" fmla="*/ 967475 w 1661280"/>
                <a:gd name="connsiteY13" fmla="*/ 607415 h 1141897"/>
                <a:gd name="connsiteX14" fmla="*/ 559697 w 1661280"/>
                <a:gd name="connsiteY14" fmla="*/ 844577 h 1141897"/>
                <a:gd name="connsiteX15" fmla="*/ 506933 w 1661280"/>
                <a:gd name="connsiteY15" fmla="*/ 814606 h 1141897"/>
                <a:gd name="connsiteX16" fmla="*/ 506933 w 1661280"/>
                <a:gd name="connsiteY16" fmla="*/ 669311 h 1141897"/>
                <a:gd name="connsiteX17" fmla="*/ 524521 w 1661280"/>
                <a:gd name="connsiteY17" fmla="*/ 638689 h 1141897"/>
                <a:gd name="connsiteX18" fmla="*/ 931648 w 1661280"/>
                <a:gd name="connsiteY18" fmla="*/ 400875 h 1141897"/>
                <a:gd name="connsiteX19" fmla="*/ 949785 w 1661280"/>
                <a:gd name="connsiteY19" fmla="*/ 395663 h 1141897"/>
                <a:gd name="connsiteX20" fmla="*/ 1629938 w 1661280"/>
                <a:gd name="connsiteY20" fmla="*/ 5 h 1141897"/>
                <a:gd name="connsiteX21" fmla="*/ 1661280 w 1661280"/>
                <a:gd name="connsiteY21" fmla="*/ 31789 h 1141897"/>
                <a:gd name="connsiteX22" fmla="*/ 1661280 w 1661280"/>
                <a:gd name="connsiteY22" fmla="*/ 182684 h 1141897"/>
                <a:gd name="connsiteX23" fmla="*/ 1639775 w 1661280"/>
                <a:gd name="connsiteY23" fmla="*/ 218612 h 1141897"/>
                <a:gd name="connsiteX24" fmla="*/ 1098229 w 1661280"/>
                <a:gd name="connsiteY24" fmla="*/ 534774 h 1141897"/>
                <a:gd name="connsiteX25" fmla="*/ 1051308 w 1661280"/>
                <a:gd name="connsiteY25" fmla="*/ 507992 h 1141897"/>
                <a:gd name="connsiteX26" fmla="*/ 1051308 w 1661280"/>
                <a:gd name="connsiteY26" fmla="*/ 358403 h 1141897"/>
                <a:gd name="connsiteX27" fmla="*/ 1072162 w 1661280"/>
                <a:gd name="connsiteY27" fmla="*/ 321822 h 1141897"/>
                <a:gd name="connsiteX28" fmla="*/ 1613708 w 1661280"/>
                <a:gd name="connsiteY28" fmla="*/ 4353 h 1141897"/>
                <a:gd name="connsiteX29" fmla="*/ 1629938 w 1661280"/>
                <a:gd name="connsiteY29" fmla="*/ 5 h 114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61280" h="1141897">
                  <a:moveTo>
                    <a:pt x="419125" y="706482"/>
                  </a:moveTo>
                  <a:cubicBezTo>
                    <a:pt x="437515" y="706727"/>
                    <a:pt x="454434" y="721317"/>
                    <a:pt x="454434" y="741423"/>
                  </a:cubicBezTo>
                  <a:lnTo>
                    <a:pt x="454434" y="886580"/>
                  </a:lnTo>
                  <a:cubicBezTo>
                    <a:pt x="454434" y="899004"/>
                    <a:pt x="447896" y="910773"/>
                    <a:pt x="436780" y="917312"/>
                  </a:cubicBezTo>
                  <a:lnTo>
                    <a:pt x="60155" y="1136356"/>
                  </a:lnTo>
                  <a:cubicBezTo>
                    <a:pt x="33347" y="1152048"/>
                    <a:pt x="0" y="1132432"/>
                    <a:pt x="0" y="1102355"/>
                  </a:cubicBezTo>
                  <a:lnTo>
                    <a:pt x="0" y="968967"/>
                  </a:lnTo>
                  <a:cubicBezTo>
                    <a:pt x="0" y="954582"/>
                    <a:pt x="7846" y="941505"/>
                    <a:pt x="20270" y="934312"/>
                  </a:cubicBezTo>
                  <a:lnTo>
                    <a:pt x="400817" y="711345"/>
                  </a:lnTo>
                  <a:cubicBezTo>
                    <a:pt x="406702" y="707912"/>
                    <a:pt x="412995" y="706400"/>
                    <a:pt x="419125" y="706482"/>
                  </a:cubicBezTo>
                  <a:close/>
                  <a:moveTo>
                    <a:pt x="949785" y="395663"/>
                  </a:moveTo>
                  <a:cubicBezTo>
                    <a:pt x="967923" y="395663"/>
                    <a:pt x="984412" y="410322"/>
                    <a:pt x="984412" y="430846"/>
                  </a:cubicBezTo>
                  <a:lnTo>
                    <a:pt x="984412" y="577444"/>
                  </a:lnTo>
                  <a:cubicBezTo>
                    <a:pt x="984412" y="589171"/>
                    <a:pt x="977898" y="600899"/>
                    <a:pt x="967475" y="607415"/>
                  </a:cubicBezTo>
                  <a:lnTo>
                    <a:pt x="559697" y="844577"/>
                  </a:lnTo>
                  <a:cubicBezTo>
                    <a:pt x="536246" y="858260"/>
                    <a:pt x="506933" y="841319"/>
                    <a:pt x="506933" y="814606"/>
                  </a:cubicBezTo>
                  <a:lnTo>
                    <a:pt x="506933" y="669311"/>
                  </a:lnTo>
                  <a:cubicBezTo>
                    <a:pt x="506933" y="656932"/>
                    <a:pt x="513447" y="645204"/>
                    <a:pt x="524521" y="638689"/>
                  </a:cubicBezTo>
                  <a:lnTo>
                    <a:pt x="931648" y="400875"/>
                  </a:lnTo>
                  <a:cubicBezTo>
                    <a:pt x="937511" y="397291"/>
                    <a:pt x="943740" y="395663"/>
                    <a:pt x="949785" y="395663"/>
                  </a:cubicBezTo>
                  <a:close/>
                  <a:moveTo>
                    <a:pt x="1629938" y="5"/>
                  </a:moveTo>
                  <a:cubicBezTo>
                    <a:pt x="1646251" y="311"/>
                    <a:pt x="1661280" y="13662"/>
                    <a:pt x="1661280" y="31789"/>
                  </a:cubicBezTo>
                  <a:lnTo>
                    <a:pt x="1661280" y="182684"/>
                  </a:lnTo>
                  <a:cubicBezTo>
                    <a:pt x="1661280" y="197709"/>
                    <a:pt x="1652809" y="211426"/>
                    <a:pt x="1639775" y="218612"/>
                  </a:cubicBezTo>
                  <a:lnTo>
                    <a:pt x="1098229" y="534774"/>
                  </a:lnTo>
                  <a:cubicBezTo>
                    <a:pt x="1077375" y="547186"/>
                    <a:pt x="1051308" y="532161"/>
                    <a:pt x="1051308" y="507992"/>
                  </a:cubicBezTo>
                  <a:lnTo>
                    <a:pt x="1051308" y="358403"/>
                  </a:lnTo>
                  <a:cubicBezTo>
                    <a:pt x="1051308" y="343379"/>
                    <a:pt x="1059128" y="329661"/>
                    <a:pt x="1072162" y="321822"/>
                  </a:cubicBezTo>
                  <a:lnTo>
                    <a:pt x="1613708" y="4353"/>
                  </a:lnTo>
                  <a:cubicBezTo>
                    <a:pt x="1618921" y="1250"/>
                    <a:pt x="1624501" y="-97"/>
                    <a:pt x="1629938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E26B0416-7E47-FF4B-A8E0-067DA0AE5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2857261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6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6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C05F6058-F01E-1846-B833-BC1FBC74D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17121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7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BC184BA-40D3-DE4B-A11D-503FD9D43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3492348"/>
              <a:ext cx="2243101" cy="1477302"/>
            </a:xfrm>
            <a:custGeom>
              <a:avLst/>
              <a:gdLst>
                <a:gd name="connsiteX0" fmla="*/ 554963 w 2243101"/>
                <a:gd name="connsiteY0" fmla="*/ 964193 h 1477302"/>
                <a:gd name="connsiteX1" fmla="*/ 592689 w 2243101"/>
                <a:gd name="connsiteY1" fmla="*/ 1002393 h 1477302"/>
                <a:gd name="connsiteX2" fmla="*/ 592689 w 2243101"/>
                <a:gd name="connsiteY2" fmla="*/ 1128767 h 1477302"/>
                <a:gd name="connsiteX3" fmla="*/ 563969 w 2243101"/>
                <a:gd name="connsiteY3" fmla="*/ 1178926 h 1477302"/>
                <a:gd name="connsiteX4" fmla="*/ 60052 w 2243101"/>
                <a:gd name="connsiteY4" fmla="*/ 1472062 h 1477302"/>
                <a:gd name="connsiteX5" fmla="*/ 0 w 2243101"/>
                <a:gd name="connsiteY5" fmla="*/ 1437537 h 1477302"/>
                <a:gd name="connsiteX6" fmla="*/ 0 w 2243101"/>
                <a:gd name="connsiteY6" fmla="*/ 1304649 h 1477302"/>
                <a:gd name="connsiteX7" fmla="*/ 20235 w 2243101"/>
                <a:gd name="connsiteY7" fmla="*/ 1270124 h 1477302"/>
                <a:gd name="connsiteX8" fmla="*/ 535248 w 2243101"/>
                <a:gd name="connsiteY8" fmla="*/ 969170 h 1477302"/>
                <a:gd name="connsiteX9" fmla="*/ 554963 w 2243101"/>
                <a:gd name="connsiteY9" fmla="*/ 964193 h 1477302"/>
                <a:gd name="connsiteX10" fmla="*/ 2203940 w 2243101"/>
                <a:gd name="connsiteY10" fmla="*/ 1 h 1477302"/>
                <a:gd name="connsiteX11" fmla="*/ 2243101 w 2243101"/>
                <a:gd name="connsiteY11" fmla="*/ 40227 h 1477302"/>
                <a:gd name="connsiteX12" fmla="*/ 2243101 w 2243101"/>
                <a:gd name="connsiteY12" fmla="*/ 179336 h 1477302"/>
                <a:gd name="connsiteX13" fmla="*/ 2223490 w 2243101"/>
                <a:gd name="connsiteY13" fmla="*/ 213296 h 1477302"/>
                <a:gd name="connsiteX14" fmla="*/ 702324 w 2243101"/>
                <a:gd name="connsiteY14" fmla="*/ 1098889 h 1477302"/>
                <a:gd name="connsiteX15" fmla="*/ 648067 w 2243101"/>
                <a:gd name="connsiteY15" fmla="*/ 1066888 h 1477302"/>
                <a:gd name="connsiteX16" fmla="*/ 648067 w 2243101"/>
                <a:gd name="connsiteY16" fmla="*/ 936922 h 1477302"/>
                <a:gd name="connsiteX17" fmla="*/ 677484 w 2243101"/>
                <a:gd name="connsiteY17" fmla="*/ 885981 h 1477302"/>
                <a:gd name="connsiteX18" fmla="*/ 2183614 w 2243101"/>
                <a:gd name="connsiteY18" fmla="*/ 5613 h 1477302"/>
                <a:gd name="connsiteX19" fmla="*/ 2203940 w 2243101"/>
                <a:gd name="connsiteY19" fmla="*/ 1 h 147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43101" h="1477302">
                  <a:moveTo>
                    <a:pt x="554963" y="964193"/>
                  </a:moveTo>
                  <a:cubicBezTo>
                    <a:pt x="574698" y="964651"/>
                    <a:pt x="592689" y="980407"/>
                    <a:pt x="592689" y="1002393"/>
                  </a:cubicBezTo>
                  <a:lnTo>
                    <a:pt x="592689" y="1128767"/>
                  </a:lnTo>
                  <a:cubicBezTo>
                    <a:pt x="592689" y="1149612"/>
                    <a:pt x="581593" y="1168503"/>
                    <a:pt x="563969" y="1178926"/>
                  </a:cubicBezTo>
                  <a:lnTo>
                    <a:pt x="60052" y="1472062"/>
                  </a:lnTo>
                  <a:cubicBezTo>
                    <a:pt x="33290" y="1487045"/>
                    <a:pt x="0" y="1468154"/>
                    <a:pt x="0" y="1437537"/>
                  </a:cubicBezTo>
                  <a:lnTo>
                    <a:pt x="0" y="1304649"/>
                  </a:lnTo>
                  <a:cubicBezTo>
                    <a:pt x="0" y="1290318"/>
                    <a:pt x="7833" y="1277289"/>
                    <a:pt x="20235" y="1270124"/>
                  </a:cubicBezTo>
                  <a:lnTo>
                    <a:pt x="535248" y="969170"/>
                  </a:lnTo>
                  <a:cubicBezTo>
                    <a:pt x="541612" y="965588"/>
                    <a:pt x="548384" y="964040"/>
                    <a:pt x="554963" y="964193"/>
                  </a:cubicBezTo>
                  <a:close/>
                  <a:moveTo>
                    <a:pt x="2203940" y="1"/>
                  </a:moveTo>
                  <a:cubicBezTo>
                    <a:pt x="2224348" y="184"/>
                    <a:pt x="2243101" y="16716"/>
                    <a:pt x="2243101" y="40227"/>
                  </a:cubicBezTo>
                  <a:lnTo>
                    <a:pt x="2243101" y="179336"/>
                  </a:lnTo>
                  <a:cubicBezTo>
                    <a:pt x="2243101" y="193050"/>
                    <a:pt x="2235257" y="206112"/>
                    <a:pt x="2223490" y="213296"/>
                  </a:cubicBezTo>
                  <a:lnTo>
                    <a:pt x="702324" y="1098889"/>
                  </a:lnTo>
                  <a:cubicBezTo>
                    <a:pt x="678137" y="1112604"/>
                    <a:pt x="648067" y="1094971"/>
                    <a:pt x="648067" y="1066888"/>
                  </a:cubicBezTo>
                  <a:lnTo>
                    <a:pt x="648067" y="936922"/>
                  </a:lnTo>
                  <a:cubicBezTo>
                    <a:pt x="648067" y="916023"/>
                    <a:pt x="659180" y="896430"/>
                    <a:pt x="677484" y="885981"/>
                  </a:cubicBezTo>
                  <a:lnTo>
                    <a:pt x="2183614" y="5613"/>
                  </a:lnTo>
                  <a:cubicBezTo>
                    <a:pt x="2190151" y="1695"/>
                    <a:pt x="2197138" y="-61"/>
                    <a:pt x="220394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4" name="Freeform 58">
              <a:extLst>
                <a:ext uri="{FF2B5EF4-FFF2-40B4-BE49-F238E27FC236}">
                  <a16:creationId xmlns:a16="http://schemas.microsoft.com/office/drawing/2014/main" id="{B8160152-1F63-0F42-B606-9000E8088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796240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92F57B4E-AD25-A54D-BFF4-DD0F47CA8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4117434"/>
              <a:ext cx="2243099" cy="1477208"/>
            </a:xfrm>
            <a:custGeom>
              <a:avLst/>
              <a:gdLst>
                <a:gd name="connsiteX0" fmla="*/ 1682820 w 2243099"/>
                <a:gd name="connsiteY0" fmla="*/ 293738 h 1477208"/>
                <a:gd name="connsiteX1" fmla="*/ 1710247 w 2243099"/>
                <a:gd name="connsiteY1" fmla="*/ 309422 h 1477208"/>
                <a:gd name="connsiteX2" fmla="*/ 1710247 w 2243099"/>
                <a:gd name="connsiteY2" fmla="*/ 472790 h 1477208"/>
                <a:gd name="connsiteX3" fmla="*/ 1680208 w 2243099"/>
                <a:gd name="connsiteY3" fmla="*/ 525068 h 1477208"/>
                <a:gd name="connsiteX4" fmla="*/ 60077 w 2243099"/>
                <a:gd name="connsiteY4" fmla="*/ 1471952 h 1477208"/>
                <a:gd name="connsiteX5" fmla="*/ 0 w 2243099"/>
                <a:gd name="connsiteY5" fmla="*/ 1437318 h 1477208"/>
                <a:gd name="connsiteX6" fmla="*/ 0 w 2243099"/>
                <a:gd name="connsiteY6" fmla="*/ 1304009 h 1477208"/>
                <a:gd name="connsiteX7" fmla="*/ 20243 w 2243099"/>
                <a:gd name="connsiteY7" fmla="*/ 1269375 h 1477208"/>
                <a:gd name="connsiteX8" fmla="*/ 2203873 w 2243099"/>
                <a:gd name="connsiteY8" fmla="*/ 5 h 1477208"/>
                <a:gd name="connsiteX9" fmla="*/ 2243099 w 2243099"/>
                <a:gd name="connsiteY9" fmla="*/ 40036 h 1477208"/>
                <a:gd name="connsiteX10" fmla="*/ 2243099 w 2243099"/>
                <a:gd name="connsiteY10" fmla="*/ 178785 h 1477208"/>
                <a:gd name="connsiteX11" fmla="*/ 2223455 w 2243099"/>
                <a:gd name="connsiteY11" fmla="*/ 212658 h 1477208"/>
                <a:gd name="connsiteX12" fmla="*/ 1803734 w 2243099"/>
                <a:gd name="connsiteY12" fmla="*/ 456283 h 1477208"/>
                <a:gd name="connsiteX13" fmla="*/ 1759863 w 2243099"/>
                <a:gd name="connsiteY13" fmla="*/ 431530 h 1477208"/>
                <a:gd name="connsiteX14" fmla="*/ 1759863 w 2243099"/>
                <a:gd name="connsiteY14" fmla="*/ 286918 h 1477208"/>
                <a:gd name="connsiteX15" fmla="*/ 1790638 w 2243099"/>
                <a:gd name="connsiteY15" fmla="*/ 234805 h 1477208"/>
                <a:gd name="connsiteX16" fmla="*/ 2183513 w 2243099"/>
                <a:gd name="connsiteY16" fmla="*/ 5512 h 1477208"/>
                <a:gd name="connsiteX17" fmla="*/ 2203873 w 2243099"/>
                <a:gd name="connsiteY17" fmla="*/ 5 h 147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43099" h="1477208">
                  <a:moveTo>
                    <a:pt x="1682820" y="293738"/>
                  </a:moveTo>
                  <a:cubicBezTo>
                    <a:pt x="1695228" y="286550"/>
                    <a:pt x="1710247" y="295699"/>
                    <a:pt x="1710247" y="309422"/>
                  </a:cubicBezTo>
                  <a:lnTo>
                    <a:pt x="1710247" y="472790"/>
                  </a:lnTo>
                  <a:cubicBezTo>
                    <a:pt x="1710247" y="494355"/>
                    <a:pt x="1699146" y="513959"/>
                    <a:pt x="1680208" y="525068"/>
                  </a:cubicBezTo>
                  <a:lnTo>
                    <a:pt x="60077" y="1471952"/>
                  </a:lnTo>
                  <a:cubicBezTo>
                    <a:pt x="33304" y="1486982"/>
                    <a:pt x="0" y="1468031"/>
                    <a:pt x="0" y="1437318"/>
                  </a:cubicBezTo>
                  <a:lnTo>
                    <a:pt x="0" y="1304009"/>
                  </a:lnTo>
                  <a:cubicBezTo>
                    <a:pt x="0" y="1289633"/>
                    <a:pt x="7836" y="1276563"/>
                    <a:pt x="20243" y="1269375"/>
                  </a:cubicBezTo>
                  <a:close/>
                  <a:moveTo>
                    <a:pt x="2203873" y="5"/>
                  </a:moveTo>
                  <a:cubicBezTo>
                    <a:pt x="2224315" y="341"/>
                    <a:pt x="2243099" y="17074"/>
                    <a:pt x="2243099" y="40036"/>
                  </a:cubicBezTo>
                  <a:lnTo>
                    <a:pt x="2243099" y="178785"/>
                  </a:lnTo>
                  <a:cubicBezTo>
                    <a:pt x="2243099" y="193116"/>
                    <a:pt x="2235242" y="206144"/>
                    <a:pt x="2223455" y="212658"/>
                  </a:cubicBezTo>
                  <a:lnTo>
                    <a:pt x="1803734" y="456283"/>
                  </a:lnTo>
                  <a:cubicBezTo>
                    <a:pt x="1784090" y="467357"/>
                    <a:pt x="1759863" y="453677"/>
                    <a:pt x="1759863" y="431530"/>
                  </a:cubicBezTo>
                  <a:lnTo>
                    <a:pt x="1759863" y="286918"/>
                  </a:lnTo>
                  <a:cubicBezTo>
                    <a:pt x="1759863" y="265421"/>
                    <a:pt x="1772304" y="245228"/>
                    <a:pt x="1790638" y="234805"/>
                  </a:cubicBezTo>
                  <a:lnTo>
                    <a:pt x="2183513" y="5512"/>
                  </a:lnTo>
                  <a:cubicBezTo>
                    <a:pt x="2190061" y="1603"/>
                    <a:pt x="2197059" y="-107"/>
                    <a:pt x="2203873" y="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6" name="Freeform 61">
              <a:extLst>
                <a:ext uri="{FF2B5EF4-FFF2-40B4-BE49-F238E27FC236}">
                  <a16:creationId xmlns:a16="http://schemas.microsoft.com/office/drawing/2014/main" id="{421FBABC-443C-724B-960A-508E16FD2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441838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2"/>
                    <a:pt x="12" y="1972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2"/>
                    <a:pt x="3420" y="332"/>
                    <a:pt x="3402" y="34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62">
              <a:extLst>
                <a:ext uri="{FF2B5EF4-FFF2-40B4-BE49-F238E27FC236}">
                  <a16:creationId xmlns:a16="http://schemas.microsoft.com/office/drawing/2014/main" id="{997E1A53-FC46-524A-81E8-00663450C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5270" y="2848622"/>
              <a:ext cx="34564" cy="72007"/>
            </a:xfrm>
            <a:custGeom>
              <a:avLst/>
              <a:gdLst>
                <a:gd name="T0" fmla="*/ 25 w 52"/>
                <a:gd name="T1" fmla="*/ 9 h 112"/>
                <a:gd name="T2" fmla="*/ 25 w 52"/>
                <a:gd name="T3" fmla="*/ 9 h 112"/>
                <a:gd name="T4" fmla="*/ 51 w 52"/>
                <a:gd name="T5" fmla="*/ 40 h 112"/>
                <a:gd name="T6" fmla="*/ 51 w 52"/>
                <a:gd name="T7" fmla="*/ 40 h 112"/>
                <a:gd name="T8" fmla="*/ 25 w 52"/>
                <a:gd name="T9" fmla="*/ 102 h 112"/>
                <a:gd name="T10" fmla="*/ 25 w 52"/>
                <a:gd name="T11" fmla="*/ 102 h 112"/>
                <a:gd name="T12" fmla="*/ 0 w 52"/>
                <a:gd name="T13" fmla="*/ 71 h 112"/>
                <a:gd name="T14" fmla="*/ 0 w 52"/>
                <a:gd name="T15" fmla="*/ 71 h 112"/>
                <a:gd name="T16" fmla="*/ 25 w 52"/>
                <a:gd name="T17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12">
                  <a:moveTo>
                    <a:pt x="25" y="9"/>
                  </a:moveTo>
                  <a:lnTo>
                    <a:pt x="25" y="9"/>
                  </a:lnTo>
                  <a:cubicBezTo>
                    <a:pt x="39" y="0"/>
                    <a:pt x="51" y="14"/>
                    <a:pt x="51" y="40"/>
                  </a:cubicBezTo>
                  <a:lnTo>
                    <a:pt x="51" y="40"/>
                  </a:lnTo>
                  <a:cubicBezTo>
                    <a:pt x="51" y="66"/>
                    <a:pt x="39" y="93"/>
                    <a:pt x="25" y="102"/>
                  </a:cubicBezTo>
                  <a:lnTo>
                    <a:pt x="25" y="102"/>
                  </a:lnTo>
                  <a:cubicBezTo>
                    <a:pt x="11" y="111"/>
                    <a:pt x="0" y="97"/>
                    <a:pt x="0" y="71"/>
                  </a:cubicBezTo>
                  <a:lnTo>
                    <a:pt x="0" y="71"/>
                  </a:lnTo>
                  <a:cubicBezTo>
                    <a:pt x="0" y="46"/>
                    <a:pt x="11" y="18"/>
                    <a:pt x="25" y="9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3539A93D-B3F9-2041-81A6-6E5CF6DC0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6021" y="4935726"/>
              <a:ext cx="3296788" cy="1960491"/>
            </a:xfrm>
            <a:custGeom>
              <a:avLst/>
              <a:gdLst>
                <a:gd name="connsiteX0" fmla="*/ 883514 w 3296788"/>
                <a:gd name="connsiteY0" fmla="*/ 1817173 h 1960491"/>
                <a:gd name="connsiteX1" fmla="*/ 899862 w 3296788"/>
                <a:gd name="connsiteY1" fmla="*/ 1820927 h 1960491"/>
                <a:gd name="connsiteX2" fmla="*/ 986398 w 3296788"/>
                <a:gd name="connsiteY2" fmla="*/ 1869893 h 1960491"/>
                <a:gd name="connsiteX3" fmla="*/ 986398 w 3296788"/>
                <a:gd name="connsiteY3" fmla="*/ 1901883 h 1960491"/>
                <a:gd name="connsiteX4" fmla="*/ 893355 w 3296788"/>
                <a:gd name="connsiteY4" fmla="*/ 1955419 h 1960491"/>
                <a:gd name="connsiteX5" fmla="*/ 860172 w 3296788"/>
                <a:gd name="connsiteY5" fmla="*/ 1956724 h 1960491"/>
                <a:gd name="connsiteX6" fmla="*/ 775588 w 3296788"/>
                <a:gd name="connsiteY6" fmla="*/ 1908412 h 1960491"/>
                <a:gd name="connsiteX7" fmla="*/ 775588 w 3296788"/>
                <a:gd name="connsiteY7" fmla="*/ 1876421 h 1960491"/>
                <a:gd name="connsiteX8" fmla="*/ 866679 w 3296788"/>
                <a:gd name="connsiteY8" fmla="*/ 1822233 h 1960491"/>
                <a:gd name="connsiteX9" fmla="*/ 883514 w 3296788"/>
                <a:gd name="connsiteY9" fmla="*/ 1817173 h 1960491"/>
                <a:gd name="connsiteX10" fmla="*/ 1076253 w 3296788"/>
                <a:gd name="connsiteY10" fmla="*/ 1705153 h 1960491"/>
                <a:gd name="connsiteX11" fmla="*/ 1092844 w 3296788"/>
                <a:gd name="connsiteY11" fmla="*/ 1709197 h 1960491"/>
                <a:gd name="connsiteX12" fmla="*/ 1179380 w 3296788"/>
                <a:gd name="connsiteY12" fmla="*/ 1757084 h 1960491"/>
                <a:gd name="connsiteX13" fmla="*/ 1178729 w 3296788"/>
                <a:gd name="connsiteY13" fmla="*/ 1788145 h 1960491"/>
                <a:gd name="connsiteX14" fmla="*/ 1086337 w 3296788"/>
                <a:gd name="connsiteY14" fmla="*/ 1843150 h 1960491"/>
                <a:gd name="connsiteX15" fmla="*/ 1053154 w 3296788"/>
                <a:gd name="connsiteY15" fmla="*/ 1843150 h 1960491"/>
                <a:gd name="connsiteX16" fmla="*/ 968570 w 3296788"/>
                <a:gd name="connsiteY16" fmla="*/ 1795264 h 1960491"/>
                <a:gd name="connsiteX17" fmla="*/ 968570 w 3296788"/>
                <a:gd name="connsiteY17" fmla="*/ 1763555 h 1960491"/>
                <a:gd name="connsiteX18" fmla="*/ 1059661 w 3296788"/>
                <a:gd name="connsiteY18" fmla="*/ 1709844 h 1960491"/>
                <a:gd name="connsiteX19" fmla="*/ 1076253 w 3296788"/>
                <a:gd name="connsiteY19" fmla="*/ 1705153 h 1960491"/>
                <a:gd name="connsiteX20" fmla="*/ 693747 w 3296788"/>
                <a:gd name="connsiteY20" fmla="*/ 1699148 h 1960491"/>
                <a:gd name="connsiteX21" fmla="*/ 710139 w 3296788"/>
                <a:gd name="connsiteY21" fmla="*/ 1703435 h 1960491"/>
                <a:gd name="connsiteX22" fmla="*/ 796915 w 3296788"/>
                <a:gd name="connsiteY22" fmla="*/ 1751969 h 1960491"/>
                <a:gd name="connsiteX23" fmla="*/ 796262 w 3296788"/>
                <a:gd name="connsiteY23" fmla="*/ 1783030 h 1960491"/>
                <a:gd name="connsiteX24" fmla="*/ 703615 w 3296788"/>
                <a:gd name="connsiteY24" fmla="*/ 1837388 h 1960491"/>
                <a:gd name="connsiteX25" fmla="*/ 670340 w 3296788"/>
                <a:gd name="connsiteY25" fmla="*/ 1838035 h 1960491"/>
                <a:gd name="connsiteX26" fmla="*/ 584870 w 3296788"/>
                <a:gd name="connsiteY26" fmla="*/ 1789502 h 1960491"/>
                <a:gd name="connsiteX27" fmla="*/ 584870 w 3296788"/>
                <a:gd name="connsiteY27" fmla="*/ 1758440 h 1960491"/>
                <a:gd name="connsiteX28" fmla="*/ 676865 w 3296788"/>
                <a:gd name="connsiteY28" fmla="*/ 1704082 h 1960491"/>
                <a:gd name="connsiteX29" fmla="*/ 693747 w 3296788"/>
                <a:gd name="connsiteY29" fmla="*/ 1699148 h 1960491"/>
                <a:gd name="connsiteX30" fmla="*/ 1266684 w 3296788"/>
                <a:gd name="connsiteY30" fmla="*/ 1589704 h 1960491"/>
                <a:gd name="connsiteX31" fmla="*/ 1283321 w 3296788"/>
                <a:gd name="connsiteY31" fmla="*/ 1594010 h 1960491"/>
                <a:gd name="connsiteX32" fmla="*/ 1370097 w 3296788"/>
                <a:gd name="connsiteY32" fmla="*/ 1642108 h 1960491"/>
                <a:gd name="connsiteX33" fmla="*/ 1369444 w 3296788"/>
                <a:gd name="connsiteY33" fmla="*/ 1673957 h 1960491"/>
                <a:gd name="connsiteX34" fmla="*/ 1276797 w 3296788"/>
                <a:gd name="connsiteY34" fmla="*/ 1728555 h 1960491"/>
                <a:gd name="connsiteX35" fmla="*/ 1242870 w 3296788"/>
                <a:gd name="connsiteY35" fmla="*/ 1729205 h 1960491"/>
                <a:gd name="connsiteX36" fmla="*/ 1158052 w 3296788"/>
                <a:gd name="connsiteY36" fmla="*/ 1680457 h 1960491"/>
                <a:gd name="connsiteX37" fmla="*/ 1158052 w 3296788"/>
                <a:gd name="connsiteY37" fmla="*/ 1649258 h 1960491"/>
                <a:gd name="connsiteX38" fmla="*/ 1250047 w 3296788"/>
                <a:gd name="connsiteY38" fmla="*/ 1594660 h 1960491"/>
                <a:gd name="connsiteX39" fmla="*/ 1266684 w 3296788"/>
                <a:gd name="connsiteY39" fmla="*/ 1589704 h 1960491"/>
                <a:gd name="connsiteX40" fmla="*/ 883514 w 3296788"/>
                <a:gd name="connsiteY40" fmla="*/ 1586662 h 1960491"/>
                <a:gd name="connsiteX41" fmla="*/ 899862 w 3296788"/>
                <a:gd name="connsiteY41" fmla="*/ 1590480 h 1960491"/>
                <a:gd name="connsiteX42" fmla="*/ 986398 w 3296788"/>
                <a:gd name="connsiteY42" fmla="*/ 1639229 h 1960491"/>
                <a:gd name="connsiteX43" fmla="*/ 986398 w 3296788"/>
                <a:gd name="connsiteY43" fmla="*/ 1670428 h 1960491"/>
                <a:gd name="connsiteX44" fmla="*/ 893355 w 3296788"/>
                <a:gd name="connsiteY44" fmla="*/ 1725026 h 1960491"/>
                <a:gd name="connsiteX45" fmla="*/ 860172 w 3296788"/>
                <a:gd name="connsiteY45" fmla="*/ 1725676 h 1960491"/>
                <a:gd name="connsiteX46" fmla="*/ 775588 w 3296788"/>
                <a:gd name="connsiteY46" fmla="*/ 1676928 h 1960491"/>
                <a:gd name="connsiteX47" fmla="*/ 775588 w 3296788"/>
                <a:gd name="connsiteY47" fmla="*/ 1645729 h 1960491"/>
                <a:gd name="connsiteX48" fmla="*/ 866679 w 3296788"/>
                <a:gd name="connsiteY48" fmla="*/ 1591130 h 1960491"/>
                <a:gd name="connsiteX49" fmla="*/ 883514 w 3296788"/>
                <a:gd name="connsiteY49" fmla="*/ 1586662 h 1960491"/>
                <a:gd name="connsiteX50" fmla="*/ 500433 w 3296788"/>
                <a:gd name="connsiteY50" fmla="*/ 1581063 h 1960491"/>
                <a:gd name="connsiteX51" fmla="*/ 516781 w 3296788"/>
                <a:gd name="connsiteY51" fmla="*/ 1585369 h 1960491"/>
                <a:gd name="connsiteX52" fmla="*/ 603317 w 3296788"/>
                <a:gd name="connsiteY52" fmla="*/ 1633468 h 1960491"/>
                <a:gd name="connsiteX53" fmla="*/ 602666 w 3296788"/>
                <a:gd name="connsiteY53" fmla="*/ 1665317 h 1960491"/>
                <a:gd name="connsiteX54" fmla="*/ 510274 w 3296788"/>
                <a:gd name="connsiteY54" fmla="*/ 1719915 h 1960491"/>
                <a:gd name="connsiteX55" fmla="*/ 477091 w 3296788"/>
                <a:gd name="connsiteY55" fmla="*/ 1719915 h 1960491"/>
                <a:gd name="connsiteX56" fmla="*/ 392507 w 3296788"/>
                <a:gd name="connsiteY56" fmla="*/ 1671817 h 1960491"/>
                <a:gd name="connsiteX57" fmla="*/ 392507 w 3296788"/>
                <a:gd name="connsiteY57" fmla="*/ 1639968 h 1960491"/>
                <a:gd name="connsiteX58" fmla="*/ 483598 w 3296788"/>
                <a:gd name="connsiteY58" fmla="*/ 1586019 h 1960491"/>
                <a:gd name="connsiteX59" fmla="*/ 500433 w 3296788"/>
                <a:gd name="connsiteY59" fmla="*/ 1581063 h 1960491"/>
                <a:gd name="connsiteX60" fmla="*/ 1076251 w 3296788"/>
                <a:gd name="connsiteY60" fmla="*/ 1471929 h 1960491"/>
                <a:gd name="connsiteX61" fmla="*/ 1092842 w 3296788"/>
                <a:gd name="connsiteY61" fmla="*/ 1476539 h 1960491"/>
                <a:gd name="connsiteX62" fmla="*/ 1179378 w 3296788"/>
                <a:gd name="connsiteY62" fmla="*/ 1524426 h 1960491"/>
                <a:gd name="connsiteX63" fmla="*/ 1178727 w 3296788"/>
                <a:gd name="connsiteY63" fmla="*/ 1556135 h 1960491"/>
                <a:gd name="connsiteX64" fmla="*/ 1086335 w 3296788"/>
                <a:gd name="connsiteY64" fmla="*/ 1610493 h 1960491"/>
                <a:gd name="connsiteX65" fmla="*/ 1053152 w 3296788"/>
                <a:gd name="connsiteY65" fmla="*/ 1610493 h 1960491"/>
                <a:gd name="connsiteX66" fmla="*/ 968568 w 3296788"/>
                <a:gd name="connsiteY66" fmla="*/ 1562606 h 1960491"/>
                <a:gd name="connsiteX67" fmla="*/ 968568 w 3296788"/>
                <a:gd name="connsiteY67" fmla="*/ 1530897 h 1960491"/>
                <a:gd name="connsiteX68" fmla="*/ 1059659 w 3296788"/>
                <a:gd name="connsiteY68" fmla="*/ 1476539 h 1960491"/>
                <a:gd name="connsiteX69" fmla="*/ 1076251 w 3296788"/>
                <a:gd name="connsiteY69" fmla="*/ 1471929 h 1960491"/>
                <a:gd name="connsiteX70" fmla="*/ 693747 w 3296788"/>
                <a:gd name="connsiteY70" fmla="*/ 1468975 h 1960491"/>
                <a:gd name="connsiteX71" fmla="*/ 710139 w 3296788"/>
                <a:gd name="connsiteY71" fmla="*/ 1473037 h 1960491"/>
                <a:gd name="connsiteX72" fmla="*/ 796915 w 3296788"/>
                <a:gd name="connsiteY72" fmla="*/ 1521135 h 1960491"/>
                <a:gd name="connsiteX73" fmla="*/ 796262 w 3296788"/>
                <a:gd name="connsiteY73" fmla="*/ 1552984 h 1960491"/>
                <a:gd name="connsiteX74" fmla="*/ 703615 w 3296788"/>
                <a:gd name="connsiteY74" fmla="*/ 1606932 h 1960491"/>
                <a:gd name="connsiteX75" fmla="*/ 670340 w 3296788"/>
                <a:gd name="connsiteY75" fmla="*/ 1607582 h 1960491"/>
                <a:gd name="connsiteX76" fmla="*/ 584870 w 3296788"/>
                <a:gd name="connsiteY76" fmla="*/ 1559484 h 1960491"/>
                <a:gd name="connsiteX77" fmla="*/ 584870 w 3296788"/>
                <a:gd name="connsiteY77" fmla="*/ 1527635 h 1960491"/>
                <a:gd name="connsiteX78" fmla="*/ 676865 w 3296788"/>
                <a:gd name="connsiteY78" fmla="*/ 1473687 h 1960491"/>
                <a:gd name="connsiteX79" fmla="*/ 693747 w 3296788"/>
                <a:gd name="connsiteY79" fmla="*/ 1468975 h 1960491"/>
                <a:gd name="connsiteX80" fmla="*/ 307453 w 3296788"/>
                <a:gd name="connsiteY80" fmla="*/ 1463207 h 1960491"/>
                <a:gd name="connsiteX81" fmla="*/ 323801 w 3296788"/>
                <a:gd name="connsiteY81" fmla="*/ 1467251 h 1960491"/>
                <a:gd name="connsiteX82" fmla="*/ 410337 w 3296788"/>
                <a:gd name="connsiteY82" fmla="*/ 1515138 h 1960491"/>
                <a:gd name="connsiteX83" fmla="*/ 410337 w 3296788"/>
                <a:gd name="connsiteY83" fmla="*/ 1546846 h 1960491"/>
                <a:gd name="connsiteX84" fmla="*/ 317294 w 3296788"/>
                <a:gd name="connsiteY84" fmla="*/ 1601204 h 1960491"/>
                <a:gd name="connsiteX85" fmla="*/ 284111 w 3296788"/>
                <a:gd name="connsiteY85" fmla="*/ 1601204 h 1960491"/>
                <a:gd name="connsiteX86" fmla="*/ 199527 w 3296788"/>
                <a:gd name="connsiteY86" fmla="*/ 1553318 h 1960491"/>
                <a:gd name="connsiteX87" fmla="*/ 199527 w 3296788"/>
                <a:gd name="connsiteY87" fmla="*/ 1521609 h 1960491"/>
                <a:gd name="connsiteX88" fmla="*/ 290618 w 3296788"/>
                <a:gd name="connsiteY88" fmla="*/ 1467898 h 1960491"/>
                <a:gd name="connsiteX89" fmla="*/ 307453 w 3296788"/>
                <a:gd name="connsiteY89" fmla="*/ 1463207 h 1960491"/>
                <a:gd name="connsiteX90" fmla="*/ 1266682 w 3296788"/>
                <a:gd name="connsiteY90" fmla="*/ 1359198 h 1960491"/>
                <a:gd name="connsiteX91" fmla="*/ 1283319 w 3296788"/>
                <a:gd name="connsiteY91" fmla="*/ 1362935 h 1960491"/>
                <a:gd name="connsiteX92" fmla="*/ 1370095 w 3296788"/>
                <a:gd name="connsiteY92" fmla="*/ 1411683 h 1960491"/>
                <a:gd name="connsiteX93" fmla="*/ 1369442 w 3296788"/>
                <a:gd name="connsiteY93" fmla="*/ 1443532 h 1960491"/>
                <a:gd name="connsiteX94" fmla="*/ 1276795 w 3296788"/>
                <a:gd name="connsiteY94" fmla="*/ 1497480 h 1960491"/>
                <a:gd name="connsiteX95" fmla="*/ 1242868 w 3296788"/>
                <a:gd name="connsiteY95" fmla="*/ 1498130 h 1960491"/>
                <a:gd name="connsiteX96" fmla="*/ 1158050 w 3296788"/>
                <a:gd name="connsiteY96" fmla="*/ 1450032 h 1960491"/>
                <a:gd name="connsiteX97" fmla="*/ 1158050 w 3296788"/>
                <a:gd name="connsiteY97" fmla="*/ 1418183 h 1960491"/>
                <a:gd name="connsiteX98" fmla="*/ 1250045 w 3296788"/>
                <a:gd name="connsiteY98" fmla="*/ 1364235 h 1960491"/>
                <a:gd name="connsiteX99" fmla="*/ 1266682 w 3296788"/>
                <a:gd name="connsiteY99" fmla="*/ 1359198 h 1960491"/>
                <a:gd name="connsiteX100" fmla="*/ 117685 w 3296788"/>
                <a:gd name="connsiteY100" fmla="*/ 1356636 h 1960491"/>
                <a:gd name="connsiteX101" fmla="*/ 134077 w 3296788"/>
                <a:gd name="connsiteY101" fmla="*/ 1360680 h 1960491"/>
                <a:gd name="connsiteX102" fmla="*/ 220853 w 3296788"/>
                <a:gd name="connsiteY102" fmla="*/ 1409214 h 1960491"/>
                <a:gd name="connsiteX103" fmla="*/ 220853 w 3296788"/>
                <a:gd name="connsiteY103" fmla="*/ 1440276 h 1960491"/>
                <a:gd name="connsiteX104" fmla="*/ 127553 w 3296788"/>
                <a:gd name="connsiteY104" fmla="*/ 1494634 h 1960491"/>
                <a:gd name="connsiteX105" fmla="*/ 94278 w 3296788"/>
                <a:gd name="connsiteY105" fmla="*/ 1494634 h 1960491"/>
                <a:gd name="connsiteX106" fmla="*/ 8808 w 3296788"/>
                <a:gd name="connsiteY106" fmla="*/ 1446747 h 1960491"/>
                <a:gd name="connsiteX107" fmla="*/ 8808 w 3296788"/>
                <a:gd name="connsiteY107" fmla="*/ 1415685 h 1960491"/>
                <a:gd name="connsiteX108" fmla="*/ 100803 w 3296788"/>
                <a:gd name="connsiteY108" fmla="*/ 1361327 h 1960491"/>
                <a:gd name="connsiteX109" fmla="*/ 117685 w 3296788"/>
                <a:gd name="connsiteY109" fmla="*/ 1356636 h 1960491"/>
                <a:gd name="connsiteX110" fmla="*/ 883514 w 3296788"/>
                <a:gd name="connsiteY110" fmla="*/ 1356634 h 1960491"/>
                <a:gd name="connsiteX111" fmla="*/ 899862 w 3296788"/>
                <a:gd name="connsiteY111" fmla="*/ 1360679 h 1960491"/>
                <a:gd name="connsiteX112" fmla="*/ 986398 w 3296788"/>
                <a:gd name="connsiteY112" fmla="*/ 1409213 h 1960491"/>
                <a:gd name="connsiteX113" fmla="*/ 986398 w 3296788"/>
                <a:gd name="connsiteY113" fmla="*/ 1440274 h 1960491"/>
                <a:gd name="connsiteX114" fmla="*/ 893355 w 3296788"/>
                <a:gd name="connsiteY114" fmla="*/ 1494633 h 1960491"/>
                <a:gd name="connsiteX115" fmla="*/ 860172 w 3296788"/>
                <a:gd name="connsiteY115" fmla="*/ 1494633 h 1960491"/>
                <a:gd name="connsiteX116" fmla="*/ 775588 w 3296788"/>
                <a:gd name="connsiteY116" fmla="*/ 1446746 h 1960491"/>
                <a:gd name="connsiteX117" fmla="*/ 775588 w 3296788"/>
                <a:gd name="connsiteY117" fmla="*/ 1415684 h 1960491"/>
                <a:gd name="connsiteX118" fmla="*/ 866679 w 3296788"/>
                <a:gd name="connsiteY118" fmla="*/ 1361326 h 1960491"/>
                <a:gd name="connsiteX119" fmla="*/ 883514 w 3296788"/>
                <a:gd name="connsiteY119" fmla="*/ 1356634 h 1960491"/>
                <a:gd name="connsiteX120" fmla="*/ 500432 w 3296788"/>
                <a:gd name="connsiteY120" fmla="*/ 1350483 h 1960491"/>
                <a:gd name="connsiteX121" fmla="*/ 516780 w 3296788"/>
                <a:gd name="connsiteY121" fmla="*/ 1354319 h 1960491"/>
                <a:gd name="connsiteX122" fmla="*/ 603316 w 3296788"/>
                <a:gd name="connsiteY122" fmla="*/ 1402631 h 1960491"/>
                <a:gd name="connsiteX123" fmla="*/ 602665 w 3296788"/>
                <a:gd name="connsiteY123" fmla="*/ 1434622 h 1960491"/>
                <a:gd name="connsiteX124" fmla="*/ 510273 w 3296788"/>
                <a:gd name="connsiteY124" fmla="*/ 1489464 h 1960491"/>
                <a:gd name="connsiteX125" fmla="*/ 477090 w 3296788"/>
                <a:gd name="connsiteY125" fmla="*/ 1490116 h 1960491"/>
                <a:gd name="connsiteX126" fmla="*/ 392506 w 3296788"/>
                <a:gd name="connsiteY126" fmla="*/ 1441151 h 1960491"/>
                <a:gd name="connsiteX127" fmla="*/ 392506 w 3296788"/>
                <a:gd name="connsiteY127" fmla="*/ 1409813 h 1960491"/>
                <a:gd name="connsiteX128" fmla="*/ 483597 w 3296788"/>
                <a:gd name="connsiteY128" fmla="*/ 1354972 h 1960491"/>
                <a:gd name="connsiteX129" fmla="*/ 500432 w 3296788"/>
                <a:gd name="connsiteY129" fmla="*/ 1350483 h 1960491"/>
                <a:gd name="connsiteX130" fmla="*/ 1459575 w 3296788"/>
                <a:gd name="connsiteY130" fmla="*/ 1247184 h 1960491"/>
                <a:gd name="connsiteX131" fmla="*/ 1475923 w 3296788"/>
                <a:gd name="connsiteY131" fmla="*/ 1251228 h 1960491"/>
                <a:gd name="connsiteX132" fmla="*/ 1562459 w 3296788"/>
                <a:gd name="connsiteY132" fmla="*/ 1299762 h 1960491"/>
                <a:gd name="connsiteX133" fmla="*/ 1562459 w 3296788"/>
                <a:gd name="connsiteY133" fmla="*/ 1330824 h 1960491"/>
                <a:gd name="connsiteX134" fmla="*/ 1469416 w 3296788"/>
                <a:gd name="connsiteY134" fmla="*/ 1385182 h 1960491"/>
                <a:gd name="connsiteX135" fmla="*/ 1436233 w 3296788"/>
                <a:gd name="connsiteY135" fmla="*/ 1385182 h 1960491"/>
                <a:gd name="connsiteX136" fmla="*/ 1351649 w 3296788"/>
                <a:gd name="connsiteY136" fmla="*/ 1336648 h 1960491"/>
                <a:gd name="connsiteX137" fmla="*/ 1351649 w 3296788"/>
                <a:gd name="connsiteY137" fmla="*/ 1305586 h 1960491"/>
                <a:gd name="connsiteX138" fmla="*/ 1442740 w 3296788"/>
                <a:gd name="connsiteY138" fmla="*/ 1251875 h 1960491"/>
                <a:gd name="connsiteX139" fmla="*/ 1459575 w 3296788"/>
                <a:gd name="connsiteY139" fmla="*/ 1247184 h 1960491"/>
                <a:gd name="connsiteX140" fmla="*/ 307452 w 3296788"/>
                <a:gd name="connsiteY140" fmla="*/ 1241188 h 1960491"/>
                <a:gd name="connsiteX141" fmla="*/ 323800 w 3296788"/>
                <a:gd name="connsiteY141" fmla="*/ 1245494 h 1960491"/>
                <a:gd name="connsiteX142" fmla="*/ 410336 w 3296788"/>
                <a:gd name="connsiteY142" fmla="*/ 1293592 h 1960491"/>
                <a:gd name="connsiteX143" fmla="*/ 410336 w 3296788"/>
                <a:gd name="connsiteY143" fmla="*/ 1325441 h 1960491"/>
                <a:gd name="connsiteX144" fmla="*/ 317293 w 3296788"/>
                <a:gd name="connsiteY144" fmla="*/ 1380040 h 1960491"/>
                <a:gd name="connsiteX145" fmla="*/ 284110 w 3296788"/>
                <a:gd name="connsiteY145" fmla="*/ 1380690 h 1960491"/>
                <a:gd name="connsiteX146" fmla="*/ 199526 w 3296788"/>
                <a:gd name="connsiteY146" fmla="*/ 1331941 h 1960491"/>
                <a:gd name="connsiteX147" fmla="*/ 199526 w 3296788"/>
                <a:gd name="connsiteY147" fmla="*/ 1300742 h 1960491"/>
                <a:gd name="connsiteX148" fmla="*/ 290617 w 3296788"/>
                <a:gd name="connsiteY148" fmla="*/ 1246144 h 1960491"/>
                <a:gd name="connsiteX149" fmla="*/ 307452 w 3296788"/>
                <a:gd name="connsiteY149" fmla="*/ 1241188 h 1960491"/>
                <a:gd name="connsiteX150" fmla="*/ 1076251 w 3296788"/>
                <a:gd name="connsiteY150" fmla="*/ 1241187 h 1960491"/>
                <a:gd name="connsiteX151" fmla="*/ 1092842 w 3296788"/>
                <a:gd name="connsiteY151" fmla="*/ 1245493 h 1960491"/>
                <a:gd name="connsiteX152" fmla="*/ 1179378 w 3296788"/>
                <a:gd name="connsiteY152" fmla="*/ 1293591 h 1960491"/>
                <a:gd name="connsiteX153" fmla="*/ 1178727 w 3296788"/>
                <a:gd name="connsiteY153" fmla="*/ 1325440 h 1960491"/>
                <a:gd name="connsiteX154" fmla="*/ 1086335 w 3296788"/>
                <a:gd name="connsiteY154" fmla="*/ 1380039 h 1960491"/>
                <a:gd name="connsiteX155" fmla="*/ 1053152 w 3296788"/>
                <a:gd name="connsiteY155" fmla="*/ 1380689 h 1960491"/>
                <a:gd name="connsiteX156" fmla="*/ 968568 w 3296788"/>
                <a:gd name="connsiteY156" fmla="*/ 1331940 h 1960491"/>
                <a:gd name="connsiteX157" fmla="*/ 968568 w 3296788"/>
                <a:gd name="connsiteY157" fmla="*/ 1300741 h 1960491"/>
                <a:gd name="connsiteX158" fmla="*/ 1059659 w 3296788"/>
                <a:gd name="connsiteY158" fmla="*/ 1246143 h 1960491"/>
                <a:gd name="connsiteX159" fmla="*/ 1076251 w 3296788"/>
                <a:gd name="connsiteY159" fmla="*/ 1241187 h 1960491"/>
                <a:gd name="connsiteX160" fmla="*/ 693746 w 3296788"/>
                <a:gd name="connsiteY160" fmla="*/ 1238226 h 1960491"/>
                <a:gd name="connsiteX161" fmla="*/ 710138 w 3296788"/>
                <a:gd name="connsiteY161" fmla="*/ 1242614 h 1960491"/>
                <a:gd name="connsiteX162" fmla="*/ 796914 w 3296788"/>
                <a:gd name="connsiteY162" fmla="*/ 1290712 h 1960491"/>
                <a:gd name="connsiteX163" fmla="*/ 796261 w 3296788"/>
                <a:gd name="connsiteY163" fmla="*/ 1321911 h 1960491"/>
                <a:gd name="connsiteX164" fmla="*/ 703614 w 3296788"/>
                <a:gd name="connsiteY164" fmla="*/ 1376509 h 1960491"/>
                <a:gd name="connsiteX165" fmla="*/ 670339 w 3296788"/>
                <a:gd name="connsiteY165" fmla="*/ 1377159 h 1960491"/>
                <a:gd name="connsiteX166" fmla="*/ 584869 w 3296788"/>
                <a:gd name="connsiteY166" fmla="*/ 1328411 h 1960491"/>
                <a:gd name="connsiteX167" fmla="*/ 584869 w 3296788"/>
                <a:gd name="connsiteY167" fmla="*/ 1297212 h 1960491"/>
                <a:gd name="connsiteX168" fmla="*/ 676864 w 3296788"/>
                <a:gd name="connsiteY168" fmla="*/ 1242614 h 1960491"/>
                <a:gd name="connsiteX169" fmla="*/ 693746 w 3296788"/>
                <a:gd name="connsiteY169" fmla="*/ 1238226 h 1960491"/>
                <a:gd name="connsiteX170" fmla="*/ 1649432 w 3296788"/>
                <a:gd name="connsiteY170" fmla="*/ 1134616 h 1960491"/>
                <a:gd name="connsiteX171" fmla="*/ 1666023 w 3296788"/>
                <a:gd name="connsiteY171" fmla="*/ 1138922 h 1960491"/>
                <a:gd name="connsiteX172" fmla="*/ 1752559 w 3296788"/>
                <a:gd name="connsiteY172" fmla="*/ 1187020 h 1960491"/>
                <a:gd name="connsiteX173" fmla="*/ 1751908 w 3296788"/>
                <a:gd name="connsiteY173" fmla="*/ 1218869 h 1960491"/>
                <a:gd name="connsiteX174" fmla="*/ 1659516 w 3296788"/>
                <a:gd name="connsiteY174" fmla="*/ 1273467 h 1960491"/>
                <a:gd name="connsiteX175" fmla="*/ 1625683 w 3296788"/>
                <a:gd name="connsiteY175" fmla="*/ 1274117 h 1960491"/>
                <a:gd name="connsiteX176" fmla="*/ 1541749 w 3296788"/>
                <a:gd name="connsiteY176" fmla="*/ 1225369 h 1960491"/>
                <a:gd name="connsiteX177" fmla="*/ 1541749 w 3296788"/>
                <a:gd name="connsiteY177" fmla="*/ 1194170 h 1960491"/>
                <a:gd name="connsiteX178" fmla="*/ 1632840 w 3296788"/>
                <a:gd name="connsiteY178" fmla="*/ 1139572 h 1960491"/>
                <a:gd name="connsiteX179" fmla="*/ 1649432 w 3296788"/>
                <a:gd name="connsiteY179" fmla="*/ 1134616 h 1960491"/>
                <a:gd name="connsiteX180" fmla="*/ 500431 w 3296788"/>
                <a:gd name="connsiteY180" fmla="*/ 1128774 h 1960491"/>
                <a:gd name="connsiteX181" fmla="*/ 516779 w 3296788"/>
                <a:gd name="connsiteY181" fmla="*/ 1133162 h 1960491"/>
                <a:gd name="connsiteX182" fmla="*/ 603315 w 3296788"/>
                <a:gd name="connsiteY182" fmla="*/ 1181260 h 1960491"/>
                <a:gd name="connsiteX183" fmla="*/ 602664 w 3296788"/>
                <a:gd name="connsiteY183" fmla="*/ 1212459 h 1960491"/>
                <a:gd name="connsiteX184" fmla="*/ 510272 w 3296788"/>
                <a:gd name="connsiteY184" fmla="*/ 1267057 h 1960491"/>
                <a:gd name="connsiteX185" fmla="*/ 477089 w 3296788"/>
                <a:gd name="connsiteY185" fmla="*/ 1267707 h 1960491"/>
                <a:gd name="connsiteX186" fmla="*/ 392505 w 3296788"/>
                <a:gd name="connsiteY186" fmla="*/ 1218959 h 1960491"/>
                <a:gd name="connsiteX187" fmla="*/ 392505 w 3296788"/>
                <a:gd name="connsiteY187" fmla="*/ 1187760 h 1960491"/>
                <a:gd name="connsiteX188" fmla="*/ 483596 w 3296788"/>
                <a:gd name="connsiteY188" fmla="*/ 1133162 h 1960491"/>
                <a:gd name="connsiteX189" fmla="*/ 500431 w 3296788"/>
                <a:gd name="connsiteY189" fmla="*/ 1128774 h 1960491"/>
                <a:gd name="connsiteX190" fmla="*/ 1266682 w 3296788"/>
                <a:gd name="connsiteY190" fmla="*/ 1128773 h 1960491"/>
                <a:gd name="connsiteX191" fmla="*/ 1283319 w 3296788"/>
                <a:gd name="connsiteY191" fmla="*/ 1133161 h 1960491"/>
                <a:gd name="connsiteX192" fmla="*/ 1370095 w 3296788"/>
                <a:gd name="connsiteY192" fmla="*/ 1181259 h 1960491"/>
                <a:gd name="connsiteX193" fmla="*/ 1369442 w 3296788"/>
                <a:gd name="connsiteY193" fmla="*/ 1212458 h 1960491"/>
                <a:gd name="connsiteX194" fmla="*/ 1276795 w 3296788"/>
                <a:gd name="connsiteY194" fmla="*/ 1267056 h 1960491"/>
                <a:gd name="connsiteX195" fmla="*/ 1242868 w 3296788"/>
                <a:gd name="connsiteY195" fmla="*/ 1267706 h 1960491"/>
                <a:gd name="connsiteX196" fmla="*/ 1158050 w 3296788"/>
                <a:gd name="connsiteY196" fmla="*/ 1218958 h 1960491"/>
                <a:gd name="connsiteX197" fmla="*/ 1158050 w 3296788"/>
                <a:gd name="connsiteY197" fmla="*/ 1187759 h 1960491"/>
                <a:gd name="connsiteX198" fmla="*/ 1250045 w 3296788"/>
                <a:gd name="connsiteY198" fmla="*/ 1133161 h 1960491"/>
                <a:gd name="connsiteX199" fmla="*/ 1266682 w 3296788"/>
                <a:gd name="connsiteY199" fmla="*/ 1128773 h 1960491"/>
                <a:gd name="connsiteX200" fmla="*/ 883513 w 3296788"/>
                <a:gd name="connsiteY200" fmla="*/ 1125894 h 1960491"/>
                <a:gd name="connsiteX201" fmla="*/ 899861 w 3296788"/>
                <a:gd name="connsiteY201" fmla="*/ 1129632 h 1960491"/>
                <a:gd name="connsiteX202" fmla="*/ 986397 w 3296788"/>
                <a:gd name="connsiteY202" fmla="*/ 1178380 h 1960491"/>
                <a:gd name="connsiteX203" fmla="*/ 986397 w 3296788"/>
                <a:gd name="connsiteY203" fmla="*/ 1210229 h 1960491"/>
                <a:gd name="connsiteX204" fmla="*/ 893354 w 3296788"/>
                <a:gd name="connsiteY204" fmla="*/ 1264828 h 1960491"/>
                <a:gd name="connsiteX205" fmla="*/ 860171 w 3296788"/>
                <a:gd name="connsiteY205" fmla="*/ 1264828 h 1960491"/>
                <a:gd name="connsiteX206" fmla="*/ 775587 w 3296788"/>
                <a:gd name="connsiteY206" fmla="*/ 1216729 h 1960491"/>
                <a:gd name="connsiteX207" fmla="*/ 775587 w 3296788"/>
                <a:gd name="connsiteY207" fmla="*/ 1184880 h 1960491"/>
                <a:gd name="connsiteX208" fmla="*/ 866678 w 3296788"/>
                <a:gd name="connsiteY208" fmla="*/ 1130932 h 1960491"/>
                <a:gd name="connsiteX209" fmla="*/ 883513 w 3296788"/>
                <a:gd name="connsiteY209" fmla="*/ 1125894 h 1960491"/>
                <a:gd name="connsiteX210" fmla="*/ 1842422 w 3296788"/>
                <a:gd name="connsiteY210" fmla="*/ 1022122 h 1960491"/>
                <a:gd name="connsiteX211" fmla="*/ 1859105 w 3296788"/>
                <a:gd name="connsiteY211" fmla="*/ 1025940 h 1960491"/>
                <a:gd name="connsiteX212" fmla="*/ 1946120 w 3296788"/>
                <a:gd name="connsiteY212" fmla="*/ 1074039 h 1960491"/>
                <a:gd name="connsiteX213" fmla="*/ 1945466 w 3296788"/>
                <a:gd name="connsiteY213" fmla="*/ 1105888 h 1960491"/>
                <a:gd name="connsiteX214" fmla="*/ 1852562 w 3296788"/>
                <a:gd name="connsiteY214" fmla="*/ 1160486 h 1960491"/>
                <a:gd name="connsiteX215" fmla="*/ 1818541 w 3296788"/>
                <a:gd name="connsiteY215" fmla="*/ 1161136 h 1960491"/>
                <a:gd name="connsiteX216" fmla="*/ 1734143 w 3296788"/>
                <a:gd name="connsiteY216" fmla="*/ 1112388 h 1960491"/>
                <a:gd name="connsiteX217" fmla="*/ 1734143 w 3296788"/>
                <a:gd name="connsiteY217" fmla="*/ 1081189 h 1960491"/>
                <a:gd name="connsiteX218" fmla="*/ 1825738 w 3296788"/>
                <a:gd name="connsiteY218" fmla="*/ 1026590 h 1960491"/>
                <a:gd name="connsiteX219" fmla="*/ 1842422 w 3296788"/>
                <a:gd name="connsiteY219" fmla="*/ 1022122 h 1960491"/>
                <a:gd name="connsiteX220" fmla="*/ 693745 w 3296788"/>
                <a:gd name="connsiteY220" fmla="*/ 1016760 h 1960491"/>
                <a:gd name="connsiteX221" fmla="*/ 710137 w 3296788"/>
                <a:gd name="connsiteY221" fmla="*/ 1020805 h 1960491"/>
                <a:gd name="connsiteX222" fmla="*/ 796913 w 3296788"/>
                <a:gd name="connsiteY222" fmla="*/ 1069339 h 1960491"/>
                <a:gd name="connsiteX223" fmla="*/ 796260 w 3296788"/>
                <a:gd name="connsiteY223" fmla="*/ 1101048 h 1960491"/>
                <a:gd name="connsiteX224" fmla="*/ 703613 w 3296788"/>
                <a:gd name="connsiteY224" fmla="*/ 1154758 h 1960491"/>
                <a:gd name="connsiteX225" fmla="*/ 670338 w 3296788"/>
                <a:gd name="connsiteY225" fmla="*/ 1155406 h 1960491"/>
                <a:gd name="connsiteX226" fmla="*/ 584868 w 3296788"/>
                <a:gd name="connsiteY226" fmla="*/ 1107519 h 1960491"/>
                <a:gd name="connsiteX227" fmla="*/ 584868 w 3296788"/>
                <a:gd name="connsiteY227" fmla="*/ 1075810 h 1960491"/>
                <a:gd name="connsiteX228" fmla="*/ 676863 w 3296788"/>
                <a:gd name="connsiteY228" fmla="*/ 1021452 h 1960491"/>
                <a:gd name="connsiteX229" fmla="*/ 693745 w 3296788"/>
                <a:gd name="connsiteY229" fmla="*/ 1016760 h 1960491"/>
                <a:gd name="connsiteX230" fmla="*/ 1459575 w 3296788"/>
                <a:gd name="connsiteY230" fmla="*/ 1016759 h 1960491"/>
                <a:gd name="connsiteX231" fmla="*/ 1475923 w 3296788"/>
                <a:gd name="connsiteY231" fmla="*/ 1020804 h 1960491"/>
                <a:gd name="connsiteX232" fmla="*/ 1562459 w 3296788"/>
                <a:gd name="connsiteY232" fmla="*/ 1069338 h 1960491"/>
                <a:gd name="connsiteX233" fmla="*/ 1562459 w 3296788"/>
                <a:gd name="connsiteY233" fmla="*/ 1101047 h 1960491"/>
                <a:gd name="connsiteX234" fmla="*/ 1469416 w 3296788"/>
                <a:gd name="connsiteY234" fmla="*/ 1154757 h 1960491"/>
                <a:gd name="connsiteX235" fmla="*/ 1436233 w 3296788"/>
                <a:gd name="connsiteY235" fmla="*/ 1155405 h 1960491"/>
                <a:gd name="connsiteX236" fmla="*/ 1351649 w 3296788"/>
                <a:gd name="connsiteY236" fmla="*/ 1107518 h 1960491"/>
                <a:gd name="connsiteX237" fmla="*/ 1351649 w 3296788"/>
                <a:gd name="connsiteY237" fmla="*/ 1075809 h 1960491"/>
                <a:gd name="connsiteX238" fmla="*/ 1442740 w 3296788"/>
                <a:gd name="connsiteY238" fmla="*/ 1021451 h 1960491"/>
                <a:gd name="connsiteX239" fmla="*/ 1459575 w 3296788"/>
                <a:gd name="connsiteY239" fmla="*/ 1016759 h 1960491"/>
                <a:gd name="connsiteX240" fmla="*/ 1076249 w 3296788"/>
                <a:gd name="connsiteY240" fmla="*/ 1011007 h 1960491"/>
                <a:gd name="connsiteX241" fmla="*/ 1092841 w 3296788"/>
                <a:gd name="connsiteY241" fmla="*/ 1015070 h 1960491"/>
                <a:gd name="connsiteX242" fmla="*/ 1179377 w 3296788"/>
                <a:gd name="connsiteY242" fmla="*/ 1063168 h 1960491"/>
                <a:gd name="connsiteX243" fmla="*/ 1178726 w 3296788"/>
                <a:gd name="connsiteY243" fmla="*/ 1095017 h 1960491"/>
                <a:gd name="connsiteX244" fmla="*/ 1086334 w 3296788"/>
                <a:gd name="connsiteY244" fmla="*/ 1148966 h 1960491"/>
                <a:gd name="connsiteX245" fmla="*/ 1053151 w 3296788"/>
                <a:gd name="connsiteY245" fmla="*/ 1149616 h 1960491"/>
                <a:gd name="connsiteX246" fmla="*/ 968567 w 3296788"/>
                <a:gd name="connsiteY246" fmla="*/ 1101517 h 1960491"/>
                <a:gd name="connsiteX247" fmla="*/ 968567 w 3296788"/>
                <a:gd name="connsiteY247" fmla="*/ 1069668 h 1960491"/>
                <a:gd name="connsiteX248" fmla="*/ 1059658 w 3296788"/>
                <a:gd name="connsiteY248" fmla="*/ 1015720 h 1960491"/>
                <a:gd name="connsiteX249" fmla="*/ 1076249 w 3296788"/>
                <a:gd name="connsiteY249" fmla="*/ 1011007 h 1960491"/>
                <a:gd name="connsiteX250" fmla="*/ 2450028 w 3296788"/>
                <a:gd name="connsiteY250" fmla="*/ 912842 h 1960491"/>
                <a:gd name="connsiteX251" fmla="*/ 2466428 w 3296788"/>
                <a:gd name="connsiteY251" fmla="*/ 917178 h 1960491"/>
                <a:gd name="connsiteX252" fmla="*/ 2553241 w 3296788"/>
                <a:gd name="connsiteY252" fmla="*/ 965601 h 1960491"/>
                <a:gd name="connsiteX253" fmla="*/ 2552588 w 3296788"/>
                <a:gd name="connsiteY253" fmla="*/ 997666 h 1960491"/>
                <a:gd name="connsiteX254" fmla="*/ 1475592 w 3296788"/>
                <a:gd name="connsiteY254" fmla="*/ 1621286 h 1960491"/>
                <a:gd name="connsiteX255" fmla="*/ 1442303 w 3296788"/>
                <a:gd name="connsiteY255" fmla="*/ 1621940 h 1960491"/>
                <a:gd name="connsiteX256" fmla="*/ 1357449 w 3296788"/>
                <a:gd name="connsiteY256" fmla="*/ 1573517 h 1960491"/>
                <a:gd name="connsiteX257" fmla="*/ 1357449 w 3296788"/>
                <a:gd name="connsiteY257" fmla="*/ 1541452 h 1960491"/>
                <a:gd name="connsiteX258" fmla="*/ 2433139 w 3296788"/>
                <a:gd name="connsiteY258" fmla="*/ 917832 h 1960491"/>
                <a:gd name="connsiteX259" fmla="*/ 2450028 w 3296788"/>
                <a:gd name="connsiteY259" fmla="*/ 912842 h 1960491"/>
                <a:gd name="connsiteX260" fmla="*/ 2032754 w 3296788"/>
                <a:gd name="connsiteY260" fmla="*/ 907308 h 1960491"/>
                <a:gd name="connsiteX261" fmla="*/ 2049102 w 3296788"/>
                <a:gd name="connsiteY261" fmla="*/ 911352 h 1960491"/>
                <a:gd name="connsiteX262" fmla="*/ 2135638 w 3296788"/>
                <a:gd name="connsiteY262" fmla="*/ 959886 h 1960491"/>
                <a:gd name="connsiteX263" fmla="*/ 2135638 w 3296788"/>
                <a:gd name="connsiteY263" fmla="*/ 991595 h 1960491"/>
                <a:gd name="connsiteX264" fmla="*/ 2042595 w 3296788"/>
                <a:gd name="connsiteY264" fmla="*/ 1045306 h 1960491"/>
                <a:gd name="connsiteX265" fmla="*/ 2009412 w 3296788"/>
                <a:gd name="connsiteY265" fmla="*/ 1045953 h 1960491"/>
                <a:gd name="connsiteX266" fmla="*/ 1924828 w 3296788"/>
                <a:gd name="connsiteY266" fmla="*/ 998066 h 1960491"/>
                <a:gd name="connsiteX267" fmla="*/ 1924828 w 3296788"/>
                <a:gd name="connsiteY267" fmla="*/ 966357 h 1960491"/>
                <a:gd name="connsiteX268" fmla="*/ 2015919 w 3296788"/>
                <a:gd name="connsiteY268" fmla="*/ 911999 h 1960491"/>
                <a:gd name="connsiteX269" fmla="*/ 2032754 w 3296788"/>
                <a:gd name="connsiteY269" fmla="*/ 907308 h 1960491"/>
                <a:gd name="connsiteX270" fmla="*/ 883512 w 3296788"/>
                <a:gd name="connsiteY270" fmla="*/ 904111 h 1960491"/>
                <a:gd name="connsiteX271" fmla="*/ 899860 w 3296788"/>
                <a:gd name="connsiteY271" fmla="*/ 907849 h 1960491"/>
                <a:gd name="connsiteX272" fmla="*/ 986396 w 3296788"/>
                <a:gd name="connsiteY272" fmla="*/ 956597 h 1960491"/>
                <a:gd name="connsiteX273" fmla="*/ 986396 w 3296788"/>
                <a:gd name="connsiteY273" fmla="*/ 987796 h 1960491"/>
                <a:gd name="connsiteX274" fmla="*/ 893353 w 3296788"/>
                <a:gd name="connsiteY274" fmla="*/ 1042394 h 1960491"/>
                <a:gd name="connsiteX275" fmla="*/ 860170 w 3296788"/>
                <a:gd name="connsiteY275" fmla="*/ 1043044 h 1960491"/>
                <a:gd name="connsiteX276" fmla="*/ 775586 w 3296788"/>
                <a:gd name="connsiteY276" fmla="*/ 994946 h 1960491"/>
                <a:gd name="connsiteX277" fmla="*/ 775586 w 3296788"/>
                <a:gd name="connsiteY277" fmla="*/ 963097 h 1960491"/>
                <a:gd name="connsiteX278" fmla="*/ 866677 w 3296788"/>
                <a:gd name="connsiteY278" fmla="*/ 909149 h 1960491"/>
                <a:gd name="connsiteX279" fmla="*/ 883512 w 3296788"/>
                <a:gd name="connsiteY279" fmla="*/ 904111 h 1960491"/>
                <a:gd name="connsiteX280" fmla="*/ 1649432 w 3296788"/>
                <a:gd name="connsiteY280" fmla="*/ 904110 h 1960491"/>
                <a:gd name="connsiteX281" fmla="*/ 1666023 w 3296788"/>
                <a:gd name="connsiteY281" fmla="*/ 907848 h 1960491"/>
                <a:gd name="connsiteX282" fmla="*/ 1752559 w 3296788"/>
                <a:gd name="connsiteY282" fmla="*/ 956596 h 1960491"/>
                <a:gd name="connsiteX283" fmla="*/ 1751908 w 3296788"/>
                <a:gd name="connsiteY283" fmla="*/ 987795 h 1960491"/>
                <a:gd name="connsiteX284" fmla="*/ 1659516 w 3296788"/>
                <a:gd name="connsiteY284" fmla="*/ 1042393 h 1960491"/>
                <a:gd name="connsiteX285" fmla="*/ 1625683 w 3296788"/>
                <a:gd name="connsiteY285" fmla="*/ 1043043 h 1960491"/>
                <a:gd name="connsiteX286" fmla="*/ 1541749 w 3296788"/>
                <a:gd name="connsiteY286" fmla="*/ 994945 h 1960491"/>
                <a:gd name="connsiteX287" fmla="*/ 1541749 w 3296788"/>
                <a:gd name="connsiteY287" fmla="*/ 963096 h 1960491"/>
                <a:gd name="connsiteX288" fmla="*/ 1632840 w 3296788"/>
                <a:gd name="connsiteY288" fmla="*/ 909148 h 1960491"/>
                <a:gd name="connsiteX289" fmla="*/ 1649432 w 3296788"/>
                <a:gd name="connsiteY289" fmla="*/ 904110 h 1960491"/>
                <a:gd name="connsiteX290" fmla="*/ 1266681 w 3296788"/>
                <a:gd name="connsiteY290" fmla="*/ 898432 h 1960491"/>
                <a:gd name="connsiteX291" fmla="*/ 1283318 w 3296788"/>
                <a:gd name="connsiteY291" fmla="*/ 902738 h 1960491"/>
                <a:gd name="connsiteX292" fmla="*/ 1370094 w 3296788"/>
                <a:gd name="connsiteY292" fmla="*/ 950836 h 1960491"/>
                <a:gd name="connsiteX293" fmla="*/ 1369441 w 3296788"/>
                <a:gd name="connsiteY293" fmla="*/ 982685 h 1960491"/>
                <a:gd name="connsiteX294" fmla="*/ 1276794 w 3296788"/>
                <a:gd name="connsiteY294" fmla="*/ 1037283 h 1960491"/>
                <a:gd name="connsiteX295" fmla="*/ 1242867 w 3296788"/>
                <a:gd name="connsiteY295" fmla="*/ 1037283 h 1960491"/>
                <a:gd name="connsiteX296" fmla="*/ 1158049 w 3296788"/>
                <a:gd name="connsiteY296" fmla="*/ 989185 h 1960491"/>
                <a:gd name="connsiteX297" fmla="*/ 1158049 w 3296788"/>
                <a:gd name="connsiteY297" fmla="*/ 957986 h 1960491"/>
                <a:gd name="connsiteX298" fmla="*/ 1250044 w 3296788"/>
                <a:gd name="connsiteY298" fmla="*/ 903388 h 1960491"/>
                <a:gd name="connsiteX299" fmla="*/ 1266681 w 3296788"/>
                <a:gd name="connsiteY299" fmla="*/ 898432 h 1960491"/>
                <a:gd name="connsiteX300" fmla="*/ 2608815 w 3296788"/>
                <a:gd name="connsiteY300" fmla="*/ 800737 h 1960491"/>
                <a:gd name="connsiteX301" fmla="*/ 2625163 w 3296788"/>
                <a:gd name="connsiteY301" fmla="*/ 804781 h 1960491"/>
                <a:gd name="connsiteX302" fmla="*/ 2711699 w 3296788"/>
                <a:gd name="connsiteY302" fmla="*/ 853315 h 1960491"/>
                <a:gd name="connsiteX303" fmla="*/ 2711699 w 3296788"/>
                <a:gd name="connsiteY303" fmla="*/ 885023 h 1960491"/>
                <a:gd name="connsiteX304" fmla="*/ 2618656 w 3296788"/>
                <a:gd name="connsiteY304" fmla="*/ 938734 h 1960491"/>
                <a:gd name="connsiteX305" fmla="*/ 2585473 w 3296788"/>
                <a:gd name="connsiteY305" fmla="*/ 939381 h 1960491"/>
                <a:gd name="connsiteX306" fmla="*/ 2500889 w 3296788"/>
                <a:gd name="connsiteY306" fmla="*/ 891495 h 1960491"/>
                <a:gd name="connsiteX307" fmla="*/ 2500889 w 3296788"/>
                <a:gd name="connsiteY307" fmla="*/ 859786 h 1960491"/>
                <a:gd name="connsiteX308" fmla="*/ 2591980 w 3296788"/>
                <a:gd name="connsiteY308" fmla="*/ 805428 h 1960491"/>
                <a:gd name="connsiteX309" fmla="*/ 2608815 w 3296788"/>
                <a:gd name="connsiteY309" fmla="*/ 800737 h 1960491"/>
                <a:gd name="connsiteX310" fmla="*/ 2225492 w 3296788"/>
                <a:gd name="connsiteY310" fmla="*/ 794740 h 1960491"/>
                <a:gd name="connsiteX311" fmla="*/ 2242083 w 3296788"/>
                <a:gd name="connsiteY311" fmla="*/ 799046 h 1960491"/>
                <a:gd name="connsiteX312" fmla="*/ 2328619 w 3296788"/>
                <a:gd name="connsiteY312" fmla="*/ 847144 h 1960491"/>
                <a:gd name="connsiteX313" fmla="*/ 2327968 w 3296788"/>
                <a:gd name="connsiteY313" fmla="*/ 878343 h 1960491"/>
                <a:gd name="connsiteX314" fmla="*/ 2235576 w 3296788"/>
                <a:gd name="connsiteY314" fmla="*/ 932941 h 1960491"/>
                <a:gd name="connsiteX315" fmla="*/ 2201743 w 3296788"/>
                <a:gd name="connsiteY315" fmla="*/ 933591 h 1960491"/>
                <a:gd name="connsiteX316" fmla="*/ 2117809 w 3296788"/>
                <a:gd name="connsiteY316" fmla="*/ 885493 h 1960491"/>
                <a:gd name="connsiteX317" fmla="*/ 2117809 w 3296788"/>
                <a:gd name="connsiteY317" fmla="*/ 853644 h 1960491"/>
                <a:gd name="connsiteX318" fmla="*/ 2208900 w 3296788"/>
                <a:gd name="connsiteY318" fmla="*/ 799696 h 1960491"/>
                <a:gd name="connsiteX319" fmla="*/ 2225492 w 3296788"/>
                <a:gd name="connsiteY319" fmla="*/ 794740 h 1960491"/>
                <a:gd name="connsiteX320" fmla="*/ 1076248 w 3296788"/>
                <a:gd name="connsiteY320" fmla="*/ 791861 h 1960491"/>
                <a:gd name="connsiteX321" fmla="*/ 1092840 w 3296788"/>
                <a:gd name="connsiteY321" fmla="*/ 796167 h 1960491"/>
                <a:gd name="connsiteX322" fmla="*/ 1179376 w 3296788"/>
                <a:gd name="connsiteY322" fmla="*/ 844265 h 1960491"/>
                <a:gd name="connsiteX323" fmla="*/ 1178725 w 3296788"/>
                <a:gd name="connsiteY323" fmla="*/ 876114 h 1960491"/>
                <a:gd name="connsiteX324" fmla="*/ 1086333 w 3296788"/>
                <a:gd name="connsiteY324" fmla="*/ 930713 h 1960491"/>
                <a:gd name="connsiteX325" fmla="*/ 1053150 w 3296788"/>
                <a:gd name="connsiteY325" fmla="*/ 930713 h 1960491"/>
                <a:gd name="connsiteX326" fmla="*/ 968566 w 3296788"/>
                <a:gd name="connsiteY326" fmla="*/ 882614 h 1960491"/>
                <a:gd name="connsiteX327" fmla="*/ 968566 w 3296788"/>
                <a:gd name="connsiteY327" fmla="*/ 851415 h 1960491"/>
                <a:gd name="connsiteX328" fmla="*/ 1059657 w 3296788"/>
                <a:gd name="connsiteY328" fmla="*/ 796817 h 1960491"/>
                <a:gd name="connsiteX329" fmla="*/ 1076248 w 3296788"/>
                <a:gd name="connsiteY329" fmla="*/ 791861 h 1960491"/>
                <a:gd name="connsiteX330" fmla="*/ 1842422 w 3296788"/>
                <a:gd name="connsiteY330" fmla="*/ 791860 h 1960491"/>
                <a:gd name="connsiteX331" fmla="*/ 1859105 w 3296788"/>
                <a:gd name="connsiteY331" fmla="*/ 796166 h 1960491"/>
                <a:gd name="connsiteX332" fmla="*/ 1946120 w 3296788"/>
                <a:gd name="connsiteY332" fmla="*/ 844264 h 1960491"/>
                <a:gd name="connsiteX333" fmla="*/ 1945466 w 3296788"/>
                <a:gd name="connsiteY333" fmla="*/ 876113 h 1960491"/>
                <a:gd name="connsiteX334" fmla="*/ 1852562 w 3296788"/>
                <a:gd name="connsiteY334" fmla="*/ 930712 h 1960491"/>
                <a:gd name="connsiteX335" fmla="*/ 1818541 w 3296788"/>
                <a:gd name="connsiteY335" fmla="*/ 930712 h 1960491"/>
                <a:gd name="connsiteX336" fmla="*/ 1734143 w 3296788"/>
                <a:gd name="connsiteY336" fmla="*/ 882613 h 1960491"/>
                <a:gd name="connsiteX337" fmla="*/ 1734143 w 3296788"/>
                <a:gd name="connsiteY337" fmla="*/ 851414 h 1960491"/>
                <a:gd name="connsiteX338" fmla="*/ 1825738 w 3296788"/>
                <a:gd name="connsiteY338" fmla="*/ 796816 h 1960491"/>
                <a:gd name="connsiteX339" fmla="*/ 1842422 w 3296788"/>
                <a:gd name="connsiteY339" fmla="*/ 791860 h 1960491"/>
                <a:gd name="connsiteX340" fmla="*/ 1459574 w 3296788"/>
                <a:gd name="connsiteY340" fmla="*/ 785938 h 1960491"/>
                <a:gd name="connsiteX341" fmla="*/ 1475922 w 3296788"/>
                <a:gd name="connsiteY341" fmla="*/ 789757 h 1960491"/>
                <a:gd name="connsiteX342" fmla="*/ 1562458 w 3296788"/>
                <a:gd name="connsiteY342" fmla="*/ 837855 h 1960491"/>
                <a:gd name="connsiteX343" fmla="*/ 1562458 w 3296788"/>
                <a:gd name="connsiteY343" fmla="*/ 869704 h 1960491"/>
                <a:gd name="connsiteX344" fmla="*/ 1469415 w 3296788"/>
                <a:gd name="connsiteY344" fmla="*/ 924303 h 1960491"/>
                <a:gd name="connsiteX345" fmla="*/ 1436232 w 3296788"/>
                <a:gd name="connsiteY345" fmla="*/ 924953 h 1960491"/>
                <a:gd name="connsiteX346" fmla="*/ 1351648 w 3296788"/>
                <a:gd name="connsiteY346" fmla="*/ 876204 h 1960491"/>
                <a:gd name="connsiteX347" fmla="*/ 1351648 w 3296788"/>
                <a:gd name="connsiteY347" fmla="*/ 845005 h 1960491"/>
                <a:gd name="connsiteX348" fmla="*/ 1442739 w 3296788"/>
                <a:gd name="connsiteY348" fmla="*/ 790407 h 1960491"/>
                <a:gd name="connsiteX349" fmla="*/ 1459574 w 3296788"/>
                <a:gd name="connsiteY349" fmla="*/ 785938 h 1960491"/>
                <a:gd name="connsiteX350" fmla="*/ 2801553 w 3296788"/>
                <a:gd name="connsiteY350" fmla="*/ 688169 h 1960491"/>
                <a:gd name="connsiteX351" fmla="*/ 2818144 w 3296788"/>
                <a:gd name="connsiteY351" fmla="*/ 692475 h 1960491"/>
                <a:gd name="connsiteX352" fmla="*/ 2904680 w 3296788"/>
                <a:gd name="connsiteY352" fmla="*/ 740574 h 1960491"/>
                <a:gd name="connsiteX353" fmla="*/ 2904029 w 3296788"/>
                <a:gd name="connsiteY353" fmla="*/ 771773 h 1960491"/>
                <a:gd name="connsiteX354" fmla="*/ 2811637 w 3296788"/>
                <a:gd name="connsiteY354" fmla="*/ 826371 h 1960491"/>
                <a:gd name="connsiteX355" fmla="*/ 2777804 w 3296788"/>
                <a:gd name="connsiteY355" fmla="*/ 827021 h 1960491"/>
                <a:gd name="connsiteX356" fmla="*/ 2693870 w 3296788"/>
                <a:gd name="connsiteY356" fmla="*/ 778273 h 1960491"/>
                <a:gd name="connsiteX357" fmla="*/ 2693870 w 3296788"/>
                <a:gd name="connsiteY357" fmla="*/ 747074 h 1960491"/>
                <a:gd name="connsiteX358" fmla="*/ 2784961 w 3296788"/>
                <a:gd name="connsiteY358" fmla="*/ 693125 h 1960491"/>
                <a:gd name="connsiteX359" fmla="*/ 2801553 w 3296788"/>
                <a:gd name="connsiteY359" fmla="*/ 688169 h 1960491"/>
                <a:gd name="connsiteX360" fmla="*/ 2418803 w 3296788"/>
                <a:gd name="connsiteY360" fmla="*/ 682409 h 1960491"/>
                <a:gd name="connsiteX361" fmla="*/ 2435440 w 3296788"/>
                <a:gd name="connsiteY361" fmla="*/ 686715 h 1960491"/>
                <a:gd name="connsiteX362" fmla="*/ 2522216 w 3296788"/>
                <a:gd name="connsiteY362" fmla="*/ 734814 h 1960491"/>
                <a:gd name="connsiteX363" fmla="*/ 2521563 w 3296788"/>
                <a:gd name="connsiteY363" fmla="*/ 766663 h 1960491"/>
                <a:gd name="connsiteX364" fmla="*/ 2428916 w 3296788"/>
                <a:gd name="connsiteY364" fmla="*/ 821261 h 1960491"/>
                <a:gd name="connsiteX365" fmla="*/ 2394989 w 3296788"/>
                <a:gd name="connsiteY365" fmla="*/ 821261 h 1960491"/>
                <a:gd name="connsiteX366" fmla="*/ 2310171 w 3296788"/>
                <a:gd name="connsiteY366" fmla="*/ 773163 h 1960491"/>
                <a:gd name="connsiteX367" fmla="*/ 2310171 w 3296788"/>
                <a:gd name="connsiteY367" fmla="*/ 741314 h 1960491"/>
                <a:gd name="connsiteX368" fmla="*/ 2402166 w 3296788"/>
                <a:gd name="connsiteY368" fmla="*/ 687365 h 1960491"/>
                <a:gd name="connsiteX369" fmla="*/ 2418803 w 3296788"/>
                <a:gd name="connsiteY369" fmla="*/ 682409 h 1960491"/>
                <a:gd name="connsiteX370" fmla="*/ 1266680 w 3296788"/>
                <a:gd name="connsiteY370" fmla="*/ 676649 h 1960491"/>
                <a:gd name="connsiteX371" fmla="*/ 1283317 w 3296788"/>
                <a:gd name="connsiteY371" fmla="*/ 680955 h 1960491"/>
                <a:gd name="connsiteX372" fmla="*/ 1370093 w 3296788"/>
                <a:gd name="connsiteY372" fmla="*/ 729053 h 1960491"/>
                <a:gd name="connsiteX373" fmla="*/ 1369440 w 3296788"/>
                <a:gd name="connsiteY373" fmla="*/ 760902 h 1960491"/>
                <a:gd name="connsiteX374" fmla="*/ 1276793 w 3296788"/>
                <a:gd name="connsiteY374" fmla="*/ 815501 h 1960491"/>
                <a:gd name="connsiteX375" fmla="*/ 1242866 w 3296788"/>
                <a:gd name="connsiteY375" fmla="*/ 816151 h 1960491"/>
                <a:gd name="connsiteX376" fmla="*/ 1158048 w 3296788"/>
                <a:gd name="connsiteY376" fmla="*/ 767402 h 1960491"/>
                <a:gd name="connsiteX377" fmla="*/ 1158048 w 3296788"/>
                <a:gd name="connsiteY377" fmla="*/ 736203 h 1960491"/>
                <a:gd name="connsiteX378" fmla="*/ 1250043 w 3296788"/>
                <a:gd name="connsiteY378" fmla="*/ 681605 h 1960491"/>
                <a:gd name="connsiteX379" fmla="*/ 1266680 w 3296788"/>
                <a:gd name="connsiteY379" fmla="*/ 676649 h 1960491"/>
                <a:gd name="connsiteX380" fmla="*/ 2032754 w 3296788"/>
                <a:gd name="connsiteY380" fmla="*/ 676648 h 1960491"/>
                <a:gd name="connsiteX381" fmla="*/ 2049102 w 3296788"/>
                <a:gd name="connsiteY381" fmla="*/ 680954 h 1960491"/>
                <a:gd name="connsiteX382" fmla="*/ 2135638 w 3296788"/>
                <a:gd name="connsiteY382" fmla="*/ 729052 h 1960491"/>
                <a:gd name="connsiteX383" fmla="*/ 2135638 w 3296788"/>
                <a:gd name="connsiteY383" fmla="*/ 760901 h 1960491"/>
                <a:gd name="connsiteX384" fmla="*/ 2042595 w 3296788"/>
                <a:gd name="connsiteY384" fmla="*/ 815500 h 1960491"/>
                <a:gd name="connsiteX385" fmla="*/ 2009412 w 3296788"/>
                <a:gd name="connsiteY385" fmla="*/ 816150 h 1960491"/>
                <a:gd name="connsiteX386" fmla="*/ 1924828 w 3296788"/>
                <a:gd name="connsiteY386" fmla="*/ 767401 h 1960491"/>
                <a:gd name="connsiteX387" fmla="*/ 1924828 w 3296788"/>
                <a:gd name="connsiteY387" fmla="*/ 736202 h 1960491"/>
                <a:gd name="connsiteX388" fmla="*/ 2015919 w 3296788"/>
                <a:gd name="connsiteY388" fmla="*/ 681604 h 1960491"/>
                <a:gd name="connsiteX389" fmla="*/ 2032754 w 3296788"/>
                <a:gd name="connsiteY389" fmla="*/ 676648 h 1960491"/>
                <a:gd name="connsiteX390" fmla="*/ 1649431 w 3296788"/>
                <a:gd name="connsiteY390" fmla="*/ 674084 h 1960491"/>
                <a:gd name="connsiteX391" fmla="*/ 1666022 w 3296788"/>
                <a:gd name="connsiteY391" fmla="*/ 678695 h 1960491"/>
                <a:gd name="connsiteX392" fmla="*/ 1752558 w 3296788"/>
                <a:gd name="connsiteY392" fmla="*/ 726581 h 1960491"/>
                <a:gd name="connsiteX393" fmla="*/ 1751907 w 3296788"/>
                <a:gd name="connsiteY393" fmla="*/ 757643 h 1960491"/>
                <a:gd name="connsiteX394" fmla="*/ 1659515 w 3296788"/>
                <a:gd name="connsiteY394" fmla="*/ 812000 h 1960491"/>
                <a:gd name="connsiteX395" fmla="*/ 1625682 w 3296788"/>
                <a:gd name="connsiteY395" fmla="*/ 812648 h 1960491"/>
                <a:gd name="connsiteX396" fmla="*/ 1541748 w 3296788"/>
                <a:gd name="connsiteY396" fmla="*/ 764114 h 1960491"/>
                <a:gd name="connsiteX397" fmla="*/ 1541748 w 3296788"/>
                <a:gd name="connsiteY397" fmla="*/ 733053 h 1960491"/>
                <a:gd name="connsiteX398" fmla="*/ 1632839 w 3296788"/>
                <a:gd name="connsiteY398" fmla="*/ 678695 h 1960491"/>
                <a:gd name="connsiteX399" fmla="*/ 1649431 w 3296788"/>
                <a:gd name="connsiteY399" fmla="*/ 674084 h 1960491"/>
                <a:gd name="connsiteX400" fmla="*/ 2991739 w 3296788"/>
                <a:gd name="connsiteY400" fmla="*/ 575837 h 1960491"/>
                <a:gd name="connsiteX401" fmla="*/ 3008621 w 3296788"/>
                <a:gd name="connsiteY401" fmla="*/ 580143 h 1960491"/>
                <a:gd name="connsiteX402" fmla="*/ 3095397 w 3296788"/>
                <a:gd name="connsiteY402" fmla="*/ 628241 h 1960491"/>
                <a:gd name="connsiteX403" fmla="*/ 3094744 w 3296788"/>
                <a:gd name="connsiteY403" fmla="*/ 660090 h 1960491"/>
                <a:gd name="connsiteX404" fmla="*/ 3002097 w 3296788"/>
                <a:gd name="connsiteY404" fmla="*/ 714688 h 1960491"/>
                <a:gd name="connsiteX405" fmla="*/ 2968170 w 3296788"/>
                <a:gd name="connsiteY405" fmla="*/ 714688 h 1960491"/>
                <a:gd name="connsiteX406" fmla="*/ 2883352 w 3296788"/>
                <a:gd name="connsiteY406" fmla="*/ 666590 h 1960491"/>
                <a:gd name="connsiteX407" fmla="*/ 2883352 w 3296788"/>
                <a:gd name="connsiteY407" fmla="*/ 634741 h 1960491"/>
                <a:gd name="connsiteX408" fmla="*/ 2975347 w 3296788"/>
                <a:gd name="connsiteY408" fmla="*/ 580793 h 1960491"/>
                <a:gd name="connsiteX409" fmla="*/ 2991739 w 3296788"/>
                <a:gd name="connsiteY409" fmla="*/ 575837 h 1960491"/>
                <a:gd name="connsiteX410" fmla="*/ 2608815 w 3296788"/>
                <a:gd name="connsiteY410" fmla="*/ 570076 h 1960491"/>
                <a:gd name="connsiteX411" fmla="*/ 2625163 w 3296788"/>
                <a:gd name="connsiteY411" fmla="*/ 574382 h 1960491"/>
                <a:gd name="connsiteX412" fmla="*/ 2711699 w 3296788"/>
                <a:gd name="connsiteY412" fmla="*/ 622480 h 1960491"/>
                <a:gd name="connsiteX413" fmla="*/ 2711699 w 3296788"/>
                <a:gd name="connsiteY413" fmla="*/ 654329 h 1960491"/>
                <a:gd name="connsiteX414" fmla="*/ 2618656 w 3296788"/>
                <a:gd name="connsiteY414" fmla="*/ 708927 h 1960491"/>
                <a:gd name="connsiteX415" fmla="*/ 2585473 w 3296788"/>
                <a:gd name="connsiteY415" fmla="*/ 708927 h 1960491"/>
                <a:gd name="connsiteX416" fmla="*/ 2500889 w 3296788"/>
                <a:gd name="connsiteY416" fmla="*/ 660829 h 1960491"/>
                <a:gd name="connsiteX417" fmla="*/ 2500889 w 3296788"/>
                <a:gd name="connsiteY417" fmla="*/ 629630 h 1960491"/>
                <a:gd name="connsiteX418" fmla="*/ 2591980 w 3296788"/>
                <a:gd name="connsiteY418" fmla="*/ 575032 h 1960491"/>
                <a:gd name="connsiteX419" fmla="*/ 2608815 w 3296788"/>
                <a:gd name="connsiteY419" fmla="*/ 570076 h 1960491"/>
                <a:gd name="connsiteX420" fmla="*/ 1459573 w 3296788"/>
                <a:gd name="connsiteY420" fmla="*/ 564552 h 1960491"/>
                <a:gd name="connsiteX421" fmla="*/ 1475921 w 3296788"/>
                <a:gd name="connsiteY421" fmla="*/ 568597 h 1960491"/>
                <a:gd name="connsiteX422" fmla="*/ 1562457 w 3296788"/>
                <a:gd name="connsiteY422" fmla="*/ 617130 h 1960491"/>
                <a:gd name="connsiteX423" fmla="*/ 1562457 w 3296788"/>
                <a:gd name="connsiteY423" fmla="*/ 648192 h 1960491"/>
                <a:gd name="connsiteX424" fmla="*/ 1469414 w 3296788"/>
                <a:gd name="connsiteY424" fmla="*/ 702549 h 1960491"/>
                <a:gd name="connsiteX425" fmla="*/ 1436231 w 3296788"/>
                <a:gd name="connsiteY425" fmla="*/ 703197 h 1960491"/>
                <a:gd name="connsiteX426" fmla="*/ 1351647 w 3296788"/>
                <a:gd name="connsiteY426" fmla="*/ 654663 h 1960491"/>
                <a:gd name="connsiteX427" fmla="*/ 1351647 w 3296788"/>
                <a:gd name="connsiteY427" fmla="*/ 623602 h 1960491"/>
                <a:gd name="connsiteX428" fmla="*/ 1442738 w 3296788"/>
                <a:gd name="connsiteY428" fmla="*/ 569244 h 1960491"/>
                <a:gd name="connsiteX429" fmla="*/ 1459573 w 3296788"/>
                <a:gd name="connsiteY429" fmla="*/ 564552 h 1960491"/>
                <a:gd name="connsiteX430" fmla="*/ 2225491 w 3296788"/>
                <a:gd name="connsiteY430" fmla="*/ 564551 h 1960491"/>
                <a:gd name="connsiteX431" fmla="*/ 2242083 w 3296788"/>
                <a:gd name="connsiteY431" fmla="*/ 568596 h 1960491"/>
                <a:gd name="connsiteX432" fmla="*/ 2328619 w 3296788"/>
                <a:gd name="connsiteY432" fmla="*/ 617129 h 1960491"/>
                <a:gd name="connsiteX433" fmla="*/ 2327968 w 3296788"/>
                <a:gd name="connsiteY433" fmla="*/ 648191 h 1960491"/>
                <a:gd name="connsiteX434" fmla="*/ 2235576 w 3296788"/>
                <a:gd name="connsiteY434" fmla="*/ 702548 h 1960491"/>
                <a:gd name="connsiteX435" fmla="*/ 2201743 w 3296788"/>
                <a:gd name="connsiteY435" fmla="*/ 703196 h 1960491"/>
                <a:gd name="connsiteX436" fmla="*/ 2117809 w 3296788"/>
                <a:gd name="connsiteY436" fmla="*/ 654662 h 1960491"/>
                <a:gd name="connsiteX437" fmla="*/ 2117809 w 3296788"/>
                <a:gd name="connsiteY437" fmla="*/ 623601 h 1960491"/>
                <a:gd name="connsiteX438" fmla="*/ 2208900 w 3296788"/>
                <a:gd name="connsiteY438" fmla="*/ 569243 h 1960491"/>
                <a:gd name="connsiteX439" fmla="*/ 2225491 w 3296788"/>
                <a:gd name="connsiteY439" fmla="*/ 564551 h 1960491"/>
                <a:gd name="connsiteX440" fmla="*/ 1842421 w 3296788"/>
                <a:gd name="connsiteY440" fmla="*/ 561274 h 1960491"/>
                <a:gd name="connsiteX441" fmla="*/ 1859104 w 3296788"/>
                <a:gd name="connsiteY441" fmla="*/ 565093 h 1960491"/>
                <a:gd name="connsiteX442" fmla="*/ 1946119 w 3296788"/>
                <a:gd name="connsiteY442" fmla="*/ 613841 h 1960491"/>
                <a:gd name="connsiteX443" fmla="*/ 1945465 w 3296788"/>
                <a:gd name="connsiteY443" fmla="*/ 645690 h 1960491"/>
                <a:gd name="connsiteX444" fmla="*/ 1852561 w 3296788"/>
                <a:gd name="connsiteY444" fmla="*/ 699639 h 1960491"/>
                <a:gd name="connsiteX445" fmla="*/ 1818540 w 3296788"/>
                <a:gd name="connsiteY445" fmla="*/ 700289 h 1960491"/>
                <a:gd name="connsiteX446" fmla="*/ 1734142 w 3296788"/>
                <a:gd name="connsiteY446" fmla="*/ 652190 h 1960491"/>
                <a:gd name="connsiteX447" fmla="*/ 1734142 w 3296788"/>
                <a:gd name="connsiteY447" fmla="*/ 620341 h 1960491"/>
                <a:gd name="connsiteX448" fmla="*/ 1825737 w 3296788"/>
                <a:gd name="connsiteY448" fmla="*/ 565743 h 1960491"/>
                <a:gd name="connsiteX449" fmla="*/ 1842421 w 3296788"/>
                <a:gd name="connsiteY449" fmla="*/ 561274 h 1960491"/>
                <a:gd name="connsiteX450" fmla="*/ 3184875 w 3296788"/>
                <a:gd name="connsiteY450" fmla="*/ 463507 h 1960491"/>
                <a:gd name="connsiteX451" fmla="*/ 3201223 w 3296788"/>
                <a:gd name="connsiteY451" fmla="*/ 467813 h 1960491"/>
                <a:gd name="connsiteX452" fmla="*/ 3287759 w 3296788"/>
                <a:gd name="connsiteY452" fmla="*/ 515912 h 1960491"/>
                <a:gd name="connsiteX453" fmla="*/ 3287759 w 3296788"/>
                <a:gd name="connsiteY453" fmla="*/ 547761 h 1960491"/>
                <a:gd name="connsiteX454" fmla="*/ 3194716 w 3296788"/>
                <a:gd name="connsiteY454" fmla="*/ 602359 h 1960491"/>
                <a:gd name="connsiteX455" fmla="*/ 3161533 w 3296788"/>
                <a:gd name="connsiteY455" fmla="*/ 603009 h 1960491"/>
                <a:gd name="connsiteX456" fmla="*/ 3076949 w 3296788"/>
                <a:gd name="connsiteY456" fmla="*/ 554261 h 1960491"/>
                <a:gd name="connsiteX457" fmla="*/ 3076949 w 3296788"/>
                <a:gd name="connsiteY457" fmla="*/ 523062 h 1960491"/>
                <a:gd name="connsiteX458" fmla="*/ 3168040 w 3296788"/>
                <a:gd name="connsiteY458" fmla="*/ 468463 h 1960491"/>
                <a:gd name="connsiteX459" fmla="*/ 3184875 w 3296788"/>
                <a:gd name="connsiteY459" fmla="*/ 463507 h 1960491"/>
                <a:gd name="connsiteX460" fmla="*/ 2801554 w 3296788"/>
                <a:gd name="connsiteY460" fmla="*/ 457982 h 1960491"/>
                <a:gd name="connsiteX461" fmla="*/ 2818145 w 3296788"/>
                <a:gd name="connsiteY461" fmla="*/ 462026 h 1960491"/>
                <a:gd name="connsiteX462" fmla="*/ 2904681 w 3296788"/>
                <a:gd name="connsiteY462" fmla="*/ 509913 h 1960491"/>
                <a:gd name="connsiteX463" fmla="*/ 2904030 w 3296788"/>
                <a:gd name="connsiteY463" fmla="*/ 541622 h 1960491"/>
                <a:gd name="connsiteX464" fmla="*/ 2811638 w 3296788"/>
                <a:gd name="connsiteY464" fmla="*/ 595980 h 1960491"/>
                <a:gd name="connsiteX465" fmla="*/ 2777805 w 3296788"/>
                <a:gd name="connsiteY465" fmla="*/ 596627 h 1960491"/>
                <a:gd name="connsiteX466" fmla="*/ 2693871 w 3296788"/>
                <a:gd name="connsiteY466" fmla="*/ 548093 h 1960491"/>
                <a:gd name="connsiteX467" fmla="*/ 2693871 w 3296788"/>
                <a:gd name="connsiteY467" fmla="*/ 516384 h 1960491"/>
                <a:gd name="connsiteX468" fmla="*/ 2784962 w 3296788"/>
                <a:gd name="connsiteY468" fmla="*/ 462673 h 1960491"/>
                <a:gd name="connsiteX469" fmla="*/ 2801554 w 3296788"/>
                <a:gd name="connsiteY469" fmla="*/ 457982 h 1960491"/>
                <a:gd name="connsiteX470" fmla="*/ 2418803 w 3296788"/>
                <a:gd name="connsiteY470" fmla="*/ 452220 h 1960491"/>
                <a:gd name="connsiteX471" fmla="*/ 2435440 w 3296788"/>
                <a:gd name="connsiteY471" fmla="*/ 456264 h 1960491"/>
                <a:gd name="connsiteX472" fmla="*/ 2522216 w 3296788"/>
                <a:gd name="connsiteY472" fmla="*/ 504798 h 1960491"/>
                <a:gd name="connsiteX473" fmla="*/ 2521563 w 3296788"/>
                <a:gd name="connsiteY473" fmla="*/ 536507 h 1960491"/>
                <a:gd name="connsiteX474" fmla="*/ 2428916 w 3296788"/>
                <a:gd name="connsiteY474" fmla="*/ 590218 h 1960491"/>
                <a:gd name="connsiteX475" fmla="*/ 2394989 w 3296788"/>
                <a:gd name="connsiteY475" fmla="*/ 590865 h 1960491"/>
                <a:gd name="connsiteX476" fmla="*/ 2310171 w 3296788"/>
                <a:gd name="connsiteY476" fmla="*/ 542978 h 1960491"/>
                <a:gd name="connsiteX477" fmla="*/ 2310171 w 3296788"/>
                <a:gd name="connsiteY477" fmla="*/ 511269 h 1960491"/>
                <a:gd name="connsiteX478" fmla="*/ 2402166 w 3296788"/>
                <a:gd name="connsiteY478" fmla="*/ 456911 h 1960491"/>
                <a:gd name="connsiteX479" fmla="*/ 2418803 w 3296788"/>
                <a:gd name="connsiteY479" fmla="*/ 452220 h 1960491"/>
                <a:gd name="connsiteX480" fmla="*/ 1649430 w 3296788"/>
                <a:gd name="connsiteY480" fmla="*/ 452220 h 1960491"/>
                <a:gd name="connsiteX481" fmla="*/ 1666021 w 3296788"/>
                <a:gd name="connsiteY481" fmla="*/ 456265 h 1960491"/>
                <a:gd name="connsiteX482" fmla="*/ 1752557 w 3296788"/>
                <a:gd name="connsiteY482" fmla="*/ 504799 h 1960491"/>
                <a:gd name="connsiteX483" fmla="*/ 1751906 w 3296788"/>
                <a:gd name="connsiteY483" fmla="*/ 536508 h 1960491"/>
                <a:gd name="connsiteX484" fmla="*/ 1659514 w 3296788"/>
                <a:gd name="connsiteY484" fmla="*/ 590218 h 1960491"/>
                <a:gd name="connsiteX485" fmla="*/ 1625681 w 3296788"/>
                <a:gd name="connsiteY485" fmla="*/ 590866 h 1960491"/>
                <a:gd name="connsiteX486" fmla="*/ 1541747 w 3296788"/>
                <a:gd name="connsiteY486" fmla="*/ 542979 h 1960491"/>
                <a:gd name="connsiteX487" fmla="*/ 1541747 w 3296788"/>
                <a:gd name="connsiteY487" fmla="*/ 511270 h 1960491"/>
                <a:gd name="connsiteX488" fmla="*/ 1632838 w 3296788"/>
                <a:gd name="connsiteY488" fmla="*/ 456912 h 1960491"/>
                <a:gd name="connsiteX489" fmla="*/ 1649430 w 3296788"/>
                <a:gd name="connsiteY489" fmla="*/ 452220 h 1960491"/>
                <a:gd name="connsiteX490" fmla="*/ 2032754 w 3296788"/>
                <a:gd name="connsiteY490" fmla="*/ 446217 h 1960491"/>
                <a:gd name="connsiteX491" fmla="*/ 2049102 w 3296788"/>
                <a:gd name="connsiteY491" fmla="*/ 450504 h 1960491"/>
                <a:gd name="connsiteX492" fmla="*/ 2135638 w 3296788"/>
                <a:gd name="connsiteY492" fmla="*/ 498391 h 1960491"/>
                <a:gd name="connsiteX493" fmla="*/ 2135638 w 3296788"/>
                <a:gd name="connsiteY493" fmla="*/ 529453 h 1960491"/>
                <a:gd name="connsiteX494" fmla="*/ 2042595 w 3296788"/>
                <a:gd name="connsiteY494" fmla="*/ 584458 h 1960491"/>
                <a:gd name="connsiteX495" fmla="*/ 2009412 w 3296788"/>
                <a:gd name="connsiteY495" fmla="*/ 584458 h 1960491"/>
                <a:gd name="connsiteX496" fmla="*/ 1924828 w 3296788"/>
                <a:gd name="connsiteY496" fmla="*/ 535924 h 1960491"/>
                <a:gd name="connsiteX497" fmla="*/ 1924828 w 3296788"/>
                <a:gd name="connsiteY497" fmla="*/ 504862 h 1960491"/>
                <a:gd name="connsiteX498" fmla="*/ 2015919 w 3296788"/>
                <a:gd name="connsiteY498" fmla="*/ 451151 h 1960491"/>
                <a:gd name="connsiteX499" fmla="*/ 2032754 w 3296788"/>
                <a:gd name="connsiteY499" fmla="*/ 446217 h 1960491"/>
                <a:gd name="connsiteX500" fmla="*/ 2991740 w 3296788"/>
                <a:gd name="connsiteY500" fmla="*/ 345333 h 1960491"/>
                <a:gd name="connsiteX501" fmla="*/ 3008622 w 3296788"/>
                <a:gd name="connsiteY501" fmla="*/ 349070 h 1960491"/>
                <a:gd name="connsiteX502" fmla="*/ 3095398 w 3296788"/>
                <a:gd name="connsiteY502" fmla="*/ 397818 h 1960491"/>
                <a:gd name="connsiteX503" fmla="*/ 3094745 w 3296788"/>
                <a:gd name="connsiteY503" fmla="*/ 429667 h 1960491"/>
                <a:gd name="connsiteX504" fmla="*/ 3002098 w 3296788"/>
                <a:gd name="connsiteY504" fmla="*/ 483615 h 1960491"/>
                <a:gd name="connsiteX505" fmla="*/ 2968171 w 3296788"/>
                <a:gd name="connsiteY505" fmla="*/ 484265 h 1960491"/>
                <a:gd name="connsiteX506" fmla="*/ 2883353 w 3296788"/>
                <a:gd name="connsiteY506" fmla="*/ 436167 h 1960491"/>
                <a:gd name="connsiteX507" fmla="*/ 2883353 w 3296788"/>
                <a:gd name="connsiteY507" fmla="*/ 404318 h 1960491"/>
                <a:gd name="connsiteX508" fmla="*/ 2975348 w 3296788"/>
                <a:gd name="connsiteY508" fmla="*/ 350370 h 1960491"/>
                <a:gd name="connsiteX509" fmla="*/ 2991740 w 3296788"/>
                <a:gd name="connsiteY509" fmla="*/ 345333 h 1960491"/>
                <a:gd name="connsiteX510" fmla="*/ 1842420 w 3296788"/>
                <a:gd name="connsiteY510" fmla="*/ 339653 h 1960491"/>
                <a:gd name="connsiteX511" fmla="*/ 1859103 w 3296788"/>
                <a:gd name="connsiteY511" fmla="*/ 343959 h 1960491"/>
                <a:gd name="connsiteX512" fmla="*/ 1946118 w 3296788"/>
                <a:gd name="connsiteY512" fmla="*/ 392057 h 1960491"/>
                <a:gd name="connsiteX513" fmla="*/ 1945464 w 3296788"/>
                <a:gd name="connsiteY513" fmla="*/ 423256 h 1960491"/>
                <a:gd name="connsiteX514" fmla="*/ 1852560 w 3296788"/>
                <a:gd name="connsiteY514" fmla="*/ 477854 h 1960491"/>
                <a:gd name="connsiteX515" fmla="*/ 1818539 w 3296788"/>
                <a:gd name="connsiteY515" fmla="*/ 478504 h 1960491"/>
                <a:gd name="connsiteX516" fmla="*/ 1734141 w 3296788"/>
                <a:gd name="connsiteY516" fmla="*/ 429756 h 1960491"/>
                <a:gd name="connsiteX517" fmla="*/ 1734141 w 3296788"/>
                <a:gd name="connsiteY517" fmla="*/ 398557 h 1960491"/>
                <a:gd name="connsiteX518" fmla="*/ 1825736 w 3296788"/>
                <a:gd name="connsiteY518" fmla="*/ 344609 h 1960491"/>
                <a:gd name="connsiteX519" fmla="*/ 1842420 w 3296788"/>
                <a:gd name="connsiteY519" fmla="*/ 339653 h 1960491"/>
                <a:gd name="connsiteX520" fmla="*/ 2608815 w 3296788"/>
                <a:gd name="connsiteY520" fmla="*/ 339652 h 1960491"/>
                <a:gd name="connsiteX521" fmla="*/ 2625163 w 3296788"/>
                <a:gd name="connsiteY521" fmla="*/ 343958 h 1960491"/>
                <a:gd name="connsiteX522" fmla="*/ 2711699 w 3296788"/>
                <a:gd name="connsiteY522" fmla="*/ 392056 h 1960491"/>
                <a:gd name="connsiteX523" fmla="*/ 2711699 w 3296788"/>
                <a:gd name="connsiteY523" fmla="*/ 423255 h 1960491"/>
                <a:gd name="connsiteX524" fmla="*/ 2618656 w 3296788"/>
                <a:gd name="connsiteY524" fmla="*/ 477853 h 1960491"/>
                <a:gd name="connsiteX525" fmla="*/ 2585473 w 3296788"/>
                <a:gd name="connsiteY525" fmla="*/ 478503 h 1960491"/>
                <a:gd name="connsiteX526" fmla="*/ 2500889 w 3296788"/>
                <a:gd name="connsiteY526" fmla="*/ 429755 h 1960491"/>
                <a:gd name="connsiteX527" fmla="*/ 2500889 w 3296788"/>
                <a:gd name="connsiteY527" fmla="*/ 398556 h 1960491"/>
                <a:gd name="connsiteX528" fmla="*/ 2591980 w 3296788"/>
                <a:gd name="connsiteY528" fmla="*/ 344608 h 1960491"/>
                <a:gd name="connsiteX529" fmla="*/ 2608815 w 3296788"/>
                <a:gd name="connsiteY529" fmla="*/ 339652 h 1960491"/>
                <a:gd name="connsiteX530" fmla="*/ 2225492 w 3296788"/>
                <a:gd name="connsiteY530" fmla="*/ 333811 h 1960491"/>
                <a:gd name="connsiteX531" fmla="*/ 2242083 w 3296788"/>
                <a:gd name="connsiteY531" fmla="*/ 338198 h 1960491"/>
                <a:gd name="connsiteX532" fmla="*/ 2328619 w 3296788"/>
                <a:gd name="connsiteY532" fmla="*/ 386296 h 1960491"/>
                <a:gd name="connsiteX533" fmla="*/ 2327968 w 3296788"/>
                <a:gd name="connsiteY533" fmla="*/ 418145 h 1960491"/>
                <a:gd name="connsiteX534" fmla="*/ 2235576 w 3296788"/>
                <a:gd name="connsiteY534" fmla="*/ 472743 h 1960491"/>
                <a:gd name="connsiteX535" fmla="*/ 2201743 w 3296788"/>
                <a:gd name="connsiteY535" fmla="*/ 472743 h 1960491"/>
                <a:gd name="connsiteX536" fmla="*/ 2117809 w 3296788"/>
                <a:gd name="connsiteY536" fmla="*/ 424645 h 1960491"/>
                <a:gd name="connsiteX537" fmla="*/ 2117809 w 3296788"/>
                <a:gd name="connsiteY537" fmla="*/ 393446 h 1960491"/>
                <a:gd name="connsiteX538" fmla="*/ 2208900 w 3296788"/>
                <a:gd name="connsiteY538" fmla="*/ 338198 h 1960491"/>
                <a:gd name="connsiteX539" fmla="*/ 2225492 w 3296788"/>
                <a:gd name="connsiteY539" fmla="*/ 333811 h 1960491"/>
                <a:gd name="connsiteX540" fmla="*/ 2801554 w 3296788"/>
                <a:gd name="connsiteY540" fmla="*/ 227322 h 1960491"/>
                <a:gd name="connsiteX541" fmla="*/ 2818145 w 3296788"/>
                <a:gd name="connsiteY541" fmla="*/ 231628 h 1960491"/>
                <a:gd name="connsiteX542" fmla="*/ 2904681 w 3296788"/>
                <a:gd name="connsiteY542" fmla="*/ 279727 h 1960491"/>
                <a:gd name="connsiteX543" fmla="*/ 2904030 w 3296788"/>
                <a:gd name="connsiteY543" fmla="*/ 311576 h 1960491"/>
                <a:gd name="connsiteX544" fmla="*/ 2811638 w 3296788"/>
                <a:gd name="connsiteY544" fmla="*/ 366174 h 1960491"/>
                <a:gd name="connsiteX545" fmla="*/ 2777805 w 3296788"/>
                <a:gd name="connsiteY545" fmla="*/ 366174 h 1960491"/>
                <a:gd name="connsiteX546" fmla="*/ 2693871 w 3296788"/>
                <a:gd name="connsiteY546" fmla="*/ 318076 h 1960491"/>
                <a:gd name="connsiteX547" fmla="*/ 2693871 w 3296788"/>
                <a:gd name="connsiteY547" fmla="*/ 286227 h 1960491"/>
                <a:gd name="connsiteX548" fmla="*/ 2784962 w 3296788"/>
                <a:gd name="connsiteY548" fmla="*/ 232278 h 1960491"/>
                <a:gd name="connsiteX549" fmla="*/ 2801554 w 3296788"/>
                <a:gd name="connsiteY549" fmla="*/ 227322 h 1960491"/>
                <a:gd name="connsiteX550" fmla="*/ 2032752 w 3296788"/>
                <a:gd name="connsiteY550" fmla="*/ 227322 h 1960491"/>
                <a:gd name="connsiteX551" fmla="*/ 2049100 w 3296788"/>
                <a:gd name="connsiteY551" fmla="*/ 231628 h 1960491"/>
                <a:gd name="connsiteX552" fmla="*/ 2135636 w 3296788"/>
                <a:gd name="connsiteY552" fmla="*/ 279726 h 1960491"/>
                <a:gd name="connsiteX553" fmla="*/ 2135636 w 3296788"/>
                <a:gd name="connsiteY553" fmla="*/ 311575 h 1960491"/>
                <a:gd name="connsiteX554" fmla="*/ 2042593 w 3296788"/>
                <a:gd name="connsiteY554" fmla="*/ 366174 h 1960491"/>
                <a:gd name="connsiteX555" fmla="*/ 2009410 w 3296788"/>
                <a:gd name="connsiteY555" fmla="*/ 366174 h 1960491"/>
                <a:gd name="connsiteX556" fmla="*/ 1924826 w 3296788"/>
                <a:gd name="connsiteY556" fmla="*/ 318075 h 1960491"/>
                <a:gd name="connsiteX557" fmla="*/ 1924826 w 3296788"/>
                <a:gd name="connsiteY557" fmla="*/ 286226 h 1960491"/>
                <a:gd name="connsiteX558" fmla="*/ 2015917 w 3296788"/>
                <a:gd name="connsiteY558" fmla="*/ 232278 h 1960491"/>
                <a:gd name="connsiteX559" fmla="*/ 2032752 w 3296788"/>
                <a:gd name="connsiteY559" fmla="*/ 227322 h 1960491"/>
                <a:gd name="connsiteX560" fmla="*/ 2418803 w 3296788"/>
                <a:gd name="connsiteY560" fmla="*/ 221560 h 1960491"/>
                <a:gd name="connsiteX561" fmla="*/ 2435440 w 3296788"/>
                <a:gd name="connsiteY561" fmla="*/ 225866 h 1960491"/>
                <a:gd name="connsiteX562" fmla="*/ 2522216 w 3296788"/>
                <a:gd name="connsiteY562" fmla="*/ 273965 h 1960491"/>
                <a:gd name="connsiteX563" fmla="*/ 2521563 w 3296788"/>
                <a:gd name="connsiteY563" fmla="*/ 305814 h 1960491"/>
                <a:gd name="connsiteX564" fmla="*/ 2428916 w 3296788"/>
                <a:gd name="connsiteY564" fmla="*/ 360412 h 1960491"/>
                <a:gd name="connsiteX565" fmla="*/ 2394989 w 3296788"/>
                <a:gd name="connsiteY565" fmla="*/ 361062 h 1960491"/>
                <a:gd name="connsiteX566" fmla="*/ 2310171 w 3296788"/>
                <a:gd name="connsiteY566" fmla="*/ 312314 h 1960491"/>
                <a:gd name="connsiteX567" fmla="*/ 2310171 w 3296788"/>
                <a:gd name="connsiteY567" fmla="*/ 281115 h 1960491"/>
                <a:gd name="connsiteX568" fmla="*/ 2402166 w 3296788"/>
                <a:gd name="connsiteY568" fmla="*/ 226516 h 1960491"/>
                <a:gd name="connsiteX569" fmla="*/ 2418803 w 3296788"/>
                <a:gd name="connsiteY569" fmla="*/ 221560 h 1960491"/>
                <a:gd name="connsiteX570" fmla="*/ 2225490 w 3296788"/>
                <a:gd name="connsiteY570" fmla="*/ 112110 h 1960491"/>
                <a:gd name="connsiteX571" fmla="*/ 2242081 w 3296788"/>
                <a:gd name="connsiteY571" fmla="*/ 116416 h 1960491"/>
                <a:gd name="connsiteX572" fmla="*/ 2328617 w 3296788"/>
                <a:gd name="connsiteY572" fmla="*/ 164514 h 1960491"/>
                <a:gd name="connsiteX573" fmla="*/ 2327966 w 3296788"/>
                <a:gd name="connsiteY573" fmla="*/ 196363 h 1960491"/>
                <a:gd name="connsiteX574" fmla="*/ 2235574 w 3296788"/>
                <a:gd name="connsiteY574" fmla="*/ 250962 h 1960491"/>
                <a:gd name="connsiteX575" fmla="*/ 2201741 w 3296788"/>
                <a:gd name="connsiteY575" fmla="*/ 251612 h 1960491"/>
                <a:gd name="connsiteX576" fmla="*/ 2117807 w 3296788"/>
                <a:gd name="connsiteY576" fmla="*/ 202863 h 1960491"/>
                <a:gd name="connsiteX577" fmla="*/ 2117807 w 3296788"/>
                <a:gd name="connsiteY577" fmla="*/ 171664 h 1960491"/>
                <a:gd name="connsiteX578" fmla="*/ 2208898 w 3296788"/>
                <a:gd name="connsiteY578" fmla="*/ 117066 h 1960491"/>
                <a:gd name="connsiteX579" fmla="*/ 2225490 w 3296788"/>
                <a:gd name="connsiteY579" fmla="*/ 112110 h 1960491"/>
                <a:gd name="connsiteX580" fmla="*/ 2608815 w 3296788"/>
                <a:gd name="connsiteY580" fmla="*/ 109464 h 1960491"/>
                <a:gd name="connsiteX581" fmla="*/ 2625163 w 3296788"/>
                <a:gd name="connsiteY581" fmla="*/ 113508 h 1960491"/>
                <a:gd name="connsiteX582" fmla="*/ 2711699 w 3296788"/>
                <a:gd name="connsiteY582" fmla="*/ 162042 h 1960491"/>
                <a:gd name="connsiteX583" fmla="*/ 2711699 w 3296788"/>
                <a:gd name="connsiteY583" fmla="*/ 193103 h 1960491"/>
                <a:gd name="connsiteX584" fmla="*/ 2618656 w 3296788"/>
                <a:gd name="connsiteY584" fmla="*/ 247461 h 1960491"/>
                <a:gd name="connsiteX585" fmla="*/ 2585473 w 3296788"/>
                <a:gd name="connsiteY585" fmla="*/ 248108 h 1960491"/>
                <a:gd name="connsiteX586" fmla="*/ 2500889 w 3296788"/>
                <a:gd name="connsiteY586" fmla="*/ 199575 h 1960491"/>
                <a:gd name="connsiteX587" fmla="*/ 2500889 w 3296788"/>
                <a:gd name="connsiteY587" fmla="*/ 168513 h 1960491"/>
                <a:gd name="connsiteX588" fmla="*/ 2591980 w 3296788"/>
                <a:gd name="connsiteY588" fmla="*/ 114155 h 1960491"/>
                <a:gd name="connsiteX589" fmla="*/ 2608815 w 3296788"/>
                <a:gd name="connsiteY589" fmla="*/ 109464 h 1960491"/>
                <a:gd name="connsiteX590" fmla="*/ 2418801 w 3296788"/>
                <a:gd name="connsiteY590" fmla="*/ 13 h 1960491"/>
                <a:gd name="connsiteX591" fmla="*/ 2435438 w 3296788"/>
                <a:gd name="connsiteY591" fmla="*/ 4058 h 1960491"/>
                <a:gd name="connsiteX592" fmla="*/ 2522214 w 3296788"/>
                <a:gd name="connsiteY592" fmla="*/ 52591 h 1960491"/>
                <a:gd name="connsiteX593" fmla="*/ 2521561 w 3296788"/>
                <a:gd name="connsiteY593" fmla="*/ 83653 h 1960491"/>
                <a:gd name="connsiteX594" fmla="*/ 2428914 w 3296788"/>
                <a:gd name="connsiteY594" fmla="*/ 138010 h 1960491"/>
                <a:gd name="connsiteX595" fmla="*/ 2394987 w 3296788"/>
                <a:gd name="connsiteY595" fmla="*/ 138658 h 1960491"/>
                <a:gd name="connsiteX596" fmla="*/ 2310169 w 3296788"/>
                <a:gd name="connsiteY596" fmla="*/ 90124 h 1960491"/>
                <a:gd name="connsiteX597" fmla="*/ 2310169 w 3296788"/>
                <a:gd name="connsiteY597" fmla="*/ 59063 h 1960491"/>
                <a:gd name="connsiteX598" fmla="*/ 2402164 w 3296788"/>
                <a:gd name="connsiteY598" fmla="*/ 4705 h 1960491"/>
                <a:gd name="connsiteX599" fmla="*/ 2418801 w 3296788"/>
                <a:gd name="connsiteY599" fmla="*/ 13 h 196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296788" h="1960491">
                  <a:moveTo>
                    <a:pt x="883514" y="1817173"/>
                  </a:moveTo>
                  <a:cubicBezTo>
                    <a:pt x="889289" y="1817010"/>
                    <a:pt x="894982" y="1818316"/>
                    <a:pt x="899862" y="1820927"/>
                  </a:cubicBezTo>
                  <a:lnTo>
                    <a:pt x="986398" y="1869893"/>
                  </a:lnTo>
                  <a:cubicBezTo>
                    <a:pt x="998760" y="1877074"/>
                    <a:pt x="998110" y="1894702"/>
                    <a:pt x="986398" y="1901883"/>
                  </a:cubicBezTo>
                  <a:lnTo>
                    <a:pt x="893355" y="1955419"/>
                  </a:lnTo>
                  <a:cubicBezTo>
                    <a:pt x="883596" y="1961947"/>
                    <a:pt x="870583" y="1961947"/>
                    <a:pt x="860172" y="1956724"/>
                  </a:cubicBezTo>
                  <a:lnTo>
                    <a:pt x="775588" y="1908412"/>
                  </a:lnTo>
                  <a:cubicBezTo>
                    <a:pt x="763226" y="1901230"/>
                    <a:pt x="763877" y="1883603"/>
                    <a:pt x="775588" y="1876421"/>
                  </a:cubicBezTo>
                  <a:lnTo>
                    <a:pt x="866679" y="1822233"/>
                  </a:lnTo>
                  <a:cubicBezTo>
                    <a:pt x="871884" y="1818969"/>
                    <a:pt x="877740" y="1817336"/>
                    <a:pt x="883514" y="1817173"/>
                  </a:cubicBezTo>
                  <a:close/>
                  <a:moveTo>
                    <a:pt x="1076253" y="1705153"/>
                  </a:moveTo>
                  <a:cubicBezTo>
                    <a:pt x="1081946" y="1704991"/>
                    <a:pt x="1087639" y="1706285"/>
                    <a:pt x="1092844" y="1709197"/>
                  </a:cubicBezTo>
                  <a:lnTo>
                    <a:pt x="1179380" y="1757084"/>
                  </a:lnTo>
                  <a:cubicBezTo>
                    <a:pt x="1191742" y="1764202"/>
                    <a:pt x="1191092" y="1781674"/>
                    <a:pt x="1178729" y="1788145"/>
                  </a:cubicBezTo>
                  <a:lnTo>
                    <a:pt x="1086337" y="1843150"/>
                  </a:lnTo>
                  <a:cubicBezTo>
                    <a:pt x="1075927" y="1848974"/>
                    <a:pt x="1062914" y="1849621"/>
                    <a:pt x="1053154" y="1843150"/>
                  </a:cubicBezTo>
                  <a:lnTo>
                    <a:pt x="968570" y="1795264"/>
                  </a:lnTo>
                  <a:cubicBezTo>
                    <a:pt x="956208" y="1788145"/>
                    <a:pt x="956859" y="1771320"/>
                    <a:pt x="968570" y="1763555"/>
                  </a:cubicBezTo>
                  <a:lnTo>
                    <a:pt x="1059661" y="1709844"/>
                  </a:lnTo>
                  <a:cubicBezTo>
                    <a:pt x="1064866" y="1706932"/>
                    <a:pt x="1070559" y="1705315"/>
                    <a:pt x="1076253" y="1705153"/>
                  </a:cubicBezTo>
                  <a:close/>
                  <a:moveTo>
                    <a:pt x="693747" y="1699148"/>
                  </a:moveTo>
                  <a:cubicBezTo>
                    <a:pt x="699537" y="1699067"/>
                    <a:pt x="705246" y="1700523"/>
                    <a:pt x="710139" y="1703435"/>
                  </a:cubicBezTo>
                  <a:lnTo>
                    <a:pt x="796915" y="1751969"/>
                  </a:lnTo>
                  <a:cubicBezTo>
                    <a:pt x="808659" y="1758440"/>
                    <a:pt x="808659" y="1775912"/>
                    <a:pt x="796262" y="1783030"/>
                  </a:cubicBezTo>
                  <a:lnTo>
                    <a:pt x="703615" y="1837388"/>
                  </a:lnTo>
                  <a:cubicBezTo>
                    <a:pt x="693176" y="1843212"/>
                    <a:pt x="680127" y="1843859"/>
                    <a:pt x="670340" y="1838035"/>
                  </a:cubicBezTo>
                  <a:lnTo>
                    <a:pt x="584870" y="1789502"/>
                  </a:lnTo>
                  <a:cubicBezTo>
                    <a:pt x="573126" y="1782383"/>
                    <a:pt x="573126" y="1765558"/>
                    <a:pt x="584870" y="1758440"/>
                  </a:cubicBezTo>
                  <a:lnTo>
                    <a:pt x="676865" y="1704082"/>
                  </a:lnTo>
                  <a:cubicBezTo>
                    <a:pt x="682085" y="1700847"/>
                    <a:pt x="687957" y="1699229"/>
                    <a:pt x="693747" y="1699148"/>
                  </a:cubicBezTo>
                  <a:close/>
                  <a:moveTo>
                    <a:pt x="1266684" y="1589704"/>
                  </a:moveTo>
                  <a:cubicBezTo>
                    <a:pt x="1272393" y="1589623"/>
                    <a:pt x="1278102" y="1591085"/>
                    <a:pt x="1283321" y="1594010"/>
                  </a:cubicBezTo>
                  <a:lnTo>
                    <a:pt x="1370097" y="1642108"/>
                  </a:lnTo>
                  <a:cubicBezTo>
                    <a:pt x="1381841" y="1649258"/>
                    <a:pt x="1381841" y="1666808"/>
                    <a:pt x="1369444" y="1673957"/>
                  </a:cubicBezTo>
                  <a:lnTo>
                    <a:pt x="1276797" y="1728555"/>
                  </a:lnTo>
                  <a:cubicBezTo>
                    <a:pt x="1266358" y="1734405"/>
                    <a:pt x="1253309" y="1734405"/>
                    <a:pt x="1242870" y="1729205"/>
                  </a:cubicBezTo>
                  <a:lnTo>
                    <a:pt x="1158052" y="1680457"/>
                  </a:lnTo>
                  <a:cubicBezTo>
                    <a:pt x="1146308" y="1673307"/>
                    <a:pt x="1146308" y="1656408"/>
                    <a:pt x="1158052" y="1649258"/>
                  </a:cubicBezTo>
                  <a:lnTo>
                    <a:pt x="1250047" y="1594660"/>
                  </a:lnTo>
                  <a:cubicBezTo>
                    <a:pt x="1255266" y="1591410"/>
                    <a:pt x="1260975" y="1589785"/>
                    <a:pt x="1266684" y="1589704"/>
                  </a:cubicBezTo>
                  <a:close/>
                  <a:moveTo>
                    <a:pt x="883514" y="1586662"/>
                  </a:moveTo>
                  <a:cubicBezTo>
                    <a:pt x="889289" y="1586580"/>
                    <a:pt x="894982" y="1587880"/>
                    <a:pt x="899862" y="1590480"/>
                  </a:cubicBezTo>
                  <a:lnTo>
                    <a:pt x="986398" y="1639229"/>
                  </a:lnTo>
                  <a:cubicBezTo>
                    <a:pt x="998760" y="1645729"/>
                    <a:pt x="998110" y="1663278"/>
                    <a:pt x="986398" y="1670428"/>
                  </a:cubicBezTo>
                  <a:lnTo>
                    <a:pt x="893355" y="1725026"/>
                  </a:lnTo>
                  <a:cubicBezTo>
                    <a:pt x="883596" y="1731526"/>
                    <a:pt x="870583" y="1731526"/>
                    <a:pt x="860172" y="1725676"/>
                  </a:cubicBezTo>
                  <a:lnTo>
                    <a:pt x="775588" y="1676928"/>
                  </a:lnTo>
                  <a:cubicBezTo>
                    <a:pt x="763226" y="1670428"/>
                    <a:pt x="763877" y="1652878"/>
                    <a:pt x="775588" y="1645729"/>
                  </a:cubicBezTo>
                  <a:lnTo>
                    <a:pt x="866679" y="1591130"/>
                  </a:lnTo>
                  <a:cubicBezTo>
                    <a:pt x="871884" y="1588205"/>
                    <a:pt x="877740" y="1586743"/>
                    <a:pt x="883514" y="1586662"/>
                  </a:cubicBezTo>
                  <a:close/>
                  <a:moveTo>
                    <a:pt x="500433" y="1581063"/>
                  </a:moveTo>
                  <a:cubicBezTo>
                    <a:pt x="506208" y="1580982"/>
                    <a:pt x="511901" y="1582444"/>
                    <a:pt x="516781" y="1585369"/>
                  </a:cubicBezTo>
                  <a:lnTo>
                    <a:pt x="603317" y="1633468"/>
                  </a:lnTo>
                  <a:cubicBezTo>
                    <a:pt x="615679" y="1639968"/>
                    <a:pt x="615029" y="1658167"/>
                    <a:pt x="602666" y="1665317"/>
                  </a:cubicBezTo>
                  <a:lnTo>
                    <a:pt x="510274" y="1719915"/>
                  </a:lnTo>
                  <a:cubicBezTo>
                    <a:pt x="499864" y="1725765"/>
                    <a:pt x="486851" y="1725765"/>
                    <a:pt x="477091" y="1719915"/>
                  </a:cubicBezTo>
                  <a:lnTo>
                    <a:pt x="392507" y="1671817"/>
                  </a:lnTo>
                  <a:cubicBezTo>
                    <a:pt x="380145" y="1664667"/>
                    <a:pt x="380796" y="1647117"/>
                    <a:pt x="392507" y="1639968"/>
                  </a:cubicBezTo>
                  <a:lnTo>
                    <a:pt x="483598" y="1586019"/>
                  </a:lnTo>
                  <a:cubicBezTo>
                    <a:pt x="488803" y="1582769"/>
                    <a:pt x="494659" y="1581144"/>
                    <a:pt x="500433" y="1581063"/>
                  </a:cubicBezTo>
                  <a:close/>
                  <a:moveTo>
                    <a:pt x="1076251" y="1471929"/>
                  </a:moveTo>
                  <a:cubicBezTo>
                    <a:pt x="1081944" y="1471848"/>
                    <a:pt x="1087637" y="1473304"/>
                    <a:pt x="1092842" y="1476539"/>
                  </a:cubicBezTo>
                  <a:lnTo>
                    <a:pt x="1179378" y="1524426"/>
                  </a:lnTo>
                  <a:cubicBezTo>
                    <a:pt x="1191740" y="1531545"/>
                    <a:pt x="1191090" y="1548370"/>
                    <a:pt x="1178727" y="1556135"/>
                  </a:cubicBezTo>
                  <a:lnTo>
                    <a:pt x="1086335" y="1610493"/>
                  </a:lnTo>
                  <a:cubicBezTo>
                    <a:pt x="1075925" y="1616317"/>
                    <a:pt x="1062912" y="1616317"/>
                    <a:pt x="1053152" y="1610493"/>
                  </a:cubicBezTo>
                  <a:lnTo>
                    <a:pt x="968568" y="1562606"/>
                  </a:lnTo>
                  <a:cubicBezTo>
                    <a:pt x="956206" y="1555488"/>
                    <a:pt x="956857" y="1538016"/>
                    <a:pt x="968568" y="1530897"/>
                  </a:cubicBezTo>
                  <a:lnTo>
                    <a:pt x="1059659" y="1476539"/>
                  </a:lnTo>
                  <a:cubicBezTo>
                    <a:pt x="1064864" y="1473627"/>
                    <a:pt x="1070557" y="1472009"/>
                    <a:pt x="1076251" y="1471929"/>
                  </a:cubicBezTo>
                  <a:close/>
                  <a:moveTo>
                    <a:pt x="693747" y="1468975"/>
                  </a:moveTo>
                  <a:cubicBezTo>
                    <a:pt x="699537" y="1468812"/>
                    <a:pt x="705246" y="1470112"/>
                    <a:pt x="710139" y="1473037"/>
                  </a:cubicBezTo>
                  <a:lnTo>
                    <a:pt x="796915" y="1521135"/>
                  </a:lnTo>
                  <a:cubicBezTo>
                    <a:pt x="808659" y="1528285"/>
                    <a:pt x="808659" y="1545835"/>
                    <a:pt x="796262" y="1552984"/>
                  </a:cubicBezTo>
                  <a:lnTo>
                    <a:pt x="703615" y="1606932"/>
                  </a:lnTo>
                  <a:cubicBezTo>
                    <a:pt x="693176" y="1613432"/>
                    <a:pt x="680127" y="1613432"/>
                    <a:pt x="670340" y="1607582"/>
                  </a:cubicBezTo>
                  <a:lnTo>
                    <a:pt x="584870" y="1559484"/>
                  </a:lnTo>
                  <a:cubicBezTo>
                    <a:pt x="573126" y="1552334"/>
                    <a:pt x="573126" y="1534785"/>
                    <a:pt x="584870" y="1527635"/>
                  </a:cubicBezTo>
                  <a:lnTo>
                    <a:pt x="676865" y="1473687"/>
                  </a:lnTo>
                  <a:cubicBezTo>
                    <a:pt x="682085" y="1470762"/>
                    <a:pt x="687957" y="1469137"/>
                    <a:pt x="693747" y="1468975"/>
                  </a:cubicBezTo>
                  <a:close/>
                  <a:moveTo>
                    <a:pt x="307453" y="1463207"/>
                  </a:moveTo>
                  <a:cubicBezTo>
                    <a:pt x="313228" y="1463045"/>
                    <a:pt x="318921" y="1464339"/>
                    <a:pt x="323801" y="1467251"/>
                  </a:cubicBezTo>
                  <a:lnTo>
                    <a:pt x="410337" y="1515138"/>
                  </a:lnTo>
                  <a:cubicBezTo>
                    <a:pt x="422699" y="1521609"/>
                    <a:pt x="422049" y="1539728"/>
                    <a:pt x="410337" y="1546846"/>
                  </a:cubicBezTo>
                  <a:lnTo>
                    <a:pt x="317294" y="1601204"/>
                  </a:lnTo>
                  <a:cubicBezTo>
                    <a:pt x="307535" y="1607028"/>
                    <a:pt x="294522" y="1607675"/>
                    <a:pt x="284111" y="1601204"/>
                  </a:cubicBezTo>
                  <a:lnTo>
                    <a:pt x="199527" y="1553318"/>
                  </a:lnTo>
                  <a:cubicBezTo>
                    <a:pt x="187165" y="1546199"/>
                    <a:pt x="187816" y="1529374"/>
                    <a:pt x="199527" y="1521609"/>
                  </a:cubicBezTo>
                  <a:lnTo>
                    <a:pt x="290618" y="1467898"/>
                  </a:lnTo>
                  <a:cubicBezTo>
                    <a:pt x="295823" y="1464986"/>
                    <a:pt x="301679" y="1463369"/>
                    <a:pt x="307453" y="1463207"/>
                  </a:cubicBezTo>
                  <a:close/>
                  <a:moveTo>
                    <a:pt x="1266682" y="1359198"/>
                  </a:moveTo>
                  <a:cubicBezTo>
                    <a:pt x="1272391" y="1359035"/>
                    <a:pt x="1278100" y="1360335"/>
                    <a:pt x="1283319" y="1362935"/>
                  </a:cubicBezTo>
                  <a:lnTo>
                    <a:pt x="1370095" y="1411683"/>
                  </a:lnTo>
                  <a:cubicBezTo>
                    <a:pt x="1381839" y="1418833"/>
                    <a:pt x="1381839" y="1436383"/>
                    <a:pt x="1369442" y="1443532"/>
                  </a:cubicBezTo>
                  <a:lnTo>
                    <a:pt x="1276795" y="1497480"/>
                  </a:lnTo>
                  <a:cubicBezTo>
                    <a:pt x="1266356" y="1503980"/>
                    <a:pt x="1253307" y="1503980"/>
                    <a:pt x="1242868" y="1498130"/>
                  </a:cubicBezTo>
                  <a:lnTo>
                    <a:pt x="1158050" y="1450032"/>
                  </a:lnTo>
                  <a:cubicBezTo>
                    <a:pt x="1146306" y="1442882"/>
                    <a:pt x="1146306" y="1425333"/>
                    <a:pt x="1158050" y="1418183"/>
                  </a:cubicBezTo>
                  <a:lnTo>
                    <a:pt x="1250045" y="1364235"/>
                  </a:lnTo>
                  <a:cubicBezTo>
                    <a:pt x="1255265" y="1360985"/>
                    <a:pt x="1260973" y="1359360"/>
                    <a:pt x="1266682" y="1359198"/>
                  </a:cubicBezTo>
                  <a:close/>
                  <a:moveTo>
                    <a:pt x="117685" y="1356636"/>
                  </a:moveTo>
                  <a:cubicBezTo>
                    <a:pt x="123475" y="1356474"/>
                    <a:pt x="129184" y="1357768"/>
                    <a:pt x="134077" y="1360680"/>
                  </a:cubicBezTo>
                  <a:lnTo>
                    <a:pt x="220853" y="1409214"/>
                  </a:lnTo>
                  <a:cubicBezTo>
                    <a:pt x="232597" y="1415685"/>
                    <a:pt x="232597" y="1433158"/>
                    <a:pt x="220853" y="1440276"/>
                  </a:cubicBezTo>
                  <a:lnTo>
                    <a:pt x="127553" y="1494634"/>
                  </a:lnTo>
                  <a:cubicBezTo>
                    <a:pt x="117114" y="1500458"/>
                    <a:pt x="104065" y="1501105"/>
                    <a:pt x="94278" y="1494634"/>
                  </a:cubicBezTo>
                  <a:lnTo>
                    <a:pt x="8808" y="1446747"/>
                  </a:lnTo>
                  <a:cubicBezTo>
                    <a:pt x="-2936" y="1439629"/>
                    <a:pt x="-2936" y="1422804"/>
                    <a:pt x="8808" y="1415685"/>
                  </a:cubicBezTo>
                  <a:lnTo>
                    <a:pt x="100803" y="1361327"/>
                  </a:lnTo>
                  <a:cubicBezTo>
                    <a:pt x="106023" y="1358415"/>
                    <a:pt x="111895" y="1356798"/>
                    <a:pt x="117685" y="1356636"/>
                  </a:cubicBezTo>
                  <a:close/>
                  <a:moveTo>
                    <a:pt x="883514" y="1356634"/>
                  </a:moveTo>
                  <a:cubicBezTo>
                    <a:pt x="889289" y="1356473"/>
                    <a:pt x="894982" y="1357767"/>
                    <a:pt x="899862" y="1360679"/>
                  </a:cubicBezTo>
                  <a:lnTo>
                    <a:pt x="986398" y="1409213"/>
                  </a:lnTo>
                  <a:cubicBezTo>
                    <a:pt x="998760" y="1415684"/>
                    <a:pt x="998110" y="1433156"/>
                    <a:pt x="986398" y="1440274"/>
                  </a:cubicBezTo>
                  <a:lnTo>
                    <a:pt x="893355" y="1494633"/>
                  </a:lnTo>
                  <a:cubicBezTo>
                    <a:pt x="883596" y="1500457"/>
                    <a:pt x="870583" y="1501104"/>
                    <a:pt x="860172" y="1494633"/>
                  </a:cubicBezTo>
                  <a:lnTo>
                    <a:pt x="775588" y="1446746"/>
                  </a:lnTo>
                  <a:cubicBezTo>
                    <a:pt x="763226" y="1439627"/>
                    <a:pt x="763877" y="1422802"/>
                    <a:pt x="775588" y="1415684"/>
                  </a:cubicBezTo>
                  <a:lnTo>
                    <a:pt x="866679" y="1361326"/>
                  </a:lnTo>
                  <a:cubicBezTo>
                    <a:pt x="871884" y="1358414"/>
                    <a:pt x="877740" y="1356796"/>
                    <a:pt x="883514" y="1356634"/>
                  </a:cubicBezTo>
                  <a:close/>
                  <a:moveTo>
                    <a:pt x="500432" y="1350483"/>
                  </a:moveTo>
                  <a:cubicBezTo>
                    <a:pt x="506207" y="1350402"/>
                    <a:pt x="511900" y="1351707"/>
                    <a:pt x="516780" y="1354319"/>
                  </a:cubicBezTo>
                  <a:lnTo>
                    <a:pt x="603316" y="1402631"/>
                  </a:lnTo>
                  <a:cubicBezTo>
                    <a:pt x="615678" y="1409813"/>
                    <a:pt x="615028" y="1427440"/>
                    <a:pt x="602665" y="1434622"/>
                  </a:cubicBezTo>
                  <a:lnTo>
                    <a:pt x="510273" y="1489464"/>
                  </a:lnTo>
                  <a:cubicBezTo>
                    <a:pt x="499863" y="1495339"/>
                    <a:pt x="486850" y="1495339"/>
                    <a:pt x="477090" y="1490116"/>
                  </a:cubicBezTo>
                  <a:lnTo>
                    <a:pt x="392506" y="1441151"/>
                  </a:lnTo>
                  <a:cubicBezTo>
                    <a:pt x="380144" y="1434622"/>
                    <a:pt x="380795" y="1416994"/>
                    <a:pt x="392506" y="1409813"/>
                  </a:cubicBezTo>
                  <a:lnTo>
                    <a:pt x="483597" y="1354972"/>
                  </a:lnTo>
                  <a:cubicBezTo>
                    <a:pt x="488802" y="1352034"/>
                    <a:pt x="494658" y="1350565"/>
                    <a:pt x="500432" y="1350483"/>
                  </a:cubicBezTo>
                  <a:close/>
                  <a:moveTo>
                    <a:pt x="1459575" y="1247184"/>
                  </a:moveTo>
                  <a:cubicBezTo>
                    <a:pt x="1465350" y="1247022"/>
                    <a:pt x="1471043" y="1248316"/>
                    <a:pt x="1475923" y="1251228"/>
                  </a:cubicBezTo>
                  <a:lnTo>
                    <a:pt x="1562459" y="1299762"/>
                  </a:lnTo>
                  <a:cubicBezTo>
                    <a:pt x="1574821" y="1305586"/>
                    <a:pt x="1574171" y="1323059"/>
                    <a:pt x="1562459" y="1330824"/>
                  </a:cubicBezTo>
                  <a:lnTo>
                    <a:pt x="1469416" y="1385182"/>
                  </a:lnTo>
                  <a:cubicBezTo>
                    <a:pt x="1459657" y="1391006"/>
                    <a:pt x="1446644" y="1391653"/>
                    <a:pt x="1436233" y="1385182"/>
                  </a:cubicBezTo>
                  <a:lnTo>
                    <a:pt x="1351649" y="1336648"/>
                  </a:lnTo>
                  <a:cubicBezTo>
                    <a:pt x="1339287" y="1330177"/>
                    <a:pt x="1339938" y="1313352"/>
                    <a:pt x="1351649" y="1305586"/>
                  </a:cubicBezTo>
                  <a:lnTo>
                    <a:pt x="1442740" y="1251875"/>
                  </a:lnTo>
                  <a:cubicBezTo>
                    <a:pt x="1447945" y="1248963"/>
                    <a:pt x="1453801" y="1247345"/>
                    <a:pt x="1459575" y="1247184"/>
                  </a:cubicBezTo>
                  <a:close/>
                  <a:moveTo>
                    <a:pt x="307452" y="1241188"/>
                  </a:moveTo>
                  <a:cubicBezTo>
                    <a:pt x="313227" y="1241106"/>
                    <a:pt x="318920" y="1242569"/>
                    <a:pt x="323800" y="1245494"/>
                  </a:cubicBezTo>
                  <a:lnTo>
                    <a:pt x="410336" y="1293592"/>
                  </a:lnTo>
                  <a:cubicBezTo>
                    <a:pt x="422698" y="1300742"/>
                    <a:pt x="422048" y="1318292"/>
                    <a:pt x="410336" y="1325441"/>
                  </a:cubicBezTo>
                  <a:lnTo>
                    <a:pt x="317293" y="1380040"/>
                  </a:lnTo>
                  <a:cubicBezTo>
                    <a:pt x="307534" y="1385890"/>
                    <a:pt x="294521" y="1385890"/>
                    <a:pt x="284110" y="1380690"/>
                  </a:cubicBezTo>
                  <a:lnTo>
                    <a:pt x="199526" y="1331941"/>
                  </a:lnTo>
                  <a:cubicBezTo>
                    <a:pt x="187164" y="1324791"/>
                    <a:pt x="187815" y="1307892"/>
                    <a:pt x="199526" y="1300742"/>
                  </a:cubicBezTo>
                  <a:lnTo>
                    <a:pt x="290617" y="1246144"/>
                  </a:lnTo>
                  <a:cubicBezTo>
                    <a:pt x="295822" y="1242894"/>
                    <a:pt x="301678" y="1241269"/>
                    <a:pt x="307452" y="1241188"/>
                  </a:cubicBezTo>
                  <a:close/>
                  <a:moveTo>
                    <a:pt x="1076251" y="1241187"/>
                  </a:moveTo>
                  <a:cubicBezTo>
                    <a:pt x="1081944" y="1241105"/>
                    <a:pt x="1087637" y="1242568"/>
                    <a:pt x="1092842" y="1245493"/>
                  </a:cubicBezTo>
                  <a:lnTo>
                    <a:pt x="1179378" y="1293591"/>
                  </a:lnTo>
                  <a:cubicBezTo>
                    <a:pt x="1191740" y="1300741"/>
                    <a:pt x="1191090" y="1318291"/>
                    <a:pt x="1178727" y="1325440"/>
                  </a:cubicBezTo>
                  <a:lnTo>
                    <a:pt x="1086335" y="1380039"/>
                  </a:lnTo>
                  <a:cubicBezTo>
                    <a:pt x="1075925" y="1385889"/>
                    <a:pt x="1062912" y="1385889"/>
                    <a:pt x="1053152" y="1380689"/>
                  </a:cubicBezTo>
                  <a:lnTo>
                    <a:pt x="968568" y="1331940"/>
                  </a:lnTo>
                  <a:cubicBezTo>
                    <a:pt x="956206" y="1324790"/>
                    <a:pt x="956857" y="1307891"/>
                    <a:pt x="968568" y="1300741"/>
                  </a:cubicBezTo>
                  <a:lnTo>
                    <a:pt x="1059659" y="1246143"/>
                  </a:lnTo>
                  <a:cubicBezTo>
                    <a:pt x="1064864" y="1242893"/>
                    <a:pt x="1070557" y="1241268"/>
                    <a:pt x="1076251" y="1241187"/>
                  </a:cubicBezTo>
                  <a:close/>
                  <a:moveTo>
                    <a:pt x="693746" y="1238226"/>
                  </a:moveTo>
                  <a:cubicBezTo>
                    <a:pt x="699536" y="1238226"/>
                    <a:pt x="705245" y="1239689"/>
                    <a:pt x="710138" y="1242614"/>
                  </a:cubicBezTo>
                  <a:lnTo>
                    <a:pt x="796914" y="1290712"/>
                  </a:lnTo>
                  <a:cubicBezTo>
                    <a:pt x="808658" y="1297212"/>
                    <a:pt x="808658" y="1314761"/>
                    <a:pt x="796261" y="1321911"/>
                  </a:cubicBezTo>
                  <a:lnTo>
                    <a:pt x="703614" y="1376509"/>
                  </a:lnTo>
                  <a:cubicBezTo>
                    <a:pt x="693175" y="1383009"/>
                    <a:pt x="680126" y="1383009"/>
                    <a:pt x="670339" y="1377159"/>
                  </a:cubicBezTo>
                  <a:lnTo>
                    <a:pt x="584869" y="1328411"/>
                  </a:lnTo>
                  <a:cubicBezTo>
                    <a:pt x="573125" y="1321911"/>
                    <a:pt x="573125" y="1304361"/>
                    <a:pt x="584869" y="1297212"/>
                  </a:cubicBezTo>
                  <a:lnTo>
                    <a:pt x="676864" y="1242614"/>
                  </a:lnTo>
                  <a:cubicBezTo>
                    <a:pt x="682084" y="1239689"/>
                    <a:pt x="687956" y="1238226"/>
                    <a:pt x="693746" y="1238226"/>
                  </a:cubicBezTo>
                  <a:close/>
                  <a:moveTo>
                    <a:pt x="1649432" y="1134616"/>
                  </a:moveTo>
                  <a:cubicBezTo>
                    <a:pt x="1655125" y="1134535"/>
                    <a:pt x="1660818" y="1135997"/>
                    <a:pt x="1666023" y="1138922"/>
                  </a:cubicBezTo>
                  <a:lnTo>
                    <a:pt x="1752559" y="1187020"/>
                  </a:lnTo>
                  <a:cubicBezTo>
                    <a:pt x="1764921" y="1194170"/>
                    <a:pt x="1764271" y="1211720"/>
                    <a:pt x="1751908" y="1218869"/>
                  </a:cubicBezTo>
                  <a:lnTo>
                    <a:pt x="1659516" y="1273467"/>
                  </a:lnTo>
                  <a:cubicBezTo>
                    <a:pt x="1649106" y="1279317"/>
                    <a:pt x="1636093" y="1279317"/>
                    <a:pt x="1625683" y="1274117"/>
                  </a:cubicBezTo>
                  <a:lnTo>
                    <a:pt x="1541749" y="1225369"/>
                  </a:lnTo>
                  <a:cubicBezTo>
                    <a:pt x="1529387" y="1218219"/>
                    <a:pt x="1530038" y="1201320"/>
                    <a:pt x="1541749" y="1194170"/>
                  </a:cubicBezTo>
                  <a:lnTo>
                    <a:pt x="1632840" y="1139572"/>
                  </a:lnTo>
                  <a:cubicBezTo>
                    <a:pt x="1638045" y="1136322"/>
                    <a:pt x="1643738" y="1134697"/>
                    <a:pt x="1649432" y="1134616"/>
                  </a:cubicBezTo>
                  <a:close/>
                  <a:moveTo>
                    <a:pt x="500431" y="1128774"/>
                  </a:moveTo>
                  <a:cubicBezTo>
                    <a:pt x="506206" y="1128774"/>
                    <a:pt x="511899" y="1130237"/>
                    <a:pt x="516779" y="1133162"/>
                  </a:cubicBezTo>
                  <a:lnTo>
                    <a:pt x="603315" y="1181260"/>
                  </a:lnTo>
                  <a:cubicBezTo>
                    <a:pt x="615677" y="1187760"/>
                    <a:pt x="615027" y="1205309"/>
                    <a:pt x="602664" y="1212459"/>
                  </a:cubicBezTo>
                  <a:lnTo>
                    <a:pt x="510272" y="1267057"/>
                  </a:lnTo>
                  <a:cubicBezTo>
                    <a:pt x="499862" y="1273557"/>
                    <a:pt x="486849" y="1273557"/>
                    <a:pt x="477089" y="1267707"/>
                  </a:cubicBezTo>
                  <a:lnTo>
                    <a:pt x="392505" y="1218959"/>
                  </a:lnTo>
                  <a:cubicBezTo>
                    <a:pt x="380143" y="1212459"/>
                    <a:pt x="380794" y="1194909"/>
                    <a:pt x="392505" y="1187760"/>
                  </a:cubicBezTo>
                  <a:lnTo>
                    <a:pt x="483596" y="1133162"/>
                  </a:lnTo>
                  <a:cubicBezTo>
                    <a:pt x="488801" y="1130237"/>
                    <a:pt x="494657" y="1128774"/>
                    <a:pt x="500431" y="1128774"/>
                  </a:cubicBezTo>
                  <a:close/>
                  <a:moveTo>
                    <a:pt x="1266682" y="1128773"/>
                  </a:moveTo>
                  <a:cubicBezTo>
                    <a:pt x="1272391" y="1128773"/>
                    <a:pt x="1278100" y="1130236"/>
                    <a:pt x="1283319" y="1133161"/>
                  </a:cubicBezTo>
                  <a:lnTo>
                    <a:pt x="1370095" y="1181259"/>
                  </a:lnTo>
                  <a:cubicBezTo>
                    <a:pt x="1381839" y="1187759"/>
                    <a:pt x="1381839" y="1205308"/>
                    <a:pt x="1369442" y="1212458"/>
                  </a:cubicBezTo>
                  <a:lnTo>
                    <a:pt x="1276795" y="1267056"/>
                  </a:lnTo>
                  <a:cubicBezTo>
                    <a:pt x="1266356" y="1273556"/>
                    <a:pt x="1253307" y="1273556"/>
                    <a:pt x="1242868" y="1267706"/>
                  </a:cubicBezTo>
                  <a:lnTo>
                    <a:pt x="1158050" y="1218958"/>
                  </a:lnTo>
                  <a:cubicBezTo>
                    <a:pt x="1146306" y="1212458"/>
                    <a:pt x="1146306" y="1194908"/>
                    <a:pt x="1158050" y="1187759"/>
                  </a:cubicBezTo>
                  <a:lnTo>
                    <a:pt x="1250045" y="1133161"/>
                  </a:lnTo>
                  <a:cubicBezTo>
                    <a:pt x="1255264" y="1130236"/>
                    <a:pt x="1260973" y="1128773"/>
                    <a:pt x="1266682" y="1128773"/>
                  </a:cubicBezTo>
                  <a:close/>
                  <a:moveTo>
                    <a:pt x="883513" y="1125894"/>
                  </a:moveTo>
                  <a:cubicBezTo>
                    <a:pt x="889288" y="1125732"/>
                    <a:pt x="894981" y="1127032"/>
                    <a:pt x="899861" y="1129632"/>
                  </a:cubicBezTo>
                  <a:lnTo>
                    <a:pt x="986397" y="1178380"/>
                  </a:lnTo>
                  <a:cubicBezTo>
                    <a:pt x="998759" y="1185530"/>
                    <a:pt x="998109" y="1203080"/>
                    <a:pt x="986397" y="1210229"/>
                  </a:cubicBezTo>
                  <a:lnTo>
                    <a:pt x="893354" y="1264828"/>
                  </a:lnTo>
                  <a:cubicBezTo>
                    <a:pt x="883595" y="1270678"/>
                    <a:pt x="870582" y="1270678"/>
                    <a:pt x="860171" y="1264828"/>
                  </a:cubicBezTo>
                  <a:lnTo>
                    <a:pt x="775587" y="1216729"/>
                  </a:lnTo>
                  <a:cubicBezTo>
                    <a:pt x="763225" y="1209579"/>
                    <a:pt x="763876" y="1192030"/>
                    <a:pt x="775587" y="1184880"/>
                  </a:cubicBezTo>
                  <a:lnTo>
                    <a:pt x="866678" y="1130932"/>
                  </a:lnTo>
                  <a:cubicBezTo>
                    <a:pt x="871883" y="1127682"/>
                    <a:pt x="877739" y="1126057"/>
                    <a:pt x="883513" y="1125894"/>
                  </a:cubicBezTo>
                  <a:close/>
                  <a:moveTo>
                    <a:pt x="1842422" y="1022122"/>
                  </a:moveTo>
                  <a:cubicBezTo>
                    <a:pt x="1848146" y="1022040"/>
                    <a:pt x="1853871" y="1023340"/>
                    <a:pt x="1859105" y="1025940"/>
                  </a:cubicBezTo>
                  <a:lnTo>
                    <a:pt x="1946120" y="1074039"/>
                  </a:lnTo>
                  <a:cubicBezTo>
                    <a:pt x="1957897" y="1081189"/>
                    <a:pt x="1957897" y="1098738"/>
                    <a:pt x="1945466" y="1105888"/>
                  </a:cubicBezTo>
                  <a:lnTo>
                    <a:pt x="1852562" y="1160486"/>
                  </a:lnTo>
                  <a:cubicBezTo>
                    <a:pt x="1842094" y="1166986"/>
                    <a:pt x="1829009" y="1166986"/>
                    <a:pt x="1818541" y="1161136"/>
                  </a:cubicBezTo>
                  <a:lnTo>
                    <a:pt x="1734143" y="1112388"/>
                  </a:lnTo>
                  <a:cubicBezTo>
                    <a:pt x="1722366" y="1105888"/>
                    <a:pt x="1722366" y="1088338"/>
                    <a:pt x="1734143" y="1081189"/>
                  </a:cubicBezTo>
                  <a:lnTo>
                    <a:pt x="1825738" y="1026590"/>
                  </a:lnTo>
                  <a:cubicBezTo>
                    <a:pt x="1830972" y="1023665"/>
                    <a:pt x="1836697" y="1022203"/>
                    <a:pt x="1842422" y="1022122"/>
                  </a:cubicBezTo>
                  <a:close/>
                  <a:moveTo>
                    <a:pt x="693745" y="1016760"/>
                  </a:moveTo>
                  <a:cubicBezTo>
                    <a:pt x="699535" y="1016599"/>
                    <a:pt x="705244" y="1017893"/>
                    <a:pt x="710137" y="1020805"/>
                  </a:cubicBezTo>
                  <a:lnTo>
                    <a:pt x="796913" y="1069339"/>
                  </a:lnTo>
                  <a:cubicBezTo>
                    <a:pt x="808657" y="1076457"/>
                    <a:pt x="808657" y="1093282"/>
                    <a:pt x="796260" y="1101048"/>
                  </a:cubicBezTo>
                  <a:lnTo>
                    <a:pt x="703613" y="1154758"/>
                  </a:lnTo>
                  <a:cubicBezTo>
                    <a:pt x="693174" y="1161230"/>
                    <a:pt x="680125" y="1161230"/>
                    <a:pt x="670338" y="1155406"/>
                  </a:cubicBezTo>
                  <a:lnTo>
                    <a:pt x="584868" y="1107519"/>
                  </a:lnTo>
                  <a:cubicBezTo>
                    <a:pt x="573124" y="1100400"/>
                    <a:pt x="573124" y="1082928"/>
                    <a:pt x="584868" y="1075810"/>
                  </a:cubicBezTo>
                  <a:lnTo>
                    <a:pt x="676863" y="1021452"/>
                  </a:lnTo>
                  <a:cubicBezTo>
                    <a:pt x="682082" y="1018540"/>
                    <a:pt x="687954" y="1016922"/>
                    <a:pt x="693745" y="1016760"/>
                  </a:cubicBezTo>
                  <a:close/>
                  <a:moveTo>
                    <a:pt x="1459575" y="1016759"/>
                  </a:moveTo>
                  <a:cubicBezTo>
                    <a:pt x="1465350" y="1016598"/>
                    <a:pt x="1471043" y="1017892"/>
                    <a:pt x="1475923" y="1020804"/>
                  </a:cubicBezTo>
                  <a:lnTo>
                    <a:pt x="1562459" y="1069338"/>
                  </a:lnTo>
                  <a:cubicBezTo>
                    <a:pt x="1574821" y="1076456"/>
                    <a:pt x="1574171" y="1093281"/>
                    <a:pt x="1562459" y="1101047"/>
                  </a:cubicBezTo>
                  <a:lnTo>
                    <a:pt x="1469416" y="1154757"/>
                  </a:lnTo>
                  <a:cubicBezTo>
                    <a:pt x="1459657" y="1161229"/>
                    <a:pt x="1446644" y="1161229"/>
                    <a:pt x="1436233" y="1155405"/>
                  </a:cubicBezTo>
                  <a:lnTo>
                    <a:pt x="1351649" y="1107518"/>
                  </a:lnTo>
                  <a:cubicBezTo>
                    <a:pt x="1339287" y="1100399"/>
                    <a:pt x="1339938" y="1082927"/>
                    <a:pt x="1351649" y="1075809"/>
                  </a:cubicBezTo>
                  <a:lnTo>
                    <a:pt x="1442740" y="1021451"/>
                  </a:lnTo>
                  <a:cubicBezTo>
                    <a:pt x="1447945" y="1018539"/>
                    <a:pt x="1453801" y="1016921"/>
                    <a:pt x="1459575" y="1016759"/>
                  </a:cubicBezTo>
                  <a:close/>
                  <a:moveTo>
                    <a:pt x="1076249" y="1011007"/>
                  </a:moveTo>
                  <a:cubicBezTo>
                    <a:pt x="1081943" y="1010845"/>
                    <a:pt x="1087636" y="1012145"/>
                    <a:pt x="1092841" y="1015070"/>
                  </a:cubicBezTo>
                  <a:lnTo>
                    <a:pt x="1179377" y="1063168"/>
                  </a:lnTo>
                  <a:cubicBezTo>
                    <a:pt x="1191739" y="1070318"/>
                    <a:pt x="1191089" y="1087868"/>
                    <a:pt x="1178726" y="1095017"/>
                  </a:cubicBezTo>
                  <a:lnTo>
                    <a:pt x="1086334" y="1148966"/>
                  </a:lnTo>
                  <a:cubicBezTo>
                    <a:pt x="1075924" y="1155466"/>
                    <a:pt x="1062911" y="1155466"/>
                    <a:pt x="1053151" y="1149616"/>
                  </a:cubicBezTo>
                  <a:lnTo>
                    <a:pt x="968567" y="1101517"/>
                  </a:lnTo>
                  <a:cubicBezTo>
                    <a:pt x="956205" y="1095017"/>
                    <a:pt x="956856" y="1076818"/>
                    <a:pt x="968567" y="1069668"/>
                  </a:cubicBezTo>
                  <a:lnTo>
                    <a:pt x="1059658" y="1015720"/>
                  </a:lnTo>
                  <a:cubicBezTo>
                    <a:pt x="1064863" y="1012795"/>
                    <a:pt x="1070556" y="1011170"/>
                    <a:pt x="1076249" y="1011007"/>
                  </a:cubicBezTo>
                  <a:close/>
                  <a:moveTo>
                    <a:pt x="2450028" y="912842"/>
                  </a:moveTo>
                  <a:cubicBezTo>
                    <a:pt x="2455821" y="912761"/>
                    <a:pt x="2461532" y="914233"/>
                    <a:pt x="2466428" y="917178"/>
                  </a:cubicBezTo>
                  <a:lnTo>
                    <a:pt x="2553241" y="965601"/>
                  </a:lnTo>
                  <a:cubicBezTo>
                    <a:pt x="2565642" y="972800"/>
                    <a:pt x="2564989" y="990468"/>
                    <a:pt x="2552588" y="997666"/>
                  </a:cubicBezTo>
                  <a:lnTo>
                    <a:pt x="1475592" y="1621286"/>
                  </a:lnTo>
                  <a:cubicBezTo>
                    <a:pt x="1465801" y="1627830"/>
                    <a:pt x="1452747" y="1627830"/>
                    <a:pt x="1442303" y="1621940"/>
                  </a:cubicBezTo>
                  <a:lnTo>
                    <a:pt x="1357449" y="1573517"/>
                  </a:lnTo>
                  <a:cubicBezTo>
                    <a:pt x="1345047" y="1566319"/>
                    <a:pt x="1345700" y="1548650"/>
                    <a:pt x="1357449" y="1541452"/>
                  </a:cubicBezTo>
                  <a:lnTo>
                    <a:pt x="2433139" y="917832"/>
                  </a:lnTo>
                  <a:cubicBezTo>
                    <a:pt x="2438361" y="914560"/>
                    <a:pt x="2444236" y="912924"/>
                    <a:pt x="2450028" y="912842"/>
                  </a:cubicBezTo>
                  <a:close/>
                  <a:moveTo>
                    <a:pt x="2032754" y="907308"/>
                  </a:moveTo>
                  <a:cubicBezTo>
                    <a:pt x="2038529" y="907146"/>
                    <a:pt x="2044222" y="908440"/>
                    <a:pt x="2049102" y="911352"/>
                  </a:cubicBezTo>
                  <a:lnTo>
                    <a:pt x="2135638" y="959886"/>
                  </a:lnTo>
                  <a:cubicBezTo>
                    <a:pt x="2148000" y="966357"/>
                    <a:pt x="2147350" y="983830"/>
                    <a:pt x="2135638" y="991595"/>
                  </a:cubicBezTo>
                  <a:lnTo>
                    <a:pt x="2042595" y="1045306"/>
                  </a:lnTo>
                  <a:cubicBezTo>
                    <a:pt x="2032836" y="1051777"/>
                    <a:pt x="2019823" y="1051777"/>
                    <a:pt x="2009412" y="1045953"/>
                  </a:cubicBezTo>
                  <a:lnTo>
                    <a:pt x="1924828" y="998066"/>
                  </a:lnTo>
                  <a:cubicBezTo>
                    <a:pt x="1912466" y="990948"/>
                    <a:pt x="1913117" y="973476"/>
                    <a:pt x="1924828" y="966357"/>
                  </a:cubicBezTo>
                  <a:lnTo>
                    <a:pt x="2015919" y="911999"/>
                  </a:lnTo>
                  <a:cubicBezTo>
                    <a:pt x="2021124" y="909087"/>
                    <a:pt x="2026980" y="907470"/>
                    <a:pt x="2032754" y="907308"/>
                  </a:cubicBezTo>
                  <a:close/>
                  <a:moveTo>
                    <a:pt x="883512" y="904111"/>
                  </a:moveTo>
                  <a:cubicBezTo>
                    <a:pt x="889287" y="903949"/>
                    <a:pt x="894980" y="905249"/>
                    <a:pt x="899860" y="907849"/>
                  </a:cubicBezTo>
                  <a:lnTo>
                    <a:pt x="986396" y="956597"/>
                  </a:lnTo>
                  <a:cubicBezTo>
                    <a:pt x="998758" y="963747"/>
                    <a:pt x="998108" y="981296"/>
                    <a:pt x="986396" y="987796"/>
                  </a:cubicBezTo>
                  <a:lnTo>
                    <a:pt x="893353" y="1042394"/>
                  </a:lnTo>
                  <a:cubicBezTo>
                    <a:pt x="883594" y="1048894"/>
                    <a:pt x="870581" y="1048894"/>
                    <a:pt x="860170" y="1043044"/>
                  </a:cubicBezTo>
                  <a:lnTo>
                    <a:pt x="775586" y="994946"/>
                  </a:lnTo>
                  <a:cubicBezTo>
                    <a:pt x="763224" y="987796"/>
                    <a:pt x="763875" y="970246"/>
                    <a:pt x="775586" y="963097"/>
                  </a:cubicBezTo>
                  <a:lnTo>
                    <a:pt x="866677" y="909149"/>
                  </a:lnTo>
                  <a:cubicBezTo>
                    <a:pt x="871882" y="905899"/>
                    <a:pt x="877738" y="904274"/>
                    <a:pt x="883512" y="904111"/>
                  </a:cubicBezTo>
                  <a:close/>
                  <a:moveTo>
                    <a:pt x="1649432" y="904110"/>
                  </a:moveTo>
                  <a:cubicBezTo>
                    <a:pt x="1655125" y="903948"/>
                    <a:pt x="1660818" y="905248"/>
                    <a:pt x="1666023" y="907848"/>
                  </a:cubicBezTo>
                  <a:lnTo>
                    <a:pt x="1752559" y="956596"/>
                  </a:lnTo>
                  <a:cubicBezTo>
                    <a:pt x="1764921" y="963746"/>
                    <a:pt x="1764271" y="981295"/>
                    <a:pt x="1751908" y="987795"/>
                  </a:cubicBezTo>
                  <a:lnTo>
                    <a:pt x="1659516" y="1042393"/>
                  </a:lnTo>
                  <a:cubicBezTo>
                    <a:pt x="1649106" y="1048893"/>
                    <a:pt x="1636093" y="1048893"/>
                    <a:pt x="1625683" y="1043043"/>
                  </a:cubicBezTo>
                  <a:lnTo>
                    <a:pt x="1541749" y="994945"/>
                  </a:lnTo>
                  <a:cubicBezTo>
                    <a:pt x="1529387" y="987795"/>
                    <a:pt x="1530038" y="970245"/>
                    <a:pt x="1541749" y="963096"/>
                  </a:cubicBezTo>
                  <a:lnTo>
                    <a:pt x="1632840" y="909148"/>
                  </a:lnTo>
                  <a:cubicBezTo>
                    <a:pt x="1638045" y="905898"/>
                    <a:pt x="1643738" y="904273"/>
                    <a:pt x="1649432" y="904110"/>
                  </a:cubicBezTo>
                  <a:close/>
                  <a:moveTo>
                    <a:pt x="1266681" y="898432"/>
                  </a:moveTo>
                  <a:cubicBezTo>
                    <a:pt x="1272390" y="898350"/>
                    <a:pt x="1278098" y="899813"/>
                    <a:pt x="1283318" y="902738"/>
                  </a:cubicBezTo>
                  <a:lnTo>
                    <a:pt x="1370094" y="950836"/>
                  </a:lnTo>
                  <a:cubicBezTo>
                    <a:pt x="1381838" y="957986"/>
                    <a:pt x="1381838" y="975535"/>
                    <a:pt x="1369441" y="982685"/>
                  </a:cubicBezTo>
                  <a:lnTo>
                    <a:pt x="1276794" y="1037283"/>
                  </a:lnTo>
                  <a:cubicBezTo>
                    <a:pt x="1266355" y="1043133"/>
                    <a:pt x="1253306" y="1043133"/>
                    <a:pt x="1242867" y="1037283"/>
                  </a:cubicBezTo>
                  <a:lnTo>
                    <a:pt x="1158049" y="989185"/>
                  </a:lnTo>
                  <a:cubicBezTo>
                    <a:pt x="1146305" y="982035"/>
                    <a:pt x="1146305" y="965135"/>
                    <a:pt x="1158049" y="957986"/>
                  </a:cubicBezTo>
                  <a:lnTo>
                    <a:pt x="1250044" y="903388"/>
                  </a:lnTo>
                  <a:cubicBezTo>
                    <a:pt x="1255264" y="900138"/>
                    <a:pt x="1260972" y="898513"/>
                    <a:pt x="1266681" y="898432"/>
                  </a:cubicBezTo>
                  <a:close/>
                  <a:moveTo>
                    <a:pt x="2608815" y="800737"/>
                  </a:moveTo>
                  <a:cubicBezTo>
                    <a:pt x="2614590" y="800575"/>
                    <a:pt x="2620283" y="801869"/>
                    <a:pt x="2625163" y="804781"/>
                  </a:cubicBezTo>
                  <a:lnTo>
                    <a:pt x="2711699" y="853315"/>
                  </a:lnTo>
                  <a:cubicBezTo>
                    <a:pt x="2724061" y="859786"/>
                    <a:pt x="2723411" y="877905"/>
                    <a:pt x="2711699" y="885023"/>
                  </a:cubicBezTo>
                  <a:lnTo>
                    <a:pt x="2618656" y="938734"/>
                  </a:lnTo>
                  <a:cubicBezTo>
                    <a:pt x="2608897" y="945205"/>
                    <a:pt x="2595884" y="945205"/>
                    <a:pt x="2585473" y="939381"/>
                  </a:cubicBezTo>
                  <a:lnTo>
                    <a:pt x="2500889" y="891495"/>
                  </a:lnTo>
                  <a:cubicBezTo>
                    <a:pt x="2488527" y="884376"/>
                    <a:pt x="2489178" y="866904"/>
                    <a:pt x="2500889" y="859786"/>
                  </a:cubicBezTo>
                  <a:lnTo>
                    <a:pt x="2591980" y="805428"/>
                  </a:lnTo>
                  <a:cubicBezTo>
                    <a:pt x="2597185" y="802516"/>
                    <a:pt x="2603041" y="800898"/>
                    <a:pt x="2608815" y="800737"/>
                  </a:cubicBezTo>
                  <a:close/>
                  <a:moveTo>
                    <a:pt x="2225492" y="794740"/>
                  </a:moveTo>
                  <a:cubicBezTo>
                    <a:pt x="2231185" y="794659"/>
                    <a:pt x="2236878" y="796121"/>
                    <a:pt x="2242083" y="799046"/>
                  </a:cubicBezTo>
                  <a:lnTo>
                    <a:pt x="2328619" y="847144"/>
                  </a:lnTo>
                  <a:cubicBezTo>
                    <a:pt x="2340981" y="854294"/>
                    <a:pt x="2340331" y="871844"/>
                    <a:pt x="2327968" y="878343"/>
                  </a:cubicBezTo>
                  <a:lnTo>
                    <a:pt x="2235576" y="932941"/>
                  </a:lnTo>
                  <a:cubicBezTo>
                    <a:pt x="2225166" y="939441"/>
                    <a:pt x="2212153" y="939441"/>
                    <a:pt x="2201743" y="933591"/>
                  </a:cubicBezTo>
                  <a:lnTo>
                    <a:pt x="2117809" y="885493"/>
                  </a:lnTo>
                  <a:cubicBezTo>
                    <a:pt x="2105447" y="878343"/>
                    <a:pt x="2106098" y="860794"/>
                    <a:pt x="2117809" y="853644"/>
                  </a:cubicBezTo>
                  <a:lnTo>
                    <a:pt x="2208900" y="799696"/>
                  </a:lnTo>
                  <a:cubicBezTo>
                    <a:pt x="2214105" y="796446"/>
                    <a:pt x="2219798" y="794821"/>
                    <a:pt x="2225492" y="794740"/>
                  </a:cubicBezTo>
                  <a:close/>
                  <a:moveTo>
                    <a:pt x="1076248" y="791861"/>
                  </a:moveTo>
                  <a:cubicBezTo>
                    <a:pt x="1081942" y="791779"/>
                    <a:pt x="1087635" y="793242"/>
                    <a:pt x="1092840" y="796167"/>
                  </a:cubicBezTo>
                  <a:lnTo>
                    <a:pt x="1179376" y="844265"/>
                  </a:lnTo>
                  <a:cubicBezTo>
                    <a:pt x="1191738" y="851415"/>
                    <a:pt x="1191088" y="868315"/>
                    <a:pt x="1178725" y="876114"/>
                  </a:cubicBezTo>
                  <a:lnTo>
                    <a:pt x="1086333" y="930713"/>
                  </a:lnTo>
                  <a:cubicBezTo>
                    <a:pt x="1075923" y="936563"/>
                    <a:pt x="1062910" y="936563"/>
                    <a:pt x="1053150" y="930713"/>
                  </a:cubicBezTo>
                  <a:lnTo>
                    <a:pt x="968566" y="882614"/>
                  </a:lnTo>
                  <a:cubicBezTo>
                    <a:pt x="956204" y="875464"/>
                    <a:pt x="956855" y="858565"/>
                    <a:pt x="968566" y="851415"/>
                  </a:cubicBezTo>
                  <a:lnTo>
                    <a:pt x="1059657" y="796817"/>
                  </a:lnTo>
                  <a:cubicBezTo>
                    <a:pt x="1064862" y="793567"/>
                    <a:pt x="1070555" y="791942"/>
                    <a:pt x="1076248" y="791861"/>
                  </a:cubicBezTo>
                  <a:close/>
                  <a:moveTo>
                    <a:pt x="1842422" y="791860"/>
                  </a:moveTo>
                  <a:cubicBezTo>
                    <a:pt x="1848146" y="791778"/>
                    <a:pt x="1853871" y="793241"/>
                    <a:pt x="1859105" y="796166"/>
                  </a:cubicBezTo>
                  <a:lnTo>
                    <a:pt x="1946120" y="844264"/>
                  </a:lnTo>
                  <a:cubicBezTo>
                    <a:pt x="1957897" y="851414"/>
                    <a:pt x="1957897" y="868314"/>
                    <a:pt x="1945466" y="876113"/>
                  </a:cubicBezTo>
                  <a:lnTo>
                    <a:pt x="1852562" y="930712"/>
                  </a:lnTo>
                  <a:cubicBezTo>
                    <a:pt x="1842094" y="936562"/>
                    <a:pt x="1829009" y="936562"/>
                    <a:pt x="1818541" y="930712"/>
                  </a:cubicBezTo>
                  <a:lnTo>
                    <a:pt x="1734143" y="882613"/>
                  </a:lnTo>
                  <a:cubicBezTo>
                    <a:pt x="1722366" y="875463"/>
                    <a:pt x="1722366" y="858564"/>
                    <a:pt x="1734143" y="851414"/>
                  </a:cubicBezTo>
                  <a:lnTo>
                    <a:pt x="1825738" y="796816"/>
                  </a:lnTo>
                  <a:cubicBezTo>
                    <a:pt x="1830972" y="793566"/>
                    <a:pt x="1836697" y="791941"/>
                    <a:pt x="1842422" y="791860"/>
                  </a:cubicBezTo>
                  <a:close/>
                  <a:moveTo>
                    <a:pt x="1459574" y="785938"/>
                  </a:moveTo>
                  <a:cubicBezTo>
                    <a:pt x="1465349" y="785857"/>
                    <a:pt x="1471042" y="787157"/>
                    <a:pt x="1475922" y="789757"/>
                  </a:cubicBezTo>
                  <a:lnTo>
                    <a:pt x="1562458" y="837855"/>
                  </a:lnTo>
                  <a:cubicBezTo>
                    <a:pt x="1574820" y="845005"/>
                    <a:pt x="1574170" y="862555"/>
                    <a:pt x="1562458" y="869704"/>
                  </a:cubicBezTo>
                  <a:lnTo>
                    <a:pt x="1469415" y="924303"/>
                  </a:lnTo>
                  <a:cubicBezTo>
                    <a:pt x="1459656" y="930803"/>
                    <a:pt x="1446643" y="930803"/>
                    <a:pt x="1436232" y="924953"/>
                  </a:cubicBezTo>
                  <a:lnTo>
                    <a:pt x="1351648" y="876204"/>
                  </a:lnTo>
                  <a:cubicBezTo>
                    <a:pt x="1339286" y="869054"/>
                    <a:pt x="1339937" y="852155"/>
                    <a:pt x="1351648" y="845005"/>
                  </a:cubicBezTo>
                  <a:lnTo>
                    <a:pt x="1442739" y="790407"/>
                  </a:lnTo>
                  <a:cubicBezTo>
                    <a:pt x="1447944" y="787482"/>
                    <a:pt x="1453800" y="786019"/>
                    <a:pt x="1459574" y="785938"/>
                  </a:cubicBezTo>
                  <a:close/>
                  <a:moveTo>
                    <a:pt x="2801553" y="688169"/>
                  </a:moveTo>
                  <a:cubicBezTo>
                    <a:pt x="2807246" y="688088"/>
                    <a:pt x="2812939" y="689550"/>
                    <a:pt x="2818144" y="692475"/>
                  </a:cubicBezTo>
                  <a:lnTo>
                    <a:pt x="2904680" y="740574"/>
                  </a:lnTo>
                  <a:cubicBezTo>
                    <a:pt x="2917042" y="747724"/>
                    <a:pt x="2916392" y="765273"/>
                    <a:pt x="2904029" y="771773"/>
                  </a:cubicBezTo>
                  <a:lnTo>
                    <a:pt x="2811637" y="826371"/>
                  </a:lnTo>
                  <a:cubicBezTo>
                    <a:pt x="2801227" y="832871"/>
                    <a:pt x="2788214" y="832871"/>
                    <a:pt x="2777804" y="827021"/>
                  </a:cubicBezTo>
                  <a:lnTo>
                    <a:pt x="2693870" y="778273"/>
                  </a:lnTo>
                  <a:cubicBezTo>
                    <a:pt x="2681508" y="771773"/>
                    <a:pt x="2681508" y="754223"/>
                    <a:pt x="2693870" y="747074"/>
                  </a:cubicBezTo>
                  <a:lnTo>
                    <a:pt x="2784961" y="693125"/>
                  </a:lnTo>
                  <a:cubicBezTo>
                    <a:pt x="2790166" y="689875"/>
                    <a:pt x="2795859" y="688250"/>
                    <a:pt x="2801553" y="688169"/>
                  </a:cubicBezTo>
                  <a:close/>
                  <a:moveTo>
                    <a:pt x="2418803" y="682409"/>
                  </a:moveTo>
                  <a:cubicBezTo>
                    <a:pt x="2424512" y="682328"/>
                    <a:pt x="2430221" y="683790"/>
                    <a:pt x="2435440" y="686715"/>
                  </a:cubicBezTo>
                  <a:lnTo>
                    <a:pt x="2522216" y="734814"/>
                  </a:lnTo>
                  <a:cubicBezTo>
                    <a:pt x="2533960" y="741314"/>
                    <a:pt x="2533960" y="759513"/>
                    <a:pt x="2521563" y="766663"/>
                  </a:cubicBezTo>
                  <a:lnTo>
                    <a:pt x="2428916" y="821261"/>
                  </a:lnTo>
                  <a:cubicBezTo>
                    <a:pt x="2418477" y="827111"/>
                    <a:pt x="2405428" y="827111"/>
                    <a:pt x="2394989" y="821261"/>
                  </a:cubicBezTo>
                  <a:lnTo>
                    <a:pt x="2310171" y="773163"/>
                  </a:lnTo>
                  <a:cubicBezTo>
                    <a:pt x="2298427" y="766013"/>
                    <a:pt x="2298427" y="749113"/>
                    <a:pt x="2310171" y="741314"/>
                  </a:cubicBezTo>
                  <a:lnTo>
                    <a:pt x="2402166" y="687365"/>
                  </a:lnTo>
                  <a:cubicBezTo>
                    <a:pt x="2407385" y="684115"/>
                    <a:pt x="2413094" y="682490"/>
                    <a:pt x="2418803" y="682409"/>
                  </a:cubicBezTo>
                  <a:close/>
                  <a:moveTo>
                    <a:pt x="1266680" y="676649"/>
                  </a:moveTo>
                  <a:cubicBezTo>
                    <a:pt x="1272389" y="676567"/>
                    <a:pt x="1278097" y="678030"/>
                    <a:pt x="1283317" y="680955"/>
                  </a:cubicBezTo>
                  <a:lnTo>
                    <a:pt x="1370093" y="729053"/>
                  </a:lnTo>
                  <a:cubicBezTo>
                    <a:pt x="1381837" y="736203"/>
                    <a:pt x="1381837" y="753753"/>
                    <a:pt x="1369440" y="760902"/>
                  </a:cubicBezTo>
                  <a:lnTo>
                    <a:pt x="1276793" y="815501"/>
                  </a:lnTo>
                  <a:cubicBezTo>
                    <a:pt x="1266354" y="821351"/>
                    <a:pt x="1253305" y="821351"/>
                    <a:pt x="1242866" y="816151"/>
                  </a:cubicBezTo>
                  <a:lnTo>
                    <a:pt x="1158048" y="767402"/>
                  </a:lnTo>
                  <a:cubicBezTo>
                    <a:pt x="1146304" y="760252"/>
                    <a:pt x="1146304" y="743353"/>
                    <a:pt x="1158048" y="736203"/>
                  </a:cubicBezTo>
                  <a:lnTo>
                    <a:pt x="1250043" y="681605"/>
                  </a:lnTo>
                  <a:cubicBezTo>
                    <a:pt x="1255263" y="678355"/>
                    <a:pt x="1260971" y="676730"/>
                    <a:pt x="1266680" y="676649"/>
                  </a:cubicBezTo>
                  <a:close/>
                  <a:moveTo>
                    <a:pt x="2032754" y="676648"/>
                  </a:moveTo>
                  <a:cubicBezTo>
                    <a:pt x="2038529" y="676566"/>
                    <a:pt x="2044222" y="678029"/>
                    <a:pt x="2049102" y="680954"/>
                  </a:cubicBezTo>
                  <a:lnTo>
                    <a:pt x="2135638" y="729052"/>
                  </a:lnTo>
                  <a:cubicBezTo>
                    <a:pt x="2148000" y="736202"/>
                    <a:pt x="2147350" y="753752"/>
                    <a:pt x="2135638" y="760901"/>
                  </a:cubicBezTo>
                  <a:lnTo>
                    <a:pt x="2042595" y="815500"/>
                  </a:lnTo>
                  <a:cubicBezTo>
                    <a:pt x="2032836" y="821350"/>
                    <a:pt x="2019823" y="821350"/>
                    <a:pt x="2009412" y="816150"/>
                  </a:cubicBezTo>
                  <a:lnTo>
                    <a:pt x="1924828" y="767401"/>
                  </a:lnTo>
                  <a:cubicBezTo>
                    <a:pt x="1912466" y="760251"/>
                    <a:pt x="1913117" y="743352"/>
                    <a:pt x="1924828" y="736202"/>
                  </a:cubicBezTo>
                  <a:lnTo>
                    <a:pt x="2015919" y="681604"/>
                  </a:lnTo>
                  <a:cubicBezTo>
                    <a:pt x="2021124" y="678354"/>
                    <a:pt x="2026980" y="676729"/>
                    <a:pt x="2032754" y="676648"/>
                  </a:cubicBezTo>
                  <a:close/>
                  <a:moveTo>
                    <a:pt x="1649431" y="674084"/>
                  </a:moveTo>
                  <a:cubicBezTo>
                    <a:pt x="1655124" y="674003"/>
                    <a:pt x="1660817" y="675459"/>
                    <a:pt x="1666022" y="678695"/>
                  </a:cubicBezTo>
                  <a:lnTo>
                    <a:pt x="1752558" y="726581"/>
                  </a:lnTo>
                  <a:cubicBezTo>
                    <a:pt x="1764920" y="733053"/>
                    <a:pt x="1764270" y="750525"/>
                    <a:pt x="1751907" y="757643"/>
                  </a:cubicBezTo>
                  <a:lnTo>
                    <a:pt x="1659515" y="812000"/>
                  </a:lnTo>
                  <a:cubicBezTo>
                    <a:pt x="1649105" y="818472"/>
                    <a:pt x="1636092" y="818472"/>
                    <a:pt x="1625682" y="812648"/>
                  </a:cubicBezTo>
                  <a:lnTo>
                    <a:pt x="1541748" y="764114"/>
                  </a:lnTo>
                  <a:cubicBezTo>
                    <a:pt x="1529386" y="757643"/>
                    <a:pt x="1530037" y="740171"/>
                    <a:pt x="1541748" y="733053"/>
                  </a:cubicBezTo>
                  <a:lnTo>
                    <a:pt x="1632839" y="678695"/>
                  </a:lnTo>
                  <a:cubicBezTo>
                    <a:pt x="1638044" y="675783"/>
                    <a:pt x="1643737" y="674165"/>
                    <a:pt x="1649431" y="674084"/>
                  </a:cubicBezTo>
                  <a:close/>
                  <a:moveTo>
                    <a:pt x="2991739" y="575837"/>
                  </a:moveTo>
                  <a:cubicBezTo>
                    <a:pt x="2997530" y="575756"/>
                    <a:pt x="3003402" y="577218"/>
                    <a:pt x="3008621" y="580143"/>
                  </a:cubicBezTo>
                  <a:lnTo>
                    <a:pt x="3095397" y="628241"/>
                  </a:lnTo>
                  <a:cubicBezTo>
                    <a:pt x="3107141" y="634741"/>
                    <a:pt x="3107141" y="652941"/>
                    <a:pt x="3094744" y="660090"/>
                  </a:cubicBezTo>
                  <a:lnTo>
                    <a:pt x="3002097" y="714688"/>
                  </a:lnTo>
                  <a:cubicBezTo>
                    <a:pt x="2991658" y="720538"/>
                    <a:pt x="2978609" y="720538"/>
                    <a:pt x="2968170" y="714688"/>
                  </a:cubicBezTo>
                  <a:lnTo>
                    <a:pt x="2883352" y="666590"/>
                  </a:lnTo>
                  <a:cubicBezTo>
                    <a:pt x="2871608" y="659440"/>
                    <a:pt x="2871608" y="642541"/>
                    <a:pt x="2883352" y="634741"/>
                  </a:cubicBezTo>
                  <a:lnTo>
                    <a:pt x="2975347" y="580793"/>
                  </a:lnTo>
                  <a:cubicBezTo>
                    <a:pt x="2980240" y="577543"/>
                    <a:pt x="2985949" y="575918"/>
                    <a:pt x="2991739" y="575837"/>
                  </a:cubicBezTo>
                  <a:close/>
                  <a:moveTo>
                    <a:pt x="2608815" y="570076"/>
                  </a:moveTo>
                  <a:cubicBezTo>
                    <a:pt x="2614590" y="569995"/>
                    <a:pt x="2620283" y="571457"/>
                    <a:pt x="2625163" y="574382"/>
                  </a:cubicBezTo>
                  <a:lnTo>
                    <a:pt x="2711699" y="622480"/>
                  </a:lnTo>
                  <a:cubicBezTo>
                    <a:pt x="2724061" y="629630"/>
                    <a:pt x="2723411" y="647180"/>
                    <a:pt x="2711699" y="654329"/>
                  </a:cubicBezTo>
                  <a:lnTo>
                    <a:pt x="2618656" y="708927"/>
                  </a:lnTo>
                  <a:cubicBezTo>
                    <a:pt x="2608897" y="714777"/>
                    <a:pt x="2595884" y="714777"/>
                    <a:pt x="2585473" y="708927"/>
                  </a:cubicBezTo>
                  <a:lnTo>
                    <a:pt x="2500889" y="660829"/>
                  </a:lnTo>
                  <a:cubicBezTo>
                    <a:pt x="2488527" y="653679"/>
                    <a:pt x="2489178" y="636780"/>
                    <a:pt x="2500889" y="629630"/>
                  </a:cubicBezTo>
                  <a:lnTo>
                    <a:pt x="2591980" y="575032"/>
                  </a:lnTo>
                  <a:cubicBezTo>
                    <a:pt x="2597185" y="571782"/>
                    <a:pt x="2603041" y="570157"/>
                    <a:pt x="2608815" y="570076"/>
                  </a:cubicBezTo>
                  <a:close/>
                  <a:moveTo>
                    <a:pt x="1459573" y="564552"/>
                  </a:moveTo>
                  <a:cubicBezTo>
                    <a:pt x="1465348" y="564391"/>
                    <a:pt x="1471041" y="565685"/>
                    <a:pt x="1475921" y="568597"/>
                  </a:cubicBezTo>
                  <a:lnTo>
                    <a:pt x="1562457" y="617130"/>
                  </a:lnTo>
                  <a:cubicBezTo>
                    <a:pt x="1574819" y="623602"/>
                    <a:pt x="1574169" y="641074"/>
                    <a:pt x="1562457" y="648192"/>
                  </a:cubicBezTo>
                  <a:lnTo>
                    <a:pt x="1469414" y="702549"/>
                  </a:lnTo>
                  <a:cubicBezTo>
                    <a:pt x="1459655" y="709021"/>
                    <a:pt x="1446642" y="709021"/>
                    <a:pt x="1436231" y="703197"/>
                  </a:cubicBezTo>
                  <a:lnTo>
                    <a:pt x="1351647" y="654663"/>
                  </a:lnTo>
                  <a:cubicBezTo>
                    <a:pt x="1339285" y="648192"/>
                    <a:pt x="1339936" y="630720"/>
                    <a:pt x="1351647" y="623602"/>
                  </a:cubicBezTo>
                  <a:lnTo>
                    <a:pt x="1442738" y="569244"/>
                  </a:lnTo>
                  <a:cubicBezTo>
                    <a:pt x="1447943" y="566332"/>
                    <a:pt x="1453799" y="564714"/>
                    <a:pt x="1459573" y="564552"/>
                  </a:cubicBezTo>
                  <a:close/>
                  <a:moveTo>
                    <a:pt x="2225491" y="564551"/>
                  </a:moveTo>
                  <a:cubicBezTo>
                    <a:pt x="2231185" y="564390"/>
                    <a:pt x="2236878" y="565684"/>
                    <a:pt x="2242083" y="568596"/>
                  </a:cubicBezTo>
                  <a:lnTo>
                    <a:pt x="2328619" y="617129"/>
                  </a:lnTo>
                  <a:cubicBezTo>
                    <a:pt x="2340981" y="623601"/>
                    <a:pt x="2340331" y="641073"/>
                    <a:pt x="2327968" y="648191"/>
                  </a:cubicBezTo>
                  <a:lnTo>
                    <a:pt x="2235576" y="702548"/>
                  </a:lnTo>
                  <a:cubicBezTo>
                    <a:pt x="2225166" y="709020"/>
                    <a:pt x="2212153" y="709020"/>
                    <a:pt x="2201743" y="703196"/>
                  </a:cubicBezTo>
                  <a:lnTo>
                    <a:pt x="2117809" y="654662"/>
                  </a:lnTo>
                  <a:cubicBezTo>
                    <a:pt x="2105447" y="648191"/>
                    <a:pt x="2106098" y="630719"/>
                    <a:pt x="2117809" y="623601"/>
                  </a:cubicBezTo>
                  <a:lnTo>
                    <a:pt x="2208900" y="569243"/>
                  </a:lnTo>
                  <a:cubicBezTo>
                    <a:pt x="2214105" y="566331"/>
                    <a:pt x="2219798" y="564713"/>
                    <a:pt x="2225491" y="564551"/>
                  </a:cubicBezTo>
                  <a:close/>
                  <a:moveTo>
                    <a:pt x="1842421" y="561274"/>
                  </a:moveTo>
                  <a:cubicBezTo>
                    <a:pt x="1848145" y="561193"/>
                    <a:pt x="1853870" y="562493"/>
                    <a:pt x="1859104" y="565093"/>
                  </a:cubicBezTo>
                  <a:lnTo>
                    <a:pt x="1946119" y="613841"/>
                  </a:lnTo>
                  <a:cubicBezTo>
                    <a:pt x="1957896" y="620991"/>
                    <a:pt x="1957896" y="637891"/>
                    <a:pt x="1945465" y="645690"/>
                  </a:cubicBezTo>
                  <a:lnTo>
                    <a:pt x="1852561" y="699639"/>
                  </a:lnTo>
                  <a:cubicBezTo>
                    <a:pt x="1842093" y="706139"/>
                    <a:pt x="1829008" y="706139"/>
                    <a:pt x="1818540" y="700289"/>
                  </a:cubicBezTo>
                  <a:lnTo>
                    <a:pt x="1734142" y="652190"/>
                  </a:lnTo>
                  <a:cubicBezTo>
                    <a:pt x="1722365" y="645040"/>
                    <a:pt x="1722365" y="627491"/>
                    <a:pt x="1734142" y="620341"/>
                  </a:cubicBezTo>
                  <a:lnTo>
                    <a:pt x="1825737" y="565743"/>
                  </a:lnTo>
                  <a:cubicBezTo>
                    <a:pt x="1830971" y="562818"/>
                    <a:pt x="1836696" y="561355"/>
                    <a:pt x="1842421" y="561274"/>
                  </a:cubicBezTo>
                  <a:close/>
                  <a:moveTo>
                    <a:pt x="3184875" y="463507"/>
                  </a:moveTo>
                  <a:cubicBezTo>
                    <a:pt x="3190650" y="463426"/>
                    <a:pt x="3196343" y="464888"/>
                    <a:pt x="3201223" y="467813"/>
                  </a:cubicBezTo>
                  <a:lnTo>
                    <a:pt x="3287759" y="515912"/>
                  </a:lnTo>
                  <a:cubicBezTo>
                    <a:pt x="3300121" y="523062"/>
                    <a:pt x="3299471" y="540611"/>
                    <a:pt x="3287759" y="547761"/>
                  </a:cubicBezTo>
                  <a:lnTo>
                    <a:pt x="3194716" y="602359"/>
                  </a:lnTo>
                  <a:cubicBezTo>
                    <a:pt x="3184957" y="608209"/>
                    <a:pt x="3171944" y="608209"/>
                    <a:pt x="3161533" y="603009"/>
                  </a:cubicBezTo>
                  <a:lnTo>
                    <a:pt x="3076949" y="554261"/>
                  </a:lnTo>
                  <a:cubicBezTo>
                    <a:pt x="3064587" y="547111"/>
                    <a:pt x="3065238" y="530211"/>
                    <a:pt x="3076949" y="523062"/>
                  </a:cubicBezTo>
                  <a:lnTo>
                    <a:pt x="3168040" y="468463"/>
                  </a:lnTo>
                  <a:cubicBezTo>
                    <a:pt x="3173245" y="465213"/>
                    <a:pt x="3179101" y="463588"/>
                    <a:pt x="3184875" y="463507"/>
                  </a:cubicBezTo>
                  <a:close/>
                  <a:moveTo>
                    <a:pt x="2801554" y="457982"/>
                  </a:moveTo>
                  <a:cubicBezTo>
                    <a:pt x="2807247" y="457820"/>
                    <a:pt x="2812940" y="459114"/>
                    <a:pt x="2818145" y="462026"/>
                  </a:cubicBezTo>
                  <a:lnTo>
                    <a:pt x="2904681" y="509913"/>
                  </a:lnTo>
                  <a:cubicBezTo>
                    <a:pt x="2917043" y="517031"/>
                    <a:pt x="2916393" y="534504"/>
                    <a:pt x="2904030" y="541622"/>
                  </a:cubicBezTo>
                  <a:lnTo>
                    <a:pt x="2811638" y="595980"/>
                  </a:lnTo>
                  <a:cubicBezTo>
                    <a:pt x="2801228" y="602451"/>
                    <a:pt x="2788215" y="602451"/>
                    <a:pt x="2777805" y="596627"/>
                  </a:cubicBezTo>
                  <a:lnTo>
                    <a:pt x="2693871" y="548093"/>
                  </a:lnTo>
                  <a:cubicBezTo>
                    <a:pt x="2681509" y="541622"/>
                    <a:pt x="2681509" y="524150"/>
                    <a:pt x="2693871" y="516384"/>
                  </a:cubicBezTo>
                  <a:lnTo>
                    <a:pt x="2784962" y="462673"/>
                  </a:lnTo>
                  <a:cubicBezTo>
                    <a:pt x="2790167" y="459761"/>
                    <a:pt x="2795860" y="458144"/>
                    <a:pt x="2801554" y="457982"/>
                  </a:cubicBezTo>
                  <a:close/>
                  <a:moveTo>
                    <a:pt x="2418803" y="452220"/>
                  </a:moveTo>
                  <a:cubicBezTo>
                    <a:pt x="2424512" y="452058"/>
                    <a:pt x="2430221" y="453352"/>
                    <a:pt x="2435440" y="456264"/>
                  </a:cubicBezTo>
                  <a:lnTo>
                    <a:pt x="2522216" y="504798"/>
                  </a:lnTo>
                  <a:cubicBezTo>
                    <a:pt x="2533960" y="511269"/>
                    <a:pt x="2533960" y="528742"/>
                    <a:pt x="2521563" y="536507"/>
                  </a:cubicBezTo>
                  <a:lnTo>
                    <a:pt x="2428916" y="590218"/>
                  </a:lnTo>
                  <a:cubicBezTo>
                    <a:pt x="2418477" y="596042"/>
                    <a:pt x="2405428" y="596689"/>
                    <a:pt x="2394989" y="590865"/>
                  </a:cubicBezTo>
                  <a:lnTo>
                    <a:pt x="2310171" y="542978"/>
                  </a:lnTo>
                  <a:cubicBezTo>
                    <a:pt x="2298427" y="535860"/>
                    <a:pt x="2298427" y="518388"/>
                    <a:pt x="2310171" y="511269"/>
                  </a:cubicBezTo>
                  <a:lnTo>
                    <a:pt x="2402166" y="456911"/>
                  </a:lnTo>
                  <a:cubicBezTo>
                    <a:pt x="2407385" y="453999"/>
                    <a:pt x="2413094" y="452382"/>
                    <a:pt x="2418803" y="452220"/>
                  </a:cubicBezTo>
                  <a:close/>
                  <a:moveTo>
                    <a:pt x="1649430" y="452220"/>
                  </a:moveTo>
                  <a:cubicBezTo>
                    <a:pt x="1655123" y="452059"/>
                    <a:pt x="1660816" y="453353"/>
                    <a:pt x="1666021" y="456265"/>
                  </a:cubicBezTo>
                  <a:lnTo>
                    <a:pt x="1752557" y="504799"/>
                  </a:lnTo>
                  <a:cubicBezTo>
                    <a:pt x="1764919" y="511270"/>
                    <a:pt x="1764269" y="528742"/>
                    <a:pt x="1751906" y="536508"/>
                  </a:cubicBezTo>
                  <a:lnTo>
                    <a:pt x="1659514" y="590218"/>
                  </a:lnTo>
                  <a:cubicBezTo>
                    <a:pt x="1649104" y="596043"/>
                    <a:pt x="1636091" y="596690"/>
                    <a:pt x="1625681" y="590866"/>
                  </a:cubicBezTo>
                  <a:lnTo>
                    <a:pt x="1541747" y="542979"/>
                  </a:lnTo>
                  <a:cubicBezTo>
                    <a:pt x="1529385" y="535860"/>
                    <a:pt x="1530036" y="518388"/>
                    <a:pt x="1541747" y="511270"/>
                  </a:cubicBezTo>
                  <a:lnTo>
                    <a:pt x="1632838" y="456912"/>
                  </a:lnTo>
                  <a:cubicBezTo>
                    <a:pt x="1638043" y="454000"/>
                    <a:pt x="1643736" y="452382"/>
                    <a:pt x="1649430" y="452220"/>
                  </a:cubicBezTo>
                  <a:close/>
                  <a:moveTo>
                    <a:pt x="2032754" y="446217"/>
                  </a:moveTo>
                  <a:cubicBezTo>
                    <a:pt x="2038529" y="446136"/>
                    <a:pt x="2044222" y="447592"/>
                    <a:pt x="2049102" y="450504"/>
                  </a:cubicBezTo>
                  <a:lnTo>
                    <a:pt x="2135638" y="498391"/>
                  </a:lnTo>
                  <a:cubicBezTo>
                    <a:pt x="2148000" y="504862"/>
                    <a:pt x="2147350" y="522335"/>
                    <a:pt x="2135638" y="529453"/>
                  </a:cubicBezTo>
                  <a:lnTo>
                    <a:pt x="2042595" y="584458"/>
                  </a:lnTo>
                  <a:cubicBezTo>
                    <a:pt x="2032836" y="590282"/>
                    <a:pt x="2019823" y="590929"/>
                    <a:pt x="2009412" y="584458"/>
                  </a:cubicBezTo>
                  <a:lnTo>
                    <a:pt x="1924828" y="535924"/>
                  </a:lnTo>
                  <a:cubicBezTo>
                    <a:pt x="1912466" y="529453"/>
                    <a:pt x="1913117" y="512628"/>
                    <a:pt x="1924828" y="504862"/>
                  </a:cubicBezTo>
                  <a:lnTo>
                    <a:pt x="2015919" y="451151"/>
                  </a:lnTo>
                  <a:cubicBezTo>
                    <a:pt x="2021124" y="447916"/>
                    <a:pt x="2026980" y="446298"/>
                    <a:pt x="2032754" y="446217"/>
                  </a:cubicBezTo>
                  <a:close/>
                  <a:moveTo>
                    <a:pt x="2991740" y="345333"/>
                  </a:moveTo>
                  <a:cubicBezTo>
                    <a:pt x="2997530" y="345170"/>
                    <a:pt x="3003402" y="346470"/>
                    <a:pt x="3008622" y="349070"/>
                  </a:cubicBezTo>
                  <a:lnTo>
                    <a:pt x="3095398" y="397818"/>
                  </a:lnTo>
                  <a:cubicBezTo>
                    <a:pt x="3107142" y="404318"/>
                    <a:pt x="3107142" y="422518"/>
                    <a:pt x="3094745" y="429667"/>
                  </a:cubicBezTo>
                  <a:lnTo>
                    <a:pt x="3002098" y="483615"/>
                  </a:lnTo>
                  <a:cubicBezTo>
                    <a:pt x="2991659" y="489465"/>
                    <a:pt x="2978610" y="490115"/>
                    <a:pt x="2968171" y="484265"/>
                  </a:cubicBezTo>
                  <a:lnTo>
                    <a:pt x="2883353" y="436167"/>
                  </a:lnTo>
                  <a:cubicBezTo>
                    <a:pt x="2871609" y="429017"/>
                    <a:pt x="2871609" y="411468"/>
                    <a:pt x="2883353" y="404318"/>
                  </a:cubicBezTo>
                  <a:lnTo>
                    <a:pt x="2975348" y="350370"/>
                  </a:lnTo>
                  <a:cubicBezTo>
                    <a:pt x="2980241" y="347120"/>
                    <a:pt x="2985950" y="345495"/>
                    <a:pt x="2991740" y="345333"/>
                  </a:cubicBezTo>
                  <a:close/>
                  <a:moveTo>
                    <a:pt x="1842420" y="339653"/>
                  </a:moveTo>
                  <a:cubicBezTo>
                    <a:pt x="1848144" y="339571"/>
                    <a:pt x="1853869" y="341034"/>
                    <a:pt x="1859103" y="343959"/>
                  </a:cubicBezTo>
                  <a:lnTo>
                    <a:pt x="1946118" y="392057"/>
                  </a:lnTo>
                  <a:cubicBezTo>
                    <a:pt x="1957895" y="398557"/>
                    <a:pt x="1957895" y="416106"/>
                    <a:pt x="1945464" y="423256"/>
                  </a:cubicBezTo>
                  <a:lnTo>
                    <a:pt x="1852560" y="477854"/>
                  </a:lnTo>
                  <a:cubicBezTo>
                    <a:pt x="1842092" y="484354"/>
                    <a:pt x="1829007" y="484354"/>
                    <a:pt x="1818539" y="478504"/>
                  </a:cubicBezTo>
                  <a:lnTo>
                    <a:pt x="1734141" y="429756"/>
                  </a:lnTo>
                  <a:cubicBezTo>
                    <a:pt x="1722364" y="423256"/>
                    <a:pt x="1722364" y="405706"/>
                    <a:pt x="1734141" y="398557"/>
                  </a:cubicBezTo>
                  <a:lnTo>
                    <a:pt x="1825736" y="344609"/>
                  </a:lnTo>
                  <a:cubicBezTo>
                    <a:pt x="1830970" y="341359"/>
                    <a:pt x="1836695" y="339734"/>
                    <a:pt x="1842420" y="339653"/>
                  </a:cubicBezTo>
                  <a:close/>
                  <a:moveTo>
                    <a:pt x="2608815" y="339652"/>
                  </a:moveTo>
                  <a:cubicBezTo>
                    <a:pt x="2614590" y="339571"/>
                    <a:pt x="2620283" y="341033"/>
                    <a:pt x="2625163" y="343958"/>
                  </a:cubicBezTo>
                  <a:lnTo>
                    <a:pt x="2711699" y="392056"/>
                  </a:lnTo>
                  <a:cubicBezTo>
                    <a:pt x="2724061" y="398556"/>
                    <a:pt x="2723411" y="416106"/>
                    <a:pt x="2711699" y="423255"/>
                  </a:cubicBezTo>
                  <a:lnTo>
                    <a:pt x="2618656" y="477853"/>
                  </a:lnTo>
                  <a:cubicBezTo>
                    <a:pt x="2608897" y="484353"/>
                    <a:pt x="2595884" y="484353"/>
                    <a:pt x="2585473" y="478503"/>
                  </a:cubicBezTo>
                  <a:lnTo>
                    <a:pt x="2500889" y="429755"/>
                  </a:lnTo>
                  <a:cubicBezTo>
                    <a:pt x="2488527" y="423255"/>
                    <a:pt x="2489178" y="405706"/>
                    <a:pt x="2500889" y="398556"/>
                  </a:cubicBezTo>
                  <a:lnTo>
                    <a:pt x="2591980" y="344608"/>
                  </a:lnTo>
                  <a:cubicBezTo>
                    <a:pt x="2597185" y="341358"/>
                    <a:pt x="2603041" y="339733"/>
                    <a:pt x="2608815" y="339652"/>
                  </a:cubicBezTo>
                  <a:close/>
                  <a:moveTo>
                    <a:pt x="2225492" y="333811"/>
                  </a:moveTo>
                  <a:cubicBezTo>
                    <a:pt x="2231185" y="333811"/>
                    <a:pt x="2236878" y="335273"/>
                    <a:pt x="2242083" y="338198"/>
                  </a:cubicBezTo>
                  <a:lnTo>
                    <a:pt x="2328619" y="386296"/>
                  </a:lnTo>
                  <a:cubicBezTo>
                    <a:pt x="2340981" y="393446"/>
                    <a:pt x="2340331" y="410996"/>
                    <a:pt x="2327968" y="418145"/>
                  </a:cubicBezTo>
                  <a:lnTo>
                    <a:pt x="2235576" y="472743"/>
                  </a:lnTo>
                  <a:cubicBezTo>
                    <a:pt x="2225166" y="478593"/>
                    <a:pt x="2212153" y="478593"/>
                    <a:pt x="2201743" y="472743"/>
                  </a:cubicBezTo>
                  <a:lnTo>
                    <a:pt x="2117809" y="424645"/>
                  </a:lnTo>
                  <a:cubicBezTo>
                    <a:pt x="2105447" y="417495"/>
                    <a:pt x="2106098" y="400596"/>
                    <a:pt x="2117809" y="393446"/>
                  </a:cubicBezTo>
                  <a:lnTo>
                    <a:pt x="2208900" y="338198"/>
                  </a:lnTo>
                  <a:cubicBezTo>
                    <a:pt x="2214105" y="335273"/>
                    <a:pt x="2219798" y="333811"/>
                    <a:pt x="2225492" y="333811"/>
                  </a:cubicBezTo>
                  <a:close/>
                  <a:moveTo>
                    <a:pt x="2801554" y="227322"/>
                  </a:moveTo>
                  <a:cubicBezTo>
                    <a:pt x="2807247" y="227241"/>
                    <a:pt x="2812940" y="228703"/>
                    <a:pt x="2818145" y="231628"/>
                  </a:cubicBezTo>
                  <a:lnTo>
                    <a:pt x="2904681" y="279727"/>
                  </a:lnTo>
                  <a:cubicBezTo>
                    <a:pt x="2917043" y="286227"/>
                    <a:pt x="2916393" y="304426"/>
                    <a:pt x="2904030" y="311576"/>
                  </a:cubicBezTo>
                  <a:lnTo>
                    <a:pt x="2811638" y="366174"/>
                  </a:lnTo>
                  <a:cubicBezTo>
                    <a:pt x="2801228" y="372024"/>
                    <a:pt x="2788215" y="372024"/>
                    <a:pt x="2777805" y="366174"/>
                  </a:cubicBezTo>
                  <a:lnTo>
                    <a:pt x="2693871" y="318076"/>
                  </a:lnTo>
                  <a:cubicBezTo>
                    <a:pt x="2681509" y="310926"/>
                    <a:pt x="2681509" y="294026"/>
                    <a:pt x="2693871" y="286227"/>
                  </a:cubicBezTo>
                  <a:lnTo>
                    <a:pt x="2784962" y="232278"/>
                  </a:lnTo>
                  <a:cubicBezTo>
                    <a:pt x="2790167" y="229028"/>
                    <a:pt x="2795860" y="227403"/>
                    <a:pt x="2801554" y="227322"/>
                  </a:cubicBezTo>
                  <a:close/>
                  <a:moveTo>
                    <a:pt x="2032752" y="227322"/>
                  </a:moveTo>
                  <a:cubicBezTo>
                    <a:pt x="2038527" y="227240"/>
                    <a:pt x="2044220" y="228703"/>
                    <a:pt x="2049100" y="231628"/>
                  </a:cubicBezTo>
                  <a:lnTo>
                    <a:pt x="2135636" y="279726"/>
                  </a:lnTo>
                  <a:cubicBezTo>
                    <a:pt x="2147998" y="286226"/>
                    <a:pt x="2147348" y="304426"/>
                    <a:pt x="2135636" y="311575"/>
                  </a:cubicBezTo>
                  <a:lnTo>
                    <a:pt x="2042593" y="366174"/>
                  </a:lnTo>
                  <a:cubicBezTo>
                    <a:pt x="2032834" y="372024"/>
                    <a:pt x="2019821" y="372024"/>
                    <a:pt x="2009410" y="366174"/>
                  </a:cubicBezTo>
                  <a:lnTo>
                    <a:pt x="1924826" y="318075"/>
                  </a:lnTo>
                  <a:cubicBezTo>
                    <a:pt x="1912464" y="310925"/>
                    <a:pt x="1913115" y="294026"/>
                    <a:pt x="1924826" y="286226"/>
                  </a:cubicBezTo>
                  <a:lnTo>
                    <a:pt x="2015917" y="232278"/>
                  </a:lnTo>
                  <a:cubicBezTo>
                    <a:pt x="2021122" y="229028"/>
                    <a:pt x="2026978" y="227403"/>
                    <a:pt x="2032752" y="227322"/>
                  </a:cubicBezTo>
                  <a:close/>
                  <a:moveTo>
                    <a:pt x="2418803" y="221560"/>
                  </a:moveTo>
                  <a:cubicBezTo>
                    <a:pt x="2424512" y="221479"/>
                    <a:pt x="2430221" y="222941"/>
                    <a:pt x="2435440" y="225866"/>
                  </a:cubicBezTo>
                  <a:lnTo>
                    <a:pt x="2522216" y="273965"/>
                  </a:lnTo>
                  <a:cubicBezTo>
                    <a:pt x="2533960" y="281115"/>
                    <a:pt x="2533960" y="298664"/>
                    <a:pt x="2521563" y="305814"/>
                  </a:cubicBezTo>
                  <a:lnTo>
                    <a:pt x="2428916" y="360412"/>
                  </a:lnTo>
                  <a:cubicBezTo>
                    <a:pt x="2418477" y="366262"/>
                    <a:pt x="2405428" y="366262"/>
                    <a:pt x="2394989" y="361062"/>
                  </a:cubicBezTo>
                  <a:lnTo>
                    <a:pt x="2310171" y="312314"/>
                  </a:lnTo>
                  <a:cubicBezTo>
                    <a:pt x="2298427" y="305164"/>
                    <a:pt x="2298427" y="288264"/>
                    <a:pt x="2310171" y="281115"/>
                  </a:cubicBezTo>
                  <a:lnTo>
                    <a:pt x="2402166" y="226516"/>
                  </a:lnTo>
                  <a:cubicBezTo>
                    <a:pt x="2407385" y="223266"/>
                    <a:pt x="2413094" y="221641"/>
                    <a:pt x="2418803" y="221560"/>
                  </a:cubicBezTo>
                  <a:close/>
                  <a:moveTo>
                    <a:pt x="2225490" y="112110"/>
                  </a:moveTo>
                  <a:cubicBezTo>
                    <a:pt x="2231183" y="112028"/>
                    <a:pt x="2236876" y="113491"/>
                    <a:pt x="2242081" y="116416"/>
                  </a:cubicBezTo>
                  <a:lnTo>
                    <a:pt x="2328617" y="164514"/>
                  </a:lnTo>
                  <a:cubicBezTo>
                    <a:pt x="2340979" y="171664"/>
                    <a:pt x="2340329" y="189214"/>
                    <a:pt x="2327966" y="196363"/>
                  </a:cubicBezTo>
                  <a:lnTo>
                    <a:pt x="2235574" y="250962"/>
                  </a:lnTo>
                  <a:cubicBezTo>
                    <a:pt x="2225164" y="256812"/>
                    <a:pt x="2212151" y="256812"/>
                    <a:pt x="2201741" y="251612"/>
                  </a:cubicBezTo>
                  <a:lnTo>
                    <a:pt x="2117807" y="202863"/>
                  </a:lnTo>
                  <a:cubicBezTo>
                    <a:pt x="2105445" y="196363"/>
                    <a:pt x="2106096" y="178164"/>
                    <a:pt x="2117807" y="171664"/>
                  </a:cubicBezTo>
                  <a:lnTo>
                    <a:pt x="2208898" y="117066"/>
                  </a:lnTo>
                  <a:cubicBezTo>
                    <a:pt x="2214103" y="113816"/>
                    <a:pt x="2219796" y="112191"/>
                    <a:pt x="2225490" y="112110"/>
                  </a:cubicBezTo>
                  <a:close/>
                  <a:moveTo>
                    <a:pt x="2608815" y="109464"/>
                  </a:moveTo>
                  <a:cubicBezTo>
                    <a:pt x="2614590" y="109302"/>
                    <a:pt x="2620283" y="110596"/>
                    <a:pt x="2625163" y="113508"/>
                  </a:cubicBezTo>
                  <a:lnTo>
                    <a:pt x="2711699" y="162042"/>
                  </a:lnTo>
                  <a:cubicBezTo>
                    <a:pt x="2724061" y="168513"/>
                    <a:pt x="2723411" y="185985"/>
                    <a:pt x="2711699" y="193103"/>
                  </a:cubicBezTo>
                  <a:lnTo>
                    <a:pt x="2618656" y="247461"/>
                  </a:lnTo>
                  <a:cubicBezTo>
                    <a:pt x="2608897" y="253932"/>
                    <a:pt x="2595884" y="253932"/>
                    <a:pt x="2585473" y="248108"/>
                  </a:cubicBezTo>
                  <a:lnTo>
                    <a:pt x="2500889" y="199575"/>
                  </a:lnTo>
                  <a:cubicBezTo>
                    <a:pt x="2488527" y="193103"/>
                    <a:pt x="2489178" y="175631"/>
                    <a:pt x="2500889" y="168513"/>
                  </a:cubicBezTo>
                  <a:lnTo>
                    <a:pt x="2591980" y="114155"/>
                  </a:lnTo>
                  <a:cubicBezTo>
                    <a:pt x="2597185" y="111243"/>
                    <a:pt x="2603041" y="109626"/>
                    <a:pt x="2608815" y="109464"/>
                  </a:cubicBezTo>
                  <a:close/>
                  <a:moveTo>
                    <a:pt x="2418801" y="13"/>
                  </a:moveTo>
                  <a:cubicBezTo>
                    <a:pt x="2424510" y="-148"/>
                    <a:pt x="2430219" y="1146"/>
                    <a:pt x="2435438" y="4058"/>
                  </a:cubicBezTo>
                  <a:lnTo>
                    <a:pt x="2522214" y="52591"/>
                  </a:lnTo>
                  <a:cubicBezTo>
                    <a:pt x="2533958" y="59063"/>
                    <a:pt x="2533958" y="76535"/>
                    <a:pt x="2521561" y="83653"/>
                  </a:cubicBezTo>
                  <a:lnTo>
                    <a:pt x="2428914" y="138010"/>
                  </a:lnTo>
                  <a:cubicBezTo>
                    <a:pt x="2418475" y="144482"/>
                    <a:pt x="2405426" y="144482"/>
                    <a:pt x="2394987" y="138658"/>
                  </a:cubicBezTo>
                  <a:lnTo>
                    <a:pt x="2310169" y="90124"/>
                  </a:lnTo>
                  <a:cubicBezTo>
                    <a:pt x="2298425" y="83653"/>
                    <a:pt x="2298425" y="66181"/>
                    <a:pt x="2310169" y="59063"/>
                  </a:cubicBezTo>
                  <a:lnTo>
                    <a:pt x="2402164" y="4705"/>
                  </a:lnTo>
                  <a:cubicBezTo>
                    <a:pt x="2407383" y="1793"/>
                    <a:pt x="2413092" y="175"/>
                    <a:pt x="2418801" y="13"/>
                  </a:cubicBezTo>
                  <a:close/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9" name="Freeform 123">
              <a:extLst>
                <a:ext uri="{FF2B5EF4-FFF2-40B4-BE49-F238E27FC236}">
                  <a16:creationId xmlns:a16="http://schemas.microsoft.com/office/drawing/2014/main" id="{6ADDA293-68C4-F448-B2FA-9F33031A6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4296" y="6690945"/>
              <a:ext cx="1480475" cy="959140"/>
            </a:xfrm>
            <a:custGeom>
              <a:avLst/>
              <a:gdLst>
                <a:gd name="T0" fmla="*/ 0 w 2266"/>
                <a:gd name="T1" fmla="*/ 456 h 1469"/>
                <a:gd name="T2" fmla="*/ 0 w 2266"/>
                <a:gd name="T3" fmla="*/ 456 h 1469"/>
                <a:gd name="T4" fmla="*/ 0 w 2266"/>
                <a:gd name="T5" fmla="*/ 456 h 1469"/>
                <a:gd name="T6" fmla="*/ 0 w 2266"/>
                <a:gd name="T7" fmla="*/ 456 h 1469"/>
                <a:gd name="T8" fmla="*/ 4 w 2266"/>
                <a:gd name="T9" fmla="*/ 429 h 1469"/>
                <a:gd name="T10" fmla="*/ 4 w 2266"/>
                <a:gd name="T11" fmla="*/ 429 h 1469"/>
                <a:gd name="T12" fmla="*/ 63 w 2266"/>
                <a:gd name="T13" fmla="*/ 346 h 1469"/>
                <a:gd name="T14" fmla="*/ 588 w 2266"/>
                <a:gd name="T15" fmla="*/ 44 h 1469"/>
                <a:gd name="T16" fmla="*/ 588 w 2266"/>
                <a:gd name="T17" fmla="*/ 44 h 1469"/>
                <a:gd name="T18" fmla="*/ 871 w 2266"/>
                <a:gd name="T19" fmla="*/ 44 h 1469"/>
                <a:gd name="T20" fmla="*/ 2201 w 2266"/>
                <a:gd name="T21" fmla="*/ 812 h 1469"/>
                <a:gd name="T22" fmla="*/ 2201 w 2266"/>
                <a:gd name="T23" fmla="*/ 812 h 1469"/>
                <a:gd name="T24" fmla="*/ 2259 w 2266"/>
                <a:gd name="T25" fmla="*/ 896 h 1469"/>
                <a:gd name="T26" fmla="*/ 2259 w 2266"/>
                <a:gd name="T27" fmla="*/ 896 h 1469"/>
                <a:gd name="T28" fmla="*/ 2264 w 2266"/>
                <a:gd name="T29" fmla="*/ 918 h 1469"/>
                <a:gd name="T30" fmla="*/ 2264 w 2266"/>
                <a:gd name="T31" fmla="*/ 918 h 1469"/>
                <a:gd name="T32" fmla="*/ 2264 w 2266"/>
                <a:gd name="T33" fmla="*/ 918 h 1469"/>
                <a:gd name="T34" fmla="*/ 2264 w 2266"/>
                <a:gd name="T35" fmla="*/ 921 h 1469"/>
                <a:gd name="T36" fmla="*/ 2264 w 2266"/>
                <a:gd name="T37" fmla="*/ 921 h 1469"/>
                <a:gd name="T38" fmla="*/ 2264 w 2266"/>
                <a:gd name="T39" fmla="*/ 923 h 1469"/>
                <a:gd name="T40" fmla="*/ 2264 w 2266"/>
                <a:gd name="T41" fmla="*/ 923 h 1469"/>
                <a:gd name="T42" fmla="*/ 2264 w 2266"/>
                <a:gd name="T43" fmla="*/ 1035 h 1469"/>
                <a:gd name="T44" fmla="*/ 2264 w 2266"/>
                <a:gd name="T45" fmla="*/ 1035 h 1469"/>
                <a:gd name="T46" fmla="*/ 2206 w 2266"/>
                <a:gd name="T47" fmla="*/ 1119 h 1469"/>
                <a:gd name="T48" fmla="*/ 1679 w 2266"/>
                <a:gd name="T49" fmla="*/ 1422 h 1469"/>
                <a:gd name="T50" fmla="*/ 1679 w 2266"/>
                <a:gd name="T51" fmla="*/ 1422 h 1469"/>
                <a:gd name="T52" fmla="*/ 1396 w 2266"/>
                <a:gd name="T53" fmla="*/ 1422 h 1469"/>
                <a:gd name="T54" fmla="*/ 151 w 2266"/>
                <a:gd name="T55" fmla="*/ 704 h 1469"/>
                <a:gd name="T56" fmla="*/ 151 w 2266"/>
                <a:gd name="T57" fmla="*/ 704 h 1469"/>
                <a:gd name="T58" fmla="*/ 130 w 2266"/>
                <a:gd name="T59" fmla="*/ 692 h 1469"/>
                <a:gd name="T60" fmla="*/ 58 w 2266"/>
                <a:gd name="T61" fmla="*/ 650 h 1469"/>
                <a:gd name="T62" fmla="*/ 58 w 2266"/>
                <a:gd name="T63" fmla="*/ 650 h 1469"/>
                <a:gd name="T64" fmla="*/ 0 w 2266"/>
                <a:gd name="T65" fmla="*/ 570 h 1469"/>
                <a:gd name="T66" fmla="*/ 0 w 2266"/>
                <a:gd name="T67" fmla="*/ 570 h 1469"/>
                <a:gd name="T68" fmla="*/ 0 w 2266"/>
                <a:gd name="T69" fmla="*/ 456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6" h="1469">
                  <a:moveTo>
                    <a:pt x="0" y="456"/>
                  </a:moveTo>
                  <a:lnTo>
                    <a:pt x="0" y="456"/>
                  </a:lnTo>
                  <a:lnTo>
                    <a:pt x="0" y="456"/>
                  </a:lnTo>
                  <a:lnTo>
                    <a:pt x="0" y="456"/>
                  </a:lnTo>
                  <a:cubicBezTo>
                    <a:pt x="0" y="446"/>
                    <a:pt x="1" y="437"/>
                    <a:pt x="4" y="429"/>
                  </a:cubicBezTo>
                  <a:lnTo>
                    <a:pt x="4" y="429"/>
                  </a:lnTo>
                  <a:cubicBezTo>
                    <a:pt x="4" y="399"/>
                    <a:pt x="24" y="368"/>
                    <a:pt x="63" y="346"/>
                  </a:cubicBezTo>
                  <a:lnTo>
                    <a:pt x="588" y="44"/>
                  </a:lnTo>
                  <a:lnTo>
                    <a:pt x="588" y="44"/>
                  </a:lnTo>
                  <a:cubicBezTo>
                    <a:pt x="666" y="0"/>
                    <a:pt x="793" y="0"/>
                    <a:pt x="871" y="44"/>
                  </a:cubicBezTo>
                  <a:lnTo>
                    <a:pt x="2201" y="812"/>
                  </a:lnTo>
                  <a:lnTo>
                    <a:pt x="2201" y="812"/>
                  </a:lnTo>
                  <a:cubicBezTo>
                    <a:pt x="2241" y="835"/>
                    <a:pt x="2261" y="866"/>
                    <a:pt x="2259" y="896"/>
                  </a:cubicBezTo>
                  <a:lnTo>
                    <a:pt x="2259" y="896"/>
                  </a:lnTo>
                  <a:cubicBezTo>
                    <a:pt x="2262" y="904"/>
                    <a:pt x="2264" y="911"/>
                    <a:pt x="2264" y="918"/>
                  </a:cubicBezTo>
                  <a:lnTo>
                    <a:pt x="2264" y="918"/>
                  </a:lnTo>
                  <a:lnTo>
                    <a:pt x="2264" y="918"/>
                  </a:lnTo>
                  <a:lnTo>
                    <a:pt x="2264" y="921"/>
                  </a:lnTo>
                  <a:lnTo>
                    <a:pt x="2264" y="921"/>
                  </a:lnTo>
                  <a:cubicBezTo>
                    <a:pt x="2264" y="921"/>
                    <a:pt x="2264" y="922"/>
                    <a:pt x="2264" y="923"/>
                  </a:cubicBezTo>
                  <a:lnTo>
                    <a:pt x="2264" y="923"/>
                  </a:lnTo>
                  <a:cubicBezTo>
                    <a:pt x="2264" y="945"/>
                    <a:pt x="2264" y="1025"/>
                    <a:pt x="2264" y="1035"/>
                  </a:cubicBezTo>
                  <a:lnTo>
                    <a:pt x="2264" y="1035"/>
                  </a:lnTo>
                  <a:cubicBezTo>
                    <a:pt x="2265" y="1065"/>
                    <a:pt x="2246" y="1096"/>
                    <a:pt x="2206" y="1119"/>
                  </a:cubicBezTo>
                  <a:lnTo>
                    <a:pt x="1679" y="1422"/>
                  </a:lnTo>
                  <a:lnTo>
                    <a:pt x="1679" y="1422"/>
                  </a:lnTo>
                  <a:cubicBezTo>
                    <a:pt x="1601" y="1468"/>
                    <a:pt x="1474" y="1468"/>
                    <a:pt x="1396" y="1422"/>
                  </a:cubicBezTo>
                  <a:lnTo>
                    <a:pt x="151" y="704"/>
                  </a:lnTo>
                  <a:lnTo>
                    <a:pt x="151" y="704"/>
                  </a:lnTo>
                  <a:lnTo>
                    <a:pt x="130" y="692"/>
                  </a:lnTo>
                  <a:lnTo>
                    <a:pt x="58" y="650"/>
                  </a:lnTo>
                  <a:lnTo>
                    <a:pt x="58" y="650"/>
                  </a:lnTo>
                  <a:cubicBezTo>
                    <a:pt x="20" y="628"/>
                    <a:pt x="0" y="599"/>
                    <a:pt x="0" y="570"/>
                  </a:cubicBezTo>
                  <a:lnTo>
                    <a:pt x="0" y="570"/>
                  </a:lnTo>
                  <a:cubicBezTo>
                    <a:pt x="0" y="550"/>
                    <a:pt x="0" y="482"/>
                    <a:pt x="0" y="45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0" name="Freeform 124">
              <a:extLst>
                <a:ext uri="{FF2B5EF4-FFF2-40B4-BE49-F238E27FC236}">
                  <a16:creationId xmlns:a16="http://schemas.microsoft.com/office/drawing/2014/main" id="{E5DAB59E-6ABB-D74A-9F5B-24CC1C415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7987" y="6719748"/>
              <a:ext cx="1480475" cy="869851"/>
            </a:xfrm>
            <a:custGeom>
              <a:avLst/>
              <a:gdLst>
                <a:gd name="T0" fmla="*/ 2206 w 2266"/>
                <a:gd name="T1" fmla="*/ 816 h 1330"/>
                <a:gd name="T2" fmla="*/ 2206 w 2266"/>
                <a:gd name="T3" fmla="*/ 816 h 1330"/>
                <a:gd name="T4" fmla="*/ 2265 w 2266"/>
                <a:gd name="T5" fmla="*/ 779 h 1330"/>
                <a:gd name="T6" fmla="*/ 2265 w 2266"/>
                <a:gd name="T7" fmla="*/ 779 h 1330"/>
                <a:gd name="T8" fmla="*/ 2265 w 2266"/>
                <a:gd name="T9" fmla="*/ 897 h 1330"/>
                <a:gd name="T10" fmla="*/ 2265 w 2266"/>
                <a:gd name="T11" fmla="*/ 897 h 1330"/>
                <a:gd name="T12" fmla="*/ 2206 w 2266"/>
                <a:gd name="T13" fmla="*/ 980 h 1330"/>
                <a:gd name="T14" fmla="*/ 1680 w 2266"/>
                <a:gd name="T15" fmla="*/ 1284 h 1330"/>
                <a:gd name="T16" fmla="*/ 1680 w 2266"/>
                <a:gd name="T17" fmla="*/ 1284 h 1330"/>
                <a:gd name="T18" fmla="*/ 1396 w 2266"/>
                <a:gd name="T19" fmla="*/ 1284 h 1330"/>
                <a:gd name="T20" fmla="*/ 59 w 2266"/>
                <a:gd name="T21" fmla="*/ 512 h 1330"/>
                <a:gd name="T22" fmla="*/ 59 w 2266"/>
                <a:gd name="T23" fmla="*/ 512 h 1330"/>
                <a:gd name="T24" fmla="*/ 0 w 2266"/>
                <a:gd name="T25" fmla="*/ 431 h 1330"/>
                <a:gd name="T26" fmla="*/ 0 w 2266"/>
                <a:gd name="T27" fmla="*/ 431 h 1330"/>
                <a:gd name="T28" fmla="*/ 0 w 2266"/>
                <a:gd name="T29" fmla="*/ 317 h 1330"/>
                <a:gd name="T30" fmla="*/ 0 w 2266"/>
                <a:gd name="T31" fmla="*/ 317 h 1330"/>
                <a:gd name="T32" fmla="*/ 59 w 2266"/>
                <a:gd name="T33" fmla="*/ 348 h 1330"/>
                <a:gd name="T34" fmla="*/ 586 w 2266"/>
                <a:gd name="T35" fmla="*/ 46 h 1330"/>
                <a:gd name="T36" fmla="*/ 586 w 2266"/>
                <a:gd name="T37" fmla="*/ 46 h 1330"/>
                <a:gd name="T38" fmla="*/ 870 w 2266"/>
                <a:gd name="T39" fmla="*/ 46 h 1330"/>
                <a:gd name="T40" fmla="*/ 2206 w 2266"/>
                <a:gd name="T41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6" h="1330">
                  <a:moveTo>
                    <a:pt x="2206" y="816"/>
                  </a:moveTo>
                  <a:lnTo>
                    <a:pt x="2206" y="816"/>
                  </a:lnTo>
                  <a:cubicBezTo>
                    <a:pt x="2228" y="829"/>
                    <a:pt x="2265" y="779"/>
                    <a:pt x="2265" y="779"/>
                  </a:cubicBezTo>
                  <a:lnTo>
                    <a:pt x="2265" y="779"/>
                  </a:lnTo>
                  <a:cubicBezTo>
                    <a:pt x="2265" y="779"/>
                    <a:pt x="2265" y="884"/>
                    <a:pt x="2265" y="897"/>
                  </a:cubicBezTo>
                  <a:lnTo>
                    <a:pt x="2265" y="897"/>
                  </a:lnTo>
                  <a:cubicBezTo>
                    <a:pt x="2265" y="927"/>
                    <a:pt x="2246" y="957"/>
                    <a:pt x="2206" y="980"/>
                  </a:cubicBezTo>
                  <a:lnTo>
                    <a:pt x="1680" y="1284"/>
                  </a:lnTo>
                  <a:lnTo>
                    <a:pt x="1680" y="1284"/>
                  </a:lnTo>
                  <a:cubicBezTo>
                    <a:pt x="1602" y="1329"/>
                    <a:pt x="1474" y="1329"/>
                    <a:pt x="1396" y="1284"/>
                  </a:cubicBezTo>
                  <a:lnTo>
                    <a:pt x="59" y="512"/>
                  </a:lnTo>
                  <a:lnTo>
                    <a:pt x="59" y="512"/>
                  </a:lnTo>
                  <a:cubicBezTo>
                    <a:pt x="20" y="489"/>
                    <a:pt x="0" y="460"/>
                    <a:pt x="0" y="431"/>
                  </a:cubicBezTo>
                  <a:lnTo>
                    <a:pt x="0" y="431"/>
                  </a:lnTo>
                  <a:cubicBezTo>
                    <a:pt x="0" y="411"/>
                    <a:pt x="0" y="343"/>
                    <a:pt x="0" y="317"/>
                  </a:cubicBezTo>
                  <a:lnTo>
                    <a:pt x="0" y="317"/>
                  </a:lnTo>
                  <a:cubicBezTo>
                    <a:pt x="0" y="301"/>
                    <a:pt x="41" y="358"/>
                    <a:pt x="59" y="348"/>
                  </a:cubicBezTo>
                  <a:lnTo>
                    <a:pt x="586" y="46"/>
                  </a:lnTo>
                  <a:lnTo>
                    <a:pt x="586" y="46"/>
                  </a:lnTo>
                  <a:cubicBezTo>
                    <a:pt x="664" y="0"/>
                    <a:pt x="792" y="0"/>
                    <a:pt x="870" y="46"/>
                  </a:cubicBezTo>
                  <a:lnTo>
                    <a:pt x="2206" y="816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1" name="Freeform 125">
              <a:extLst>
                <a:ext uri="{FF2B5EF4-FFF2-40B4-BE49-F238E27FC236}">
                  <a16:creationId xmlns:a16="http://schemas.microsoft.com/office/drawing/2014/main" id="{C21ED94F-F998-C649-8E44-CD7B51672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3585" y="6647740"/>
              <a:ext cx="1506397" cy="869851"/>
            </a:xfrm>
            <a:custGeom>
              <a:avLst/>
              <a:gdLst>
                <a:gd name="T0" fmla="*/ 2226 w 2305"/>
                <a:gd name="T1" fmla="*/ 816 h 1330"/>
                <a:gd name="T2" fmla="*/ 2226 w 2305"/>
                <a:gd name="T3" fmla="*/ 816 h 1330"/>
                <a:gd name="T4" fmla="*/ 2226 w 2305"/>
                <a:gd name="T5" fmla="*/ 979 h 1330"/>
                <a:gd name="T6" fmla="*/ 1700 w 2305"/>
                <a:gd name="T7" fmla="*/ 1283 h 1330"/>
                <a:gd name="T8" fmla="*/ 1700 w 2305"/>
                <a:gd name="T9" fmla="*/ 1283 h 1330"/>
                <a:gd name="T10" fmla="*/ 1416 w 2305"/>
                <a:gd name="T11" fmla="*/ 1283 h 1330"/>
                <a:gd name="T12" fmla="*/ 79 w 2305"/>
                <a:gd name="T13" fmla="*/ 511 h 1330"/>
                <a:gd name="T14" fmla="*/ 79 w 2305"/>
                <a:gd name="T15" fmla="*/ 511 h 1330"/>
                <a:gd name="T16" fmla="*/ 79 w 2305"/>
                <a:gd name="T17" fmla="*/ 347 h 1330"/>
                <a:gd name="T18" fmla="*/ 606 w 2305"/>
                <a:gd name="T19" fmla="*/ 45 h 1330"/>
                <a:gd name="T20" fmla="*/ 606 w 2305"/>
                <a:gd name="T21" fmla="*/ 45 h 1330"/>
                <a:gd name="T22" fmla="*/ 890 w 2305"/>
                <a:gd name="T23" fmla="*/ 45 h 1330"/>
                <a:gd name="T24" fmla="*/ 2226 w 2305"/>
                <a:gd name="T25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5" h="1330">
                  <a:moveTo>
                    <a:pt x="2226" y="816"/>
                  </a:moveTo>
                  <a:lnTo>
                    <a:pt x="2226" y="816"/>
                  </a:lnTo>
                  <a:cubicBezTo>
                    <a:pt x="2304" y="861"/>
                    <a:pt x="2304" y="935"/>
                    <a:pt x="2226" y="979"/>
                  </a:cubicBezTo>
                  <a:lnTo>
                    <a:pt x="1700" y="1283"/>
                  </a:lnTo>
                  <a:lnTo>
                    <a:pt x="1700" y="1283"/>
                  </a:lnTo>
                  <a:cubicBezTo>
                    <a:pt x="1622" y="1329"/>
                    <a:pt x="1494" y="1329"/>
                    <a:pt x="1416" y="1283"/>
                  </a:cubicBezTo>
                  <a:lnTo>
                    <a:pt x="79" y="511"/>
                  </a:lnTo>
                  <a:lnTo>
                    <a:pt x="79" y="511"/>
                  </a:lnTo>
                  <a:cubicBezTo>
                    <a:pt x="0" y="466"/>
                    <a:pt x="0" y="392"/>
                    <a:pt x="79" y="347"/>
                  </a:cubicBezTo>
                  <a:lnTo>
                    <a:pt x="606" y="45"/>
                  </a:lnTo>
                  <a:lnTo>
                    <a:pt x="606" y="45"/>
                  </a:lnTo>
                  <a:cubicBezTo>
                    <a:pt x="684" y="0"/>
                    <a:pt x="812" y="0"/>
                    <a:pt x="890" y="45"/>
                  </a:cubicBezTo>
                  <a:lnTo>
                    <a:pt x="2226" y="816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1D82633F-E2BB-794B-B58E-7FB4C4C5D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465" y="6630457"/>
              <a:ext cx="1497757" cy="864091"/>
            </a:xfrm>
            <a:custGeom>
              <a:avLst/>
              <a:gdLst>
                <a:gd name="T0" fmla="*/ 2217 w 2295"/>
                <a:gd name="T1" fmla="*/ 813 h 1324"/>
                <a:gd name="T2" fmla="*/ 2217 w 2295"/>
                <a:gd name="T3" fmla="*/ 813 h 1324"/>
                <a:gd name="T4" fmla="*/ 2217 w 2295"/>
                <a:gd name="T5" fmla="*/ 975 h 1324"/>
                <a:gd name="T6" fmla="*/ 1692 w 2295"/>
                <a:gd name="T7" fmla="*/ 1278 h 1324"/>
                <a:gd name="T8" fmla="*/ 1692 w 2295"/>
                <a:gd name="T9" fmla="*/ 1278 h 1324"/>
                <a:gd name="T10" fmla="*/ 1410 w 2295"/>
                <a:gd name="T11" fmla="*/ 1278 h 1324"/>
                <a:gd name="T12" fmla="*/ 78 w 2295"/>
                <a:gd name="T13" fmla="*/ 509 h 1324"/>
                <a:gd name="T14" fmla="*/ 78 w 2295"/>
                <a:gd name="T15" fmla="*/ 509 h 1324"/>
                <a:gd name="T16" fmla="*/ 78 w 2295"/>
                <a:gd name="T17" fmla="*/ 346 h 1324"/>
                <a:gd name="T18" fmla="*/ 603 w 2295"/>
                <a:gd name="T19" fmla="*/ 45 h 1324"/>
                <a:gd name="T20" fmla="*/ 603 w 2295"/>
                <a:gd name="T21" fmla="*/ 45 h 1324"/>
                <a:gd name="T22" fmla="*/ 886 w 2295"/>
                <a:gd name="T23" fmla="*/ 45 h 1324"/>
                <a:gd name="T24" fmla="*/ 2217 w 2295"/>
                <a:gd name="T25" fmla="*/ 813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5" h="1324">
                  <a:moveTo>
                    <a:pt x="2217" y="813"/>
                  </a:moveTo>
                  <a:lnTo>
                    <a:pt x="2217" y="813"/>
                  </a:lnTo>
                  <a:cubicBezTo>
                    <a:pt x="2294" y="857"/>
                    <a:pt x="2294" y="931"/>
                    <a:pt x="2217" y="975"/>
                  </a:cubicBezTo>
                  <a:lnTo>
                    <a:pt x="1692" y="1278"/>
                  </a:lnTo>
                  <a:lnTo>
                    <a:pt x="1692" y="1278"/>
                  </a:lnTo>
                  <a:cubicBezTo>
                    <a:pt x="1615" y="1323"/>
                    <a:pt x="1488" y="1323"/>
                    <a:pt x="1410" y="1278"/>
                  </a:cubicBezTo>
                  <a:lnTo>
                    <a:pt x="78" y="509"/>
                  </a:lnTo>
                  <a:lnTo>
                    <a:pt x="78" y="509"/>
                  </a:lnTo>
                  <a:cubicBezTo>
                    <a:pt x="0" y="464"/>
                    <a:pt x="0" y="391"/>
                    <a:pt x="78" y="346"/>
                  </a:cubicBezTo>
                  <a:lnTo>
                    <a:pt x="603" y="45"/>
                  </a:lnTo>
                  <a:lnTo>
                    <a:pt x="603" y="45"/>
                  </a:lnTo>
                  <a:cubicBezTo>
                    <a:pt x="681" y="0"/>
                    <a:pt x="808" y="0"/>
                    <a:pt x="886" y="45"/>
                  </a:cubicBezTo>
                  <a:lnTo>
                    <a:pt x="2217" y="813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3" name="Freeform 127">
              <a:extLst>
                <a:ext uri="{FF2B5EF4-FFF2-40B4-BE49-F238E27FC236}">
                  <a16:creationId xmlns:a16="http://schemas.microsoft.com/office/drawing/2014/main" id="{1A43DBE9-D3F9-BB4B-8C76-880BD4BDE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4234" y="6679424"/>
              <a:ext cx="1322058" cy="754639"/>
            </a:xfrm>
            <a:custGeom>
              <a:avLst/>
              <a:gdLst>
                <a:gd name="T0" fmla="*/ 2001 w 2026"/>
                <a:gd name="T1" fmla="*/ 826 h 1157"/>
                <a:gd name="T2" fmla="*/ 1497 w 2026"/>
                <a:gd name="T3" fmla="*/ 1117 h 1157"/>
                <a:gd name="T4" fmla="*/ 1497 w 2026"/>
                <a:gd name="T5" fmla="*/ 1117 h 1157"/>
                <a:gd name="T6" fmla="*/ 1283 w 2026"/>
                <a:gd name="T7" fmla="*/ 1117 h 1157"/>
                <a:gd name="T8" fmla="*/ 23 w 2026"/>
                <a:gd name="T9" fmla="*/ 388 h 1157"/>
                <a:gd name="T10" fmla="*/ 23 w 2026"/>
                <a:gd name="T11" fmla="*/ 388 h 1157"/>
                <a:gd name="T12" fmla="*/ 23 w 2026"/>
                <a:gd name="T13" fmla="*/ 328 h 1157"/>
                <a:gd name="T14" fmla="*/ 528 w 2026"/>
                <a:gd name="T15" fmla="*/ 38 h 1157"/>
                <a:gd name="T16" fmla="*/ 528 w 2026"/>
                <a:gd name="T17" fmla="*/ 38 h 1157"/>
                <a:gd name="T18" fmla="*/ 742 w 2026"/>
                <a:gd name="T19" fmla="*/ 38 h 1157"/>
                <a:gd name="T20" fmla="*/ 2001 w 2026"/>
                <a:gd name="T21" fmla="*/ 767 h 1157"/>
                <a:gd name="T22" fmla="*/ 2001 w 2026"/>
                <a:gd name="T23" fmla="*/ 767 h 1157"/>
                <a:gd name="T24" fmla="*/ 2001 w 2026"/>
                <a:gd name="T25" fmla="*/ 826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6" h="1157">
                  <a:moveTo>
                    <a:pt x="2001" y="826"/>
                  </a:moveTo>
                  <a:lnTo>
                    <a:pt x="1497" y="1117"/>
                  </a:lnTo>
                  <a:lnTo>
                    <a:pt x="1497" y="1117"/>
                  </a:lnTo>
                  <a:cubicBezTo>
                    <a:pt x="1430" y="1156"/>
                    <a:pt x="1349" y="1156"/>
                    <a:pt x="1283" y="1117"/>
                  </a:cubicBezTo>
                  <a:lnTo>
                    <a:pt x="23" y="388"/>
                  </a:lnTo>
                  <a:lnTo>
                    <a:pt x="23" y="388"/>
                  </a:lnTo>
                  <a:cubicBezTo>
                    <a:pt x="0" y="375"/>
                    <a:pt x="0" y="342"/>
                    <a:pt x="23" y="328"/>
                  </a:cubicBezTo>
                  <a:lnTo>
                    <a:pt x="528" y="38"/>
                  </a:lnTo>
                  <a:lnTo>
                    <a:pt x="528" y="38"/>
                  </a:lnTo>
                  <a:cubicBezTo>
                    <a:pt x="594" y="0"/>
                    <a:pt x="676" y="0"/>
                    <a:pt x="742" y="38"/>
                  </a:cubicBezTo>
                  <a:lnTo>
                    <a:pt x="2001" y="767"/>
                  </a:lnTo>
                  <a:lnTo>
                    <a:pt x="2001" y="767"/>
                  </a:lnTo>
                  <a:cubicBezTo>
                    <a:pt x="2025" y="780"/>
                    <a:pt x="2025" y="813"/>
                    <a:pt x="2001" y="826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128">
              <a:extLst>
                <a:ext uri="{FF2B5EF4-FFF2-40B4-BE49-F238E27FC236}">
                  <a16:creationId xmlns:a16="http://schemas.microsoft.com/office/drawing/2014/main" id="{A81A5158-4098-2548-8873-9F1257867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8635" y="6999136"/>
              <a:ext cx="17282" cy="92170"/>
            </a:xfrm>
            <a:custGeom>
              <a:avLst/>
              <a:gdLst>
                <a:gd name="T0" fmla="*/ 0 w 28"/>
                <a:gd name="T1" fmla="*/ 123 h 140"/>
                <a:gd name="T2" fmla="*/ 27 w 28"/>
                <a:gd name="T3" fmla="*/ 139 h 140"/>
                <a:gd name="T4" fmla="*/ 27 w 28"/>
                <a:gd name="T5" fmla="*/ 16 h 140"/>
                <a:gd name="T6" fmla="*/ 0 w 28"/>
                <a:gd name="T7" fmla="*/ 0 h 140"/>
                <a:gd name="T8" fmla="*/ 0 w 28"/>
                <a:gd name="T9" fmla="*/ 12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0">
                  <a:moveTo>
                    <a:pt x="0" y="123"/>
                  </a:moveTo>
                  <a:lnTo>
                    <a:pt x="27" y="139"/>
                  </a:lnTo>
                  <a:lnTo>
                    <a:pt x="27" y="16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9F680A4F-758B-324A-870E-D9FB8228E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0614" y="4334923"/>
              <a:ext cx="1272442" cy="1168310"/>
            </a:xfrm>
            <a:custGeom>
              <a:avLst/>
              <a:gdLst>
                <a:gd name="connsiteX0" fmla="*/ 461324 w 1272442"/>
                <a:gd name="connsiteY0" fmla="*/ 585318 h 1168310"/>
                <a:gd name="connsiteX1" fmla="*/ 393533 w 1272442"/>
                <a:gd name="connsiteY1" fmla="*/ 591543 h 1168310"/>
                <a:gd name="connsiteX2" fmla="*/ 312090 w 1272442"/>
                <a:gd name="connsiteY2" fmla="*/ 627441 h 1168310"/>
                <a:gd name="connsiteX3" fmla="*/ 191554 w 1272442"/>
                <a:gd name="connsiteY3" fmla="*/ 748189 h 1168310"/>
                <a:gd name="connsiteX4" fmla="*/ 147900 w 1272442"/>
                <a:gd name="connsiteY4" fmla="*/ 910057 h 1168310"/>
                <a:gd name="connsiteX5" fmla="*/ 191554 w 1272442"/>
                <a:gd name="connsiteY5" fmla="*/ 1019057 h 1168310"/>
                <a:gd name="connsiteX6" fmla="*/ 312090 w 1272442"/>
                <a:gd name="connsiteY6" fmla="*/ 996213 h 1168310"/>
                <a:gd name="connsiteX7" fmla="*/ 393533 w 1272442"/>
                <a:gd name="connsiteY7" fmla="*/ 934860 h 1168310"/>
                <a:gd name="connsiteX8" fmla="*/ 432137 w 1272442"/>
                <a:gd name="connsiteY8" fmla="*/ 895127 h 1168310"/>
                <a:gd name="connsiteX9" fmla="*/ 462527 w 1272442"/>
                <a:gd name="connsiteY9" fmla="*/ 858983 h 1168310"/>
                <a:gd name="connsiteX10" fmla="*/ 462527 w 1272442"/>
                <a:gd name="connsiteY10" fmla="*/ 846493 h 1168310"/>
                <a:gd name="connsiteX11" fmla="*/ 565464 w 1272442"/>
                <a:gd name="connsiteY11" fmla="*/ 828234 h 1168310"/>
                <a:gd name="connsiteX12" fmla="*/ 660582 w 1272442"/>
                <a:gd name="connsiteY12" fmla="*/ 784544 h 1168310"/>
                <a:gd name="connsiteX13" fmla="*/ 732247 w 1272442"/>
                <a:gd name="connsiteY13" fmla="*/ 726507 h 1168310"/>
                <a:gd name="connsiteX14" fmla="*/ 757655 w 1272442"/>
                <a:gd name="connsiteY14" fmla="*/ 667167 h 1168310"/>
                <a:gd name="connsiteX15" fmla="*/ 740716 w 1272442"/>
                <a:gd name="connsiteY15" fmla="*/ 636518 h 1168310"/>
                <a:gd name="connsiteX16" fmla="*/ 672961 w 1272442"/>
                <a:gd name="connsiteY16" fmla="*/ 651516 h 1168310"/>
                <a:gd name="connsiteX17" fmla="*/ 618235 w 1272442"/>
                <a:gd name="connsiteY17" fmla="*/ 672383 h 1168310"/>
                <a:gd name="connsiteX18" fmla="*/ 495754 w 1272442"/>
                <a:gd name="connsiteY18" fmla="*/ 688686 h 1168310"/>
                <a:gd name="connsiteX19" fmla="*/ 457967 w 1272442"/>
                <a:gd name="connsiteY19" fmla="*/ 605869 h 1168310"/>
                <a:gd name="connsiteX20" fmla="*/ 841958 w 1272442"/>
                <a:gd name="connsiteY20" fmla="*/ 343988 h 1168310"/>
                <a:gd name="connsiteX21" fmla="*/ 770034 w 1272442"/>
                <a:gd name="connsiteY21" fmla="*/ 361985 h 1168310"/>
                <a:gd name="connsiteX22" fmla="*/ 687945 w 1272442"/>
                <a:gd name="connsiteY22" fmla="*/ 400459 h 1168310"/>
                <a:gd name="connsiteX23" fmla="*/ 611720 w 1272442"/>
                <a:gd name="connsiteY23" fmla="*/ 459800 h 1168310"/>
                <a:gd name="connsiteX24" fmla="*/ 587615 w 1272442"/>
                <a:gd name="connsiteY24" fmla="*/ 518488 h 1168310"/>
                <a:gd name="connsiteX25" fmla="*/ 603902 w 1272442"/>
                <a:gd name="connsiteY25" fmla="*/ 543268 h 1168310"/>
                <a:gd name="connsiteX26" fmla="*/ 663840 w 1272442"/>
                <a:gd name="connsiteY26" fmla="*/ 528922 h 1168310"/>
                <a:gd name="connsiteX27" fmla="*/ 724429 w 1272442"/>
                <a:gd name="connsiteY27" fmla="*/ 504794 h 1168310"/>
                <a:gd name="connsiteX28" fmla="*/ 856032 w 1272442"/>
                <a:gd name="connsiteY28" fmla="*/ 482623 h 1168310"/>
                <a:gd name="connsiteX29" fmla="*/ 895122 w 1272442"/>
                <a:gd name="connsiteY29" fmla="*/ 567396 h 1168310"/>
                <a:gd name="connsiteX30" fmla="*/ 887676 w 1272442"/>
                <a:gd name="connsiteY30" fmla="*/ 615634 h 1168310"/>
                <a:gd name="connsiteX31" fmla="*/ 942785 w 1272442"/>
                <a:gd name="connsiteY31" fmla="*/ 605797 h 1168310"/>
                <a:gd name="connsiteX32" fmla="*/ 1038555 w 1272442"/>
                <a:gd name="connsiteY32" fmla="*/ 562758 h 1168310"/>
                <a:gd name="connsiteX33" fmla="*/ 1110220 w 1272442"/>
                <a:gd name="connsiteY33" fmla="*/ 504070 h 1168310"/>
                <a:gd name="connsiteX34" fmla="*/ 1134977 w 1272442"/>
                <a:gd name="connsiteY34" fmla="*/ 444729 h 1168310"/>
                <a:gd name="connsiteX35" fmla="*/ 1118038 w 1272442"/>
                <a:gd name="connsiteY35" fmla="*/ 414733 h 1168310"/>
                <a:gd name="connsiteX36" fmla="*/ 1050934 w 1272442"/>
                <a:gd name="connsiteY36" fmla="*/ 429731 h 1168310"/>
                <a:gd name="connsiteX37" fmla="*/ 995557 w 1272442"/>
                <a:gd name="connsiteY37" fmla="*/ 450598 h 1168310"/>
                <a:gd name="connsiteX38" fmla="*/ 873727 w 1272442"/>
                <a:gd name="connsiteY38" fmla="*/ 466248 h 1168310"/>
                <a:gd name="connsiteX39" fmla="*/ 835288 w 1272442"/>
                <a:gd name="connsiteY39" fmla="*/ 384084 h 1168310"/>
                <a:gd name="connsiteX40" fmla="*/ 1236610 w 1272442"/>
                <a:gd name="connsiteY40" fmla="*/ 0 h 1168310"/>
                <a:gd name="connsiteX41" fmla="*/ 1236610 w 1272442"/>
                <a:gd name="connsiteY41" fmla="*/ 117377 h 1168310"/>
                <a:gd name="connsiteX42" fmla="*/ 1147355 w 1272442"/>
                <a:gd name="connsiteY42" fmla="*/ 140201 h 1168310"/>
                <a:gd name="connsiteX43" fmla="*/ 1065267 w 1272442"/>
                <a:gd name="connsiteY43" fmla="*/ 178674 h 1168310"/>
                <a:gd name="connsiteX44" fmla="*/ 989693 w 1272442"/>
                <a:gd name="connsiteY44" fmla="*/ 237363 h 1168310"/>
                <a:gd name="connsiteX45" fmla="*/ 964936 w 1272442"/>
                <a:gd name="connsiteY45" fmla="*/ 296051 h 1168310"/>
                <a:gd name="connsiteX46" fmla="*/ 981875 w 1272442"/>
                <a:gd name="connsiteY46" fmla="*/ 321483 h 1168310"/>
                <a:gd name="connsiteX47" fmla="*/ 1041813 w 1272442"/>
                <a:gd name="connsiteY47" fmla="*/ 306485 h 1168310"/>
                <a:gd name="connsiteX48" fmla="*/ 1102402 w 1272442"/>
                <a:gd name="connsiteY48" fmla="*/ 283010 h 1168310"/>
                <a:gd name="connsiteX49" fmla="*/ 1233353 w 1272442"/>
                <a:gd name="connsiteY49" fmla="*/ 260838 h 1168310"/>
                <a:gd name="connsiteX50" fmla="*/ 1272442 w 1272442"/>
                <a:gd name="connsiteY50" fmla="*/ 345611 h 1168310"/>
                <a:gd name="connsiteX51" fmla="*/ 1218368 w 1272442"/>
                <a:gd name="connsiteY51" fmla="*/ 514503 h 1168310"/>
                <a:gd name="connsiteX52" fmla="*/ 1052237 w 1272442"/>
                <a:gd name="connsiteY52" fmla="*/ 657964 h 1168310"/>
                <a:gd name="connsiteX53" fmla="*/ 946043 w 1272442"/>
                <a:gd name="connsiteY53" fmla="*/ 711436 h 1168310"/>
                <a:gd name="connsiteX54" fmla="*/ 840500 w 1272442"/>
                <a:gd name="connsiteY54" fmla="*/ 745345 h 1168310"/>
                <a:gd name="connsiteX55" fmla="*/ 840500 w 1272442"/>
                <a:gd name="connsiteY55" fmla="*/ 736878 h 1168310"/>
                <a:gd name="connsiteX56" fmla="*/ 771907 w 1272442"/>
                <a:gd name="connsiteY56" fmla="*/ 810791 h 1168310"/>
                <a:gd name="connsiteX57" fmla="*/ 674915 w 1272442"/>
                <a:gd name="connsiteY57" fmla="*/ 880402 h 1168310"/>
                <a:gd name="connsiteX58" fmla="*/ 568721 w 1272442"/>
                <a:gd name="connsiteY58" fmla="*/ 933222 h 1168310"/>
                <a:gd name="connsiteX59" fmla="*/ 469789 w 1272442"/>
                <a:gd name="connsiteY59" fmla="*/ 964813 h 1168310"/>
                <a:gd name="connsiteX60" fmla="*/ 389624 w 1272442"/>
                <a:gd name="connsiteY60" fmla="*/ 1043207 h 1168310"/>
                <a:gd name="connsiteX61" fmla="*/ 300362 w 1272442"/>
                <a:gd name="connsiteY61" fmla="*/ 1107171 h 1168310"/>
                <a:gd name="connsiteX62" fmla="*/ 81443 w 1272442"/>
                <a:gd name="connsiteY62" fmla="*/ 1160692 h 1168310"/>
                <a:gd name="connsiteX63" fmla="*/ 0 w 1272442"/>
                <a:gd name="connsiteY63" fmla="*/ 998171 h 1168310"/>
                <a:gd name="connsiteX64" fmla="*/ 81443 w 1272442"/>
                <a:gd name="connsiteY64" fmla="*/ 739704 h 1168310"/>
                <a:gd name="connsiteX65" fmla="*/ 300362 w 1272442"/>
                <a:gd name="connsiteY65" fmla="*/ 530842 h 1168310"/>
                <a:gd name="connsiteX66" fmla="*/ 389624 w 1272442"/>
                <a:gd name="connsiteY66" fmla="*/ 487765 h 1168310"/>
                <a:gd name="connsiteX67" fmla="*/ 471718 w 1272442"/>
                <a:gd name="connsiteY67" fmla="*/ 469489 h 1168310"/>
                <a:gd name="connsiteX68" fmla="*/ 471718 w 1272442"/>
                <a:gd name="connsiteY68" fmla="*/ 523677 h 1168310"/>
                <a:gd name="connsiteX69" fmla="*/ 511390 w 1272442"/>
                <a:gd name="connsiteY69" fmla="*/ 446758 h 1168310"/>
                <a:gd name="connsiteX70" fmla="*/ 665143 w 1272442"/>
                <a:gd name="connsiteY70" fmla="*/ 310469 h 1168310"/>
                <a:gd name="connsiteX71" fmla="*/ 758958 w 1272442"/>
                <a:gd name="connsiteY71" fmla="*/ 260910 h 1168310"/>
                <a:gd name="connsiteX72" fmla="*/ 858638 w 1272442"/>
                <a:gd name="connsiteY72" fmla="*/ 221784 h 1168310"/>
                <a:gd name="connsiteX73" fmla="*/ 858638 w 1272442"/>
                <a:gd name="connsiteY73" fmla="*/ 283639 h 1168310"/>
                <a:gd name="connsiteX74" fmla="*/ 888711 w 1272442"/>
                <a:gd name="connsiteY74" fmla="*/ 224973 h 1168310"/>
                <a:gd name="connsiteX75" fmla="*/ 1042464 w 1272442"/>
                <a:gd name="connsiteY75" fmla="*/ 88685 h 1168310"/>
                <a:gd name="connsiteX76" fmla="*/ 1136280 w 1272442"/>
                <a:gd name="connsiteY76" fmla="*/ 39126 h 1168310"/>
                <a:gd name="connsiteX77" fmla="*/ 1236610 w 1272442"/>
                <a:gd name="connsiteY77" fmla="*/ 0 h 116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72442" h="1168310">
                  <a:moveTo>
                    <a:pt x="461324" y="585318"/>
                  </a:moveTo>
                  <a:lnTo>
                    <a:pt x="393533" y="591543"/>
                  </a:lnTo>
                  <a:cubicBezTo>
                    <a:pt x="367471" y="598723"/>
                    <a:pt x="340758" y="610471"/>
                    <a:pt x="312090" y="627441"/>
                  </a:cubicBezTo>
                  <a:cubicBezTo>
                    <a:pt x="261269" y="658118"/>
                    <a:pt x="220873" y="697932"/>
                    <a:pt x="191554" y="748189"/>
                  </a:cubicBezTo>
                  <a:cubicBezTo>
                    <a:pt x="162234" y="798447"/>
                    <a:pt x="147900" y="852620"/>
                    <a:pt x="147900" y="910057"/>
                  </a:cubicBezTo>
                  <a:cubicBezTo>
                    <a:pt x="147900" y="967494"/>
                    <a:pt x="162234" y="1003393"/>
                    <a:pt x="191554" y="1019057"/>
                  </a:cubicBezTo>
                  <a:cubicBezTo>
                    <a:pt x="220873" y="1034069"/>
                    <a:pt x="261269" y="1026890"/>
                    <a:pt x="312090" y="996213"/>
                  </a:cubicBezTo>
                  <a:cubicBezTo>
                    <a:pt x="340758" y="979243"/>
                    <a:pt x="367471" y="959009"/>
                    <a:pt x="393533" y="934860"/>
                  </a:cubicBezTo>
                  <a:cubicBezTo>
                    <a:pt x="406238" y="922785"/>
                    <a:pt x="419106" y="909568"/>
                    <a:pt x="432137" y="895127"/>
                  </a:cubicBezTo>
                  <a:lnTo>
                    <a:pt x="462527" y="858983"/>
                  </a:lnTo>
                  <a:lnTo>
                    <a:pt x="462527" y="846493"/>
                  </a:lnTo>
                  <a:cubicBezTo>
                    <a:pt x="498360" y="843885"/>
                    <a:pt x="532237" y="838016"/>
                    <a:pt x="565464" y="828234"/>
                  </a:cubicBezTo>
                  <a:cubicBezTo>
                    <a:pt x="598690" y="817801"/>
                    <a:pt x="629962" y="802803"/>
                    <a:pt x="660582" y="784544"/>
                  </a:cubicBezTo>
                  <a:cubicBezTo>
                    <a:pt x="691854" y="766285"/>
                    <a:pt x="715960" y="746722"/>
                    <a:pt x="732247" y="726507"/>
                  </a:cubicBezTo>
                  <a:cubicBezTo>
                    <a:pt x="749186" y="706292"/>
                    <a:pt x="757655" y="686077"/>
                    <a:pt x="757655" y="667167"/>
                  </a:cubicBezTo>
                  <a:cubicBezTo>
                    <a:pt x="757655" y="649560"/>
                    <a:pt x="751792" y="639778"/>
                    <a:pt x="740716" y="636518"/>
                  </a:cubicBezTo>
                  <a:cubicBezTo>
                    <a:pt x="729641" y="634562"/>
                    <a:pt x="706839" y="639126"/>
                    <a:pt x="672961" y="651516"/>
                  </a:cubicBezTo>
                  <a:lnTo>
                    <a:pt x="618235" y="672383"/>
                  </a:lnTo>
                  <a:cubicBezTo>
                    <a:pt x="562858" y="693902"/>
                    <a:pt x="521813" y="699119"/>
                    <a:pt x="495754" y="688686"/>
                  </a:cubicBezTo>
                  <a:cubicBezTo>
                    <a:pt x="470997" y="677600"/>
                    <a:pt x="457967" y="650212"/>
                    <a:pt x="457967" y="605869"/>
                  </a:cubicBezTo>
                  <a:close/>
                  <a:moveTo>
                    <a:pt x="841958" y="343988"/>
                  </a:moveTo>
                  <a:lnTo>
                    <a:pt x="770034" y="361985"/>
                  </a:lnTo>
                  <a:cubicBezTo>
                    <a:pt x="740716" y="372419"/>
                    <a:pt x="713354" y="385461"/>
                    <a:pt x="687945" y="400459"/>
                  </a:cubicBezTo>
                  <a:cubicBezTo>
                    <a:pt x="653416" y="420674"/>
                    <a:pt x="628659" y="440889"/>
                    <a:pt x="611720" y="459800"/>
                  </a:cubicBezTo>
                  <a:cubicBezTo>
                    <a:pt x="595433" y="478710"/>
                    <a:pt x="587615" y="498273"/>
                    <a:pt x="587615" y="518488"/>
                  </a:cubicBezTo>
                  <a:cubicBezTo>
                    <a:pt x="587615" y="532835"/>
                    <a:pt x="592827" y="541312"/>
                    <a:pt x="603902" y="543268"/>
                  </a:cubicBezTo>
                  <a:cubicBezTo>
                    <a:pt x="614978" y="544572"/>
                    <a:pt x="634522" y="540008"/>
                    <a:pt x="663840" y="528922"/>
                  </a:cubicBezTo>
                  <a:lnTo>
                    <a:pt x="724429" y="504794"/>
                  </a:lnTo>
                  <a:cubicBezTo>
                    <a:pt x="786321" y="480015"/>
                    <a:pt x="829972" y="472842"/>
                    <a:pt x="856032" y="482623"/>
                  </a:cubicBezTo>
                  <a:cubicBezTo>
                    <a:pt x="882092" y="492405"/>
                    <a:pt x="895122" y="521097"/>
                    <a:pt x="895122" y="567396"/>
                  </a:cubicBezTo>
                  <a:lnTo>
                    <a:pt x="887676" y="615634"/>
                  </a:lnTo>
                  <a:lnTo>
                    <a:pt x="942785" y="605797"/>
                  </a:lnTo>
                  <a:cubicBezTo>
                    <a:pt x="976012" y="595363"/>
                    <a:pt x="1007935" y="581017"/>
                    <a:pt x="1038555" y="562758"/>
                  </a:cubicBezTo>
                  <a:cubicBezTo>
                    <a:pt x="1069176" y="544500"/>
                    <a:pt x="1093933" y="524937"/>
                    <a:pt x="1110220" y="504070"/>
                  </a:cubicBezTo>
                  <a:cubicBezTo>
                    <a:pt x="1127159" y="483855"/>
                    <a:pt x="1134977" y="464292"/>
                    <a:pt x="1134977" y="444729"/>
                  </a:cubicBezTo>
                  <a:cubicBezTo>
                    <a:pt x="1134977" y="427775"/>
                    <a:pt x="1129113" y="417993"/>
                    <a:pt x="1118038" y="414733"/>
                  </a:cubicBezTo>
                  <a:cubicBezTo>
                    <a:pt x="1106962" y="412124"/>
                    <a:pt x="1084160" y="417341"/>
                    <a:pt x="1050934" y="429731"/>
                  </a:cubicBezTo>
                  <a:lnTo>
                    <a:pt x="995557" y="450598"/>
                  </a:lnTo>
                  <a:cubicBezTo>
                    <a:pt x="940179" y="471465"/>
                    <a:pt x="899135" y="477334"/>
                    <a:pt x="873727" y="466248"/>
                  </a:cubicBezTo>
                  <a:cubicBezTo>
                    <a:pt x="847667" y="455815"/>
                    <a:pt x="835288" y="427775"/>
                    <a:pt x="835288" y="384084"/>
                  </a:cubicBezTo>
                  <a:close/>
                  <a:moveTo>
                    <a:pt x="1236610" y="0"/>
                  </a:moveTo>
                  <a:lnTo>
                    <a:pt x="1236610" y="117377"/>
                  </a:lnTo>
                  <a:cubicBezTo>
                    <a:pt x="1205990" y="121942"/>
                    <a:pt x="1176021" y="129767"/>
                    <a:pt x="1147355" y="140201"/>
                  </a:cubicBezTo>
                  <a:cubicBezTo>
                    <a:pt x="1118689" y="150634"/>
                    <a:pt x="1090675" y="163024"/>
                    <a:pt x="1065267" y="178674"/>
                  </a:cubicBezTo>
                  <a:cubicBezTo>
                    <a:pt x="1031389" y="198889"/>
                    <a:pt x="1005980" y="218452"/>
                    <a:pt x="989693" y="237363"/>
                  </a:cubicBezTo>
                  <a:cubicBezTo>
                    <a:pt x="972754" y="256926"/>
                    <a:pt x="964936" y="276489"/>
                    <a:pt x="964936" y="296051"/>
                  </a:cubicBezTo>
                  <a:cubicBezTo>
                    <a:pt x="964936" y="311050"/>
                    <a:pt x="970148" y="319527"/>
                    <a:pt x="981875" y="321483"/>
                  </a:cubicBezTo>
                  <a:cubicBezTo>
                    <a:pt x="992299" y="322787"/>
                    <a:pt x="1012495" y="318223"/>
                    <a:pt x="1041813" y="306485"/>
                  </a:cubicBezTo>
                  <a:lnTo>
                    <a:pt x="1102402" y="283010"/>
                  </a:lnTo>
                  <a:cubicBezTo>
                    <a:pt x="1164294" y="258230"/>
                    <a:pt x="1207944" y="251057"/>
                    <a:pt x="1233353" y="260838"/>
                  </a:cubicBezTo>
                  <a:cubicBezTo>
                    <a:pt x="1259413" y="270620"/>
                    <a:pt x="1272442" y="298660"/>
                    <a:pt x="1272442" y="345611"/>
                  </a:cubicBezTo>
                  <a:cubicBezTo>
                    <a:pt x="1272442" y="406908"/>
                    <a:pt x="1254852" y="462988"/>
                    <a:pt x="1218368" y="514503"/>
                  </a:cubicBezTo>
                  <a:cubicBezTo>
                    <a:pt x="1181884" y="566019"/>
                    <a:pt x="1127159" y="613622"/>
                    <a:pt x="1052237" y="657964"/>
                  </a:cubicBezTo>
                  <a:cubicBezTo>
                    <a:pt x="1017056" y="679484"/>
                    <a:pt x="981875" y="697090"/>
                    <a:pt x="946043" y="711436"/>
                  </a:cubicBezTo>
                  <a:cubicBezTo>
                    <a:pt x="910862" y="725782"/>
                    <a:pt x="875681" y="736868"/>
                    <a:pt x="840500" y="745345"/>
                  </a:cubicBezTo>
                  <a:lnTo>
                    <a:pt x="840500" y="736878"/>
                  </a:lnTo>
                  <a:lnTo>
                    <a:pt x="771907" y="810791"/>
                  </a:lnTo>
                  <a:cubicBezTo>
                    <a:pt x="744300" y="834755"/>
                    <a:pt x="712050" y="857905"/>
                    <a:pt x="674915" y="880402"/>
                  </a:cubicBezTo>
                  <a:cubicBezTo>
                    <a:pt x="639083" y="901269"/>
                    <a:pt x="603902" y="918876"/>
                    <a:pt x="568721" y="933222"/>
                  </a:cubicBezTo>
                  <a:lnTo>
                    <a:pt x="469789" y="964813"/>
                  </a:lnTo>
                  <a:lnTo>
                    <a:pt x="389624" y="1043207"/>
                  </a:lnTo>
                  <a:cubicBezTo>
                    <a:pt x="360956" y="1066704"/>
                    <a:pt x="331636" y="1088243"/>
                    <a:pt x="300362" y="1107171"/>
                  </a:cubicBezTo>
                  <a:cubicBezTo>
                    <a:pt x="208494" y="1161997"/>
                    <a:pt x="134870" y="1180273"/>
                    <a:pt x="81443" y="1160692"/>
                  </a:cubicBezTo>
                  <a:cubicBezTo>
                    <a:pt x="27365" y="1141111"/>
                    <a:pt x="0" y="1086937"/>
                    <a:pt x="0" y="998171"/>
                  </a:cubicBezTo>
                  <a:cubicBezTo>
                    <a:pt x="0" y="909405"/>
                    <a:pt x="27365" y="823249"/>
                    <a:pt x="81443" y="739704"/>
                  </a:cubicBezTo>
                  <a:cubicBezTo>
                    <a:pt x="134870" y="655507"/>
                    <a:pt x="208494" y="585669"/>
                    <a:pt x="300362" y="530842"/>
                  </a:cubicBezTo>
                  <a:cubicBezTo>
                    <a:pt x="331636" y="511914"/>
                    <a:pt x="360956" y="497555"/>
                    <a:pt x="389624" y="487765"/>
                  </a:cubicBezTo>
                  <a:cubicBezTo>
                    <a:pt x="418292" y="477974"/>
                    <a:pt x="445656" y="471447"/>
                    <a:pt x="471718" y="469489"/>
                  </a:cubicBezTo>
                  <a:lnTo>
                    <a:pt x="471718" y="523677"/>
                  </a:lnTo>
                  <a:lnTo>
                    <a:pt x="511390" y="446758"/>
                  </a:lnTo>
                  <a:cubicBezTo>
                    <a:pt x="546570" y="395894"/>
                    <a:pt x="598039" y="350247"/>
                    <a:pt x="665143" y="310469"/>
                  </a:cubicBezTo>
                  <a:cubicBezTo>
                    <a:pt x="695112" y="292211"/>
                    <a:pt x="726384" y="275908"/>
                    <a:pt x="758958" y="260910"/>
                  </a:cubicBezTo>
                  <a:cubicBezTo>
                    <a:pt x="790882" y="246564"/>
                    <a:pt x="824760" y="233522"/>
                    <a:pt x="858638" y="221784"/>
                  </a:cubicBezTo>
                  <a:lnTo>
                    <a:pt x="858638" y="283639"/>
                  </a:lnTo>
                  <a:lnTo>
                    <a:pt x="888711" y="224973"/>
                  </a:lnTo>
                  <a:cubicBezTo>
                    <a:pt x="924543" y="174110"/>
                    <a:pt x="976012" y="128463"/>
                    <a:pt x="1042464" y="88685"/>
                  </a:cubicBezTo>
                  <a:cubicBezTo>
                    <a:pt x="1073085" y="70427"/>
                    <a:pt x="1104357" y="54124"/>
                    <a:pt x="1136280" y="39126"/>
                  </a:cubicBezTo>
                  <a:cubicBezTo>
                    <a:pt x="1168855" y="24780"/>
                    <a:pt x="1202081" y="11086"/>
                    <a:pt x="12366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132">
              <a:extLst>
                <a:ext uri="{FF2B5EF4-FFF2-40B4-BE49-F238E27FC236}">
                  <a16:creationId xmlns:a16="http://schemas.microsoft.com/office/drawing/2014/main" id="{514BF97A-23FA-7B4D-B034-F46CC150E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12680" y="4026664"/>
              <a:ext cx="861211" cy="532857"/>
            </a:xfrm>
            <a:custGeom>
              <a:avLst/>
              <a:gdLst>
                <a:gd name="T0" fmla="*/ 51 w 1317"/>
                <a:gd name="T1" fmla="*/ 380 h 818"/>
                <a:gd name="T2" fmla="*/ 672 w 1317"/>
                <a:gd name="T3" fmla="*/ 23 h 818"/>
                <a:gd name="T4" fmla="*/ 672 w 1317"/>
                <a:gd name="T5" fmla="*/ 23 h 818"/>
                <a:gd name="T6" fmla="*/ 802 w 1317"/>
                <a:gd name="T7" fmla="*/ 25 h 818"/>
                <a:gd name="T8" fmla="*/ 1268 w 1317"/>
                <a:gd name="T9" fmla="*/ 307 h 818"/>
                <a:gd name="T10" fmla="*/ 1268 w 1317"/>
                <a:gd name="T11" fmla="*/ 307 h 818"/>
                <a:gd name="T12" fmla="*/ 1266 w 1317"/>
                <a:gd name="T13" fmla="*/ 434 h 818"/>
                <a:gd name="T14" fmla="*/ 642 w 1317"/>
                <a:gd name="T15" fmla="*/ 793 h 818"/>
                <a:gd name="T16" fmla="*/ 642 w 1317"/>
                <a:gd name="T17" fmla="*/ 793 h 818"/>
                <a:gd name="T18" fmla="*/ 512 w 1317"/>
                <a:gd name="T19" fmla="*/ 792 h 818"/>
                <a:gd name="T20" fmla="*/ 50 w 1317"/>
                <a:gd name="T21" fmla="*/ 512 h 818"/>
                <a:gd name="T22" fmla="*/ 50 w 1317"/>
                <a:gd name="T23" fmla="*/ 512 h 818"/>
                <a:gd name="T24" fmla="*/ 51 w 1317"/>
                <a:gd name="T25" fmla="*/ 380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7" h="818">
                  <a:moveTo>
                    <a:pt x="51" y="380"/>
                  </a:moveTo>
                  <a:lnTo>
                    <a:pt x="672" y="23"/>
                  </a:lnTo>
                  <a:lnTo>
                    <a:pt x="672" y="23"/>
                  </a:lnTo>
                  <a:cubicBezTo>
                    <a:pt x="712" y="0"/>
                    <a:pt x="762" y="0"/>
                    <a:pt x="802" y="25"/>
                  </a:cubicBezTo>
                  <a:lnTo>
                    <a:pt x="1268" y="307"/>
                  </a:lnTo>
                  <a:lnTo>
                    <a:pt x="1268" y="307"/>
                  </a:lnTo>
                  <a:cubicBezTo>
                    <a:pt x="1316" y="336"/>
                    <a:pt x="1315" y="406"/>
                    <a:pt x="1266" y="434"/>
                  </a:cubicBezTo>
                  <a:lnTo>
                    <a:pt x="642" y="793"/>
                  </a:lnTo>
                  <a:lnTo>
                    <a:pt x="642" y="793"/>
                  </a:lnTo>
                  <a:cubicBezTo>
                    <a:pt x="601" y="817"/>
                    <a:pt x="552" y="816"/>
                    <a:pt x="512" y="792"/>
                  </a:cubicBezTo>
                  <a:lnTo>
                    <a:pt x="50" y="512"/>
                  </a:lnTo>
                  <a:lnTo>
                    <a:pt x="50" y="512"/>
                  </a:lnTo>
                  <a:cubicBezTo>
                    <a:pt x="0" y="482"/>
                    <a:pt x="1" y="409"/>
                    <a:pt x="51" y="38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133">
              <a:extLst>
                <a:ext uri="{FF2B5EF4-FFF2-40B4-BE49-F238E27FC236}">
                  <a16:creationId xmlns:a16="http://schemas.microsoft.com/office/drawing/2014/main" id="{0768A860-5A05-4A4E-A30B-F6551E312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0510" y="3850966"/>
              <a:ext cx="780563" cy="633667"/>
            </a:xfrm>
            <a:custGeom>
              <a:avLst/>
              <a:gdLst>
                <a:gd name="T0" fmla="*/ 515 w 1196"/>
                <a:gd name="T1" fmla="*/ 392 h 968"/>
                <a:gd name="T2" fmla="*/ 0 w 1196"/>
                <a:gd name="T3" fmla="*/ 71 h 968"/>
                <a:gd name="T4" fmla="*/ 110 w 1196"/>
                <a:gd name="T5" fmla="*/ 685 h 968"/>
                <a:gd name="T6" fmla="*/ 110 w 1196"/>
                <a:gd name="T7" fmla="*/ 685 h 968"/>
                <a:gd name="T8" fmla="*/ 164 w 1196"/>
                <a:gd name="T9" fmla="*/ 765 h 968"/>
                <a:gd name="T10" fmla="*/ 433 w 1196"/>
                <a:gd name="T11" fmla="*/ 934 h 968"/>
                <a:gd name="T12" fmla="*/ 433 w 1196"/>
                <a:gd name="T13" fmla="*/ 934 h 968"/>
                <a:gd name="T14" fmla="*/ 598 w 1196"/>
                <a:gd name="T15" fmla="*/ 937 h 968"/>
                <a:gd name="T16" fmla="*/ 1010 w 1196"/>
                <a:gd name="T17" fmla="*/ 700 h 968"/>
                <a:gd name="T18" fmla="*/ 1010 w 1196"/>
                <a:gd name="T19" fmla="*/ 700 h 968"/>
                <a:gd name="T20" fmla="*/ 1090 w 1196"/>
                <a:gd name="T21" fmla="*/ 587 h 968"/>
                <a:gd name="T22" fmla="*/ 1195 w 1196"/>
                <a:gd name="T23" fmla="*/ 0 h 968"/>
                <a:gd name="T24" fmla="*/ 515 w 1196"/>
                <a:gd name="T25" fmla="*/ 392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6" h="968">
                  <a:moveTo>
                    <a:pt x="515" y="392"/>
                  </a:moveTo>
                  <a:lnTo>
                    <a:pt x="0" y="71"/>
                  </a:lnTo>
                  <a:lnTo>
                    <a:pt x="110" y="685"/>
                  </a:lnTo>
                  <a:lnTo>
                    <a:pt x="110" y="685"/>
                  </a:lnTo>
                  <a:cubicBezTo>
                    <a:pt x="116" y="718"/>
                    <a:pt x="136" y="747"/>
                    <a:pt x="164" y="765"/>
                  </a:cubicBezTo>
                  <a:lnTo>
                    <a:pt x="433" y="934"/>
                  </a:lnTo>
                  <a:lnTo>
                    <a:pt x="433" y="934"/>
                  </a:lnTo>
                  <a:cubicBezTo>
                    <a:pt x="483" y="965"/>
                    <a:pt x="547" y="967"/>
                    <a:pt x="598" y="937"/>
                  </a:cubicBezTo>
                  <a:lnTo>
                    <a:pt x="1010" y="700"/>
                  </a:lnTo>
                  <a:lnTo>
                    <a:pt x="1010" y="700"/>
                  </a:lnTo>
                  <a:cubicBezTo>
                    <a:pt x="1052" y="676"/>
                    <a:pt x="1081" y="635"/>
                    <a:pt x="1090" y="587"/>
                  </a:cubicBezTo>
                  <a:lnTo>
                    <a:pt x="1195" y="0"/>
                  </a:lnTo>
                  <a:lnTo>
                    <a:pt x="515" y="392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134">
              <a:extLst>
                <a:ext uri="{FF2B5EF4-FFF2-40B4-BE49-F238E27FC236}">
                  <a16:creationId xmlns:a16="http://schemas.microsoft.com/office/drawing/2014/main" id="{DD1B00B7-C30B-8F45-9623-DE4D28079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32030" y="3850967"/>
              <a:ext cx="771921" cy="627906"/>
            </a:xfrm>
            <a:custGeom>
              <a:avLst/>
              <a:gdLst>
                <a:gd name="T0" fmla="*/ 1148 w 1180"/>
                <a:gd name="T1" fmla="*/ 170 h 960"/>
                <a:gd name="T2" fmla="*/ 1179 w 1180"/>
                <a:gd name="T3" fmla="*/ 0 h 960"/>
                <a:gd name="T4" fmla="*/ 499 w 1180"/>
                <a:gd name="T5" fmla="*/ 392 h 960"/>
                <a:gd name="T6" fmla="*/ 52 w 1180"/>
                <a:gd name="T7" fmla="*/ 114 h 960"/>
                <a:gd name="T8" fmla="*/ 44 w 1180"/>
                <a:gd name="T9" fmla="*/ 118 h 960"/>
                <a:gd name="T10" fmla="*/ 44 w 1180"/>
                <a:gd name="T11" fmla="*/ 118 h 960"/>
                <a:gd name="T12" fmla="*/ 0 w 1180"/>
                <a:gd name="T13" fmla="*/ 160 h 960"/>
                <a:gd name="T14" fmla="*/ 32 w 1180"/>
                <a:gd name="T15" fmla="*/ 337 h 960"/>
                <a:gd name="T16" fmla="*/ 32 w 1180"/>
                <a:gd name="T17" fmla="*/ 337 h 960"/>
                <a:gd name="T18" fmla="*/ 42 w 1180"/>
                <a:gd name="T19" fmla="*/ 344 h 960"/>
                <a:gd name="T20" fmla="*/ 413 w 1180"/>
                <a:gd name="T21" fmla="*/ 569 h 960"/>
                <a:gd name="T22" fmla="*/ 413 w 1180"/>
                <a:gd name="T23" fmla="*/ 569 h 960"/>
                <a:gd name="T24" fmla="*/ 414 w 1180"/>
                <a:gd name="T25" fmla="*/ 569 h 960"/>
                <a:gd name="T26" fmla="*/ 414 w 1180"/>
                <a:gd name="T27" fmla="*/ 569 h 960"/>
                <a:gd name="T28" fmla="*/ 499 w 1180"/>
                <a:gd name="T29" fmla="*/ 714 h 960"/>
                <a:gd name="T30" fmla="*/ 499 w 1180"/>
                <a:gd name="T31" fmla="*/ 958 h 960"/>
                <a:gd name="T32" fmla="*/ 499 w 1180"/>
                <a:gd name="T33" fmla="*/ 958 h 960"/>
                <a:gd name="T34" fmla="*/ 582 w 1180"/>
                <a:gd name="T35" fmla="*/ 937 h 960"/>
                <a:gd name="T36" fmla="*/ 994 w 1180"/>
                <a:gd name="T37" fmla="*/ 700 h 960"/>
                <a:gd name="T38" fmla="*/ 994 w 1180"/>
                <a:gd name="T39" fmla="*/ 700 h 960"/>
                <a:gd name="T40" fmla="*/ 1009 w 1180"/>
                <a:gd name="T41" fmla="*/ 690 h 960"/>
                <a:gd name="T42" fmla="*/ 1009 w 1180"/>
                <a:gd name="T43" fmla="*/ 690 h 960"/>
                <a:gd name="T44" fmla="*/ 1074 w 1180"/>
                <a:gd name="T45" fmla="*/ 587 h 960"/>
                <a:gd name="T46" fmla="*/ 1132 w 1180"/>
                <a:gd name="T47" fmla="*/ 263 h 960"/>
                <a:gd name="T48" fmla="*/ 1148 w 1180"/>
                <a:gd name="T49" fmla="*/ 17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80" h="960">
                  <a:moveTo>
                    <a:pt x="1148" y="170"/>
                  </a:moveTo>
                  <a:lnTo>
                    <a:pt x="1179" y="0"/>
                  </a:lnTo>
                  <a:lnTo>
                    <a:pt x="499" y="392"/>
                  </a:lnTo>
                  <a:lnTo>
                    <a:pt x="52" y="114"/>
                  </a:lnTo>
                  <a:lnTo>
                    <a:pt x="44" y="118"/>
                  </a:lnTo>
                  <a:lnTo>
                    <a:pt x="44" y="118"/>
                  </a:lnTo>
                  <a:cubicBezTo>
                    <a:pt x="25" y="129"/>
                    <a:pt x="11" y="144"/>
                    <a:pt x="0" y="160"/>
                  </a:cubicBezTo>
                  <a:lnTo>
                    <a:pt x="32" y="337"/>
                  </a:lnTo>
                  <a:lnTo>
                    <a:pt x="32" y="337"/>
                  </a:lnTo>
                  <a:cubicBezTo>
                    <a:pt x="35" y="339"/>
                    <a:pt x="38" y="342"/>
                    <a:pt x="42" y="344"/>
                  </a:cubicBezTo>
                  <a:lnTo>
                    <a:pt x="413" y="569"/>
                  </a:lnTo>
                  <a:lnTo>
                    <a:pt x="413" y="569"/>
                  </a:lnTo>
                  <a:lnTo>
                    <a:pt x="414" y="569"/>
                  </a:lnTo>
                  <a:lnTo>
                    <a:pt x="414" y="569"/>
                  </a:lnTo>
                  <a:cubicBezTo>
                    <a:pt x="465" y="600"/>
                    <a:pt x="499" y="654"/>
                    <a:pt x="499" y="714"/>
                  </a:cubicBezTo>
                  <a:lnTo>
                    <a:pt x="499" y="958"/>
                  </a:lnTo>
                  <a:lnTo>
                    <a:pt x="499" y="958"/>
                  </a:lnTo>
                  <a:cubicBezTo>
                    <a:pt x="527" y="959"/>
                    <a:pt x="556" y="952"/>
                    <a:pt x="582" y="937"/>
                  </a:cubicBezTo>
                  <a:lnTo>
                    <a:pt x="994" y="700"/>
                  </a:lnTo>
                  <a:lnTo>
                    <a:pt x="994" y="700"/>
                  </a:lnTo>
                  <a:cubicBezTo>
                    <a:pt x="999" y="697"/>
                    <a:pt x="1004" y="694"/>
                    <a:pt x="1009" y="690"/>
                  </a:cubicBezTo>
                  <a:lnTo>
                    <a:pt x="1009" y="690"/>
                  </a:lnTo>
                  <a:cubicBezTo>
                    <a:pt x="1043" y="665"/>
                    <a:pt x="1066" y="629"/>
                    <a:pt x="1074" y="587"/>
                  </a:cubicBezTo>
                  <a:lnTo>
                    <a:pt x="1132" y="263"/>
                  </a:lnTo>
                  <a:lnTo>
                    <a:pt x="1148" y="170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9" name="Freeform 135">
              <a:extLst>
                <a:ext uri="{FF2B5EF4-FFF2-40B4-BE49-F238E27FC236}">
                  <a16:creationId xmlns:a16="http://schemas.microsoft.com/office/drawing/2014/main" id="{8878532D-6727-084C-91CD-EF62A04E2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7631" y="3669506"/>
              <a:ext cx="789203" cy="541497"/>
            </a:xfrm>
            <a:custGeom>
              <a:avLst/>
              <a:gdLst>
                <a:gd name="T0" fmla="*/ 1208 w 1209"/>
                <a:gd name="T1" fmla="*/ 236 h 827"/>
                <a:gd name="T2" fmla="*/ 785 w 1209"/>
                <a:gd name="T3" fmla="*/ 35 h 827"/>
                <a:gd name="T4" fmla="*/ 785 w 1209"/>
                <a:gd name="T5" fmla="*/ 35 h 827"/>
                <a:gd name="T6" fmla="*/ 598 w 1209"/>
                <a:gd name="T7" fmla="*/ 34 h 827"/>
                <a:gd name="T8" fmla="*/ 0 w 1209"/>
                <a:gd name="T9" fmla="*/ 324 h 827"/>
                <a:gd name="T10" fmla="*/ 0 w 1209"/>
                <a:gd name="T11" fmla="*/ 462 h 827"/>
                <a:gd name="T12" fmla="*/ 0 w 1209"/>
                <a:gd name="T13" fmla="*/ 462 h 827"/>
                <a:gd name="T14" fmla="*/ 63 w 1209"/>
                <a:gd name="T15" fmla="*/ 566 h 827"/>
                <a:gd name="T16" fmla="*/ 434 w 1209"/>
                <a:gd name="T17" fmla="*/ 791 h 827"/>
                <a:gd name="T18" fmla="*/ 434 w 1209"/>
                <a:gd name="T19" fmla="*/ 791 h 827"/>
                <a:gd name="T20" fmla="*/ 621 w 1209"/>
                <a:gd name="T21" fmla="*/ 793 h 827"/>
                <a:gd name="T22" fmla="*/ 1140 w 1209"/>
                <a:gd name="T23" fmla="*/ 494 h 827"/>
                <a:gd name="T24" fmla="*/ 1140 w 1209"/>
                <a:gd name="T25" fmla="*/ 494 h 827"/>
                <a:gd name="T26" fmla="*/ 1208 w 1209"/>
                <a:gd name="T27" fmla="*/ 376 h 827"/>
                <a:gd name="T28" fmla="*/ 1208 w 1209"/>
                <a:gd name="T29" fmla="*/ 236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9" h="827">
                  <a:moveTo>
                    <a:pt x="1208" y="236"/>
                  </a:moveTo>
                  <a:lnTo>
                    <a:pt x="785" y="35"/>
                  </a:lnTo>
                  <a:lnTo>
                    <a:pt x="785" y="35"/>
                  </a:lnTo>
                  <a:cubicBezTo>
                    <a:pt x="727" y="1"/>
                    <a:pt x="656" y="0"/>
                    <a:pt x="598" y="34"/>
                  </a:cubicBezTo>
                  <a:lnTo>
                    <a:pt x="0" y="324"/>
                  </a:lnTo>
                  <a:lnTo>
                    <a:pt x="0" y="462"/>
                  </a:lnTo>
                  <a:lnTo>
                    <a:pt x="0" y="462"/>
                  </a:lnTo>
                  <a:cubicBezTo>
                    <a:pt x="3" y="503"/>
                    <a:pt x="23" y="542"/>
                    <a:pt x="63" y="566"/>
                  </a:cubicBezTo>
                  <a:lnTo>
                    <a:pt x="434" y="791"/>
                  </a:lnTo>
                  <a:lnTo>
                    <a:pt x="434" y="791"/>
                  </a:lnTo>
                  <a:cubicBezTo>
                    <a:pt x="491" y="825"/>
                    <a:pt x="563" y="826"/>
                    <a:pt x="621" y="793"/>
                  </a:cubicBezTo>
                  <a:lnTo>
                    <a:pt x="1140" y="494"/>
                  </a:lnTo>
                  <a:lnTo>
                    <a:pt x="1140" y="494"/>
                  </a:lnTo>
                  <a:cubicBezTo>
                    <a:pt x="1186" y="467"/>
                    <a:pt x="1208" y="424"/>
                    <a:pt x="1208" y="376"/>
                  </a:cubicBezTo>
                  <a:lnTo>
                    <a:pt x="1208" y="236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136">
              <a:extLst>
                <a:ext uri="{FF2B5EF4-FFF2-40B4-BE49-F238E27FC236}">
                  <a16:creationId xmlns:a16="http://schemas.microsoft.com/office/drawing/2014/main" id="{1A428537-A075-6C4C-84F7-C6CE44B96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99900" y="3689670"/>
              <a:ext cx="506933" cy="512694"/>
            </a:xfrm>
            <a:custGeom>
              <a:avLst/>
              <a:gdLst>
                <a:gd name="T0" fmla="*/ 164 w 775"/>
                <a:gd name="T1" fmla="*/ 3 h 786"/>
                <a:gd name="T2" fmla="*/ 118 w 775"/>
                <a:gd name="T3" fmla="*/ 24 h 786"/>
                <a:gd name="T4" fmla="*/ 0 w 775"/>
                <a:gd name="T5" fmla="*/ 635 h 786"/>
                <a:gd name="T6" fmla="*/ 0 w 775"/>
                <a:gd name="T7" fmla="*/ 635 h 786"/>
                <a:gd name="T8" fmla="*/ 118 w 775"/>
                <a:gd name="T9" fmla="*/ 785 h 786"/>
                <a:gd name="T10" fmla="*/ 118 w 775"/>
                <a:gd name="T11" fmla="*/ 785 h 786"/>
                <a:gd name="T12" fmla="*/ 187 w 775"/>
                <a:gd name="T13" fmla="*/ 762 h 786"/>
                <a:gd name="T14" fmla="*/ 706 w 775"/>
                <a:gd name="T15" fmla="*/ 463 h 786"/>
                <a:gd name="T16" fmla="*/ 706 w 775"/>
                <a:gd name="T17" fmla="*/ 463 h 786"/>
                <a:gd name="T18" fmla="*/ 774 w 775"/>
                <a:gd name="T19" fmla="*/ 345 h 786"/>
                <a:gd name="T20" fmla="*/ 774 w 775"/>
                <a:gd name="T21" fmla="*/ 205 h 786"/>
                <a:gd name="T22" fmla="*/ 351 w 775"/>
                <a:gd name="T23" fmla="*/ 4 h 786"/>
                <a:gd name="T24" fmla="*/ 351 w 775"/>
                <a:gd name="T25" fmla="*/ 4 h 786"/>
                <a:gd name="T26" fmla="*/ 341 w 775"/>
                <a:gd name="T27" fmla="*/ 0 h 786"/>
                <a:gd name="T28" fmla="*/ 169 w 775"/>
                <a:gd name="T29" fmla="*/ 0 h 786"/>
                <a:gd name="T30" fmla="*/ 169 w 775"/>
                <a:gd name="T31" fmla="*/ 0 h 786"/>
                <a:gd name="T32" fmla="*/ 164 w 775"/>
                <a:gd name="T33" fmla="*/ 3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5" h="786">
                  <a:moveTo>
                    <a:pt x="164" y="3"/>
                  </a:moveTo>
                  <a:lnTo>
                    <a:pt x="118" y="24"/>
                  </a:lnTo>
                  <a:lnTo>
                    <a:pt x="0" y="635"/>
                  </a:lnTo>
                  <a:lnTo>
                    <a:pt x="0" y="635"/>
                  </a:lnTo>
                  <a:cubicBezTo>
                    <a:pt x="73" y="664"/>
                    <a:pt x="114" y="713"/>
                    <a:pt x="118" y="785"/>
                  </a:cubicBezTo>
                  <a:lnTo>
                    <a:pt x="118" y="785"/>
                  </a:lnTo>
                  <a:cubicBezTo>
                    <a:pt x="142" y="782"/>
                    <a:pt x="166" y="774"/>
                    <a:pt x="187" y="762"/>
                  </a:cubicBezTo>
                  <a:lnTo>
                    <a:pt x="706" y="463"/>
                  </a:lnTo>
                  <a:lnTo>
                    <a:pt x="706" y="463"/>
                  </a:lnTo>
                  <a:cubicBezTo>
                    <a:pt x="752" y="436"/>
                    <a:pt x="774" y="393"/>
                    <a:pt x="774" y="345"/>
                  </a:cubicBezTo>
                  <a:lnTo>
                    <a:pt x="774" y="205"/>
                  </a:lnTo>
                  <a:lnTo>
                    <a:pt x="351" y="4"/>
                  </a:lnTo>
                  <a:lnTo>
                    <a:pt x="351" y="4"/>
                  </a:lnTo>
                  <a:cubicBezTo>
                    <a:pt x="348" y="3"/>
                    <a:pt x="344" y="2"/>
                    <a:pt x="341" y="0"/>
                  </a:cubicBezTo>
                  <a:lnTo>
                    <a:pt x="169" y="0"/>
                  </a:lnTo>
                  <a:lnTo>
                    <a:pt x="169" y="0"/>
                  </a:lnTo>
                  <a:cubicBezTo>
                    <a:pt x="168" y="1"/>
                    <a:pt x="165" y="2"/>
                    <a:pt x="164" y="3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1" name="Freeform 137">
              <a:extLst>
                <a:ext uri="{FF2B5EF4-FFF2-40B4-BE49-F238E27FC236}">
                  <a16:creationId xmlns:a16="http://schemas.microsoft.com/office/drawing/2014/main" id="{6DA985FB-473D-004C-B606-C71D6D214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3227" y="3588858"/>
              <a:ext cx="820887" cy="541497"/>
            </a:xfrm>
            <a:custGeom>
              <a:avLst/>
              <a:gdLst>
                <a:gd name="T0" fmla="*/ 88 w 1258"/>
                <a:gd name="T1" fmla="*/ 340 h 827"/>
                <a:gd name="T2" fmla="*/ 621 w 1258"/>
                <a:gd name="T3" fmla="*/ 33 h 827"/>
                <a:gd name="T4" fmla="*/ 621 w 1258"/>
                <a:gd name="T5" fmla="*/ 33 h 827"/>
                <a:gd name="T6" fmla="*/ 808 w 1258"/>
                <a:gd name="T7" fmla="*/ 35 h 827"/>
                <a:gd name="T8" fmla="*/ 1165 w 1258"/>
                <a:gd name="T9" fmla="*/ 252 h 827"/>
                <a:gd name="T10" fmla="*/ 1165 w 1258"/>
                <a:gd name="T11" fmla="*/ 252 h 827"/>
                <a:gd name="T12" fmla="*/ 1162 w 1258"/>
                <a:gd name="T13" fmla="*/ 494 h 827"/>
                <a:gd name="T14" fmla="*/ 644 w 1258"/>
                <a:gd name="T15" fmla="*/ 792 h 827"/>
                <a:gd name="T16" fmla="*/ 644 w 1258"/>
                <a:gd name="T17" fmla="*/ 792 h 827"/>
                <a:gd name="T18" fmla="*/ 457 w 1258"/>
                <a:gd name="T19" fmla="*/ 790 h 827"/>
                <a:gd name="T20" fmla="*/ 86 w 1258"/>
                <a:gd name="T21" fmla="*/ 565 h 827"/>
                <a:gd name="T22" fmla="*/ 86 w 1258"/>
                <a:gd name="T23" fmla="*/ 565 h 827"/>
                <a:gd name="T24" fmla="*/ 88 w 1258"/>
                <a:gd name="T25" fmla="*/ 340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8" h="827">
                  <a:moveTo>
                    <a:pt x="88" y="340"/>
                  </a:moveTo>
                  <a:lnTo>
                    <a:pt x="621" y="33"/>
                  </a:lnTo>
                  <a:lnTo>
                    <a:pt x="621" y="33"/>
                  </a:lnTo>
                  <a:cubicBezTo>
                    <a:pt x="679" y="0"/>
                    <a:pt x="750" y="0"/>
                    <a:pt x="808" y="35"/>
                  </a:cubicBezTo>
                  <a:lnTo>
                    <a:pt x="1165" y="252"/>
                  </a:lnTo>
                  <a:lnTo>
                    <a:pt x="1165" y="252"/>
                  </a:lnTo>
                  <a:cubicBezTo>
                    <a:pt x="1257" y="307"/>
                    <a:pt x="1255" y="440"/>
                    <a:pt x="1162" y="494"/>
                  </a:cubicBezTo>
                  <a:lnTo>
                    <a:pt x="644" y="792"/>
                  </a:lnTo>
                  <a:lnTo>
                    <a:pt x="644" y="792"/>
                  </a:lnTo>
                  <a:cubicBezTo>
                    <a:pt x="586" y="826"/>
                    <a:pt x="514" y="825"/>
                    <a:pt x="457" y="790"/>
                  </a:cubicBezTo>
                  <a:lnTo>
                    <a:pt x="86" y="565"/>
                  </a:lnTo>
                  <a:lnTo>
                    <a:pt x="86" y="565"/>
                  </a:lnTo>
                  <a:cubicBezTo>
                    <a:pt x="0" y="514"/>
                    <a:pt x="2" y="390"/>
                    <a:pt x="88" y="34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138">
              <a:extLst>
                <a:ext uri="{FF2B5EF4-FFF2-40B4-BE49-F238E27FC236}">
                  <a16:creationId xmlns:a16="http://schemas.microsoft.com/office/drawing/2014/main" id="{6293E64A-234A-BA46-B6AF-AFB014E23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403242"/>
            </a:xfrm>
            <a:custGeom>
              <a:avLst/>
              <a:gdLst>
                <a:gd name="T0" fmla="*/ 38 w 996"/>
                <a:gd name="T1" fmla="*/ 289 h 617"/>
                <a:gd name="T2" fmla="*/ 504 w 996"/>
                <a:gd name="T3" fmla="*/ 20 h 617"/>
                <a:gd name="T4" fmla="*/ 504 w 996"/>
                <a:gd name="T5" fmla="*/ 20 h 617"/>
                <a:gd name="T6" fmla="*/ 614 w 996"/>
                <a:gd name="T7" fmla="*/ 21 h 617"/>
                <a:gd name="T8" fmla="*/ 956 w 996"/>
                <a:gd name="T9" fmla="*/ 229 h 617"/>
                <a:gd name="T10" fmla="*/ 956 w 996"/>
                <a:gd name="T11" fmla="*/ 229 h 617"/>
                <a:gd name="T12" fmla="*/ 955 w 996"/>
                <a:gd name="T13" fmla="*/ 331 h 617"/>
                <a:gd name="T14" fmla="*/ 493 w 996"/>
                <a:gd name="T15" fmla="*/ 597 h 617"/>
                <a:gd name="T16" fmla="*/ 493 w 996"/>
                <a:gd name="T17" fmla="*/ 597 h 617"/>
                <a:gd name="T18" fmla="*/ 383 w 996"/>
                <a:gd name="T19" fmla="*/ 596 h 617"/>
                <a:gd name="T20" fmla="*/ 37 w 996"/>
                <a:gd name="T21" fmla="*/ 386 h 617"/>
                <a:gd name="T22" fmla="*/ 37 w 996"/>
                <a:gd name="T23" fmla="*/ 386 h 617"/>
                <a:gd name="T24" fmla="*/ 38 w 996"/>
                <a:gd name="T25" fmla="*/ 289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6" h="617">
                  <a:moveTo>
                    <a:pt x="38" y="289"/>
                  </a:moveTo>
                  <a:lnTo>
                    <a:pt x="504" y="20"/>
                  </a:lnTo>
                  <a:lnTo>
                    <a:pt x="504" y="20"/>
                  </a:lnTo>
                  <a:cubicBezTo>
                    <a:pt x="538" y="0"/>
                    <a:pt x="580" y="1"/>
                    <a:pt x="614" y="21"/>
                  </a:cubicBezTo>
                  <a:lnTo>
                    <a:pt x="956" y="229"/>
                  </a:lnTo>
                  <a:lnTo>
                    <a:pt x="956" y="229"/>
                  </a:lnTo>
                  <a:cubicBezTo>
                    <a:pt x="995" y="252"/>
                    <a:pt x="994" y="308"/>
                    <a:pt x="955" y="331"/>
                  </a:cubicBezTo>
                  <a:lnTo>
                    <a:pt x="493" y="597"/>
                  </a:lnTo>
                  <a:lnTo>
                    <a:pt x="493" y="597"/>
                  </a:lnTo>
                  <a:cubicBezTo>
                    <a:pt x="459" y="616"/>
                    <a:pt x="417" y="616"/>
                    <a:pt x="383" y="596"/>
                  </a:cubicBezTo>
                  <a:lnTo>
                    <a:pt x="37" y="386"/>
                  </a:lnTo>
                  <a:lnTo>
                    <a:pt x="37" y="386"/>
                  </a:lnTo>
                  <a:cubicBezTo>
                    <a:pt x="0" y="364"/>
                    <a:pt x="1" y="310"/>
                    <a:pt x="38" y="289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139">
              <a:extLst>
                <a:ext uri="{FF2B5EF4-FFF2-40B4-BE49-F238E27FC236}">
                  <a16:creationId xmlns:a16="http://schemas.microsoft.com/office/drawing/2014/main" id="{BF3753A6-0CAA-1845-91F2-EBE54B2C0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247706"/>
            </a:xfrm>
            <a:custGeom>
              <a:avLst/>
              <a:gdLst>
                <a:gd name="T0" fmla="*/ 956 w 995"/>
                <a:gd name="T1" fmla="*/ 313 h 381"/>
                <a:gd name="T2" fmla="*/ 956 w 995"/>
                <a:gd name="T3" fmla="*/ 313 h 381"/>
                <a:gd name="T4" fmla="*/ 967 w 995"/>
                <a:gd name="T5" fmla="*/ 321 h 381"/>
                <a:gd name="T6" fmla="*/ 967 w 995"/>
                <a:gd name="T7" fmla="*/ 321 h 381"/>
                <a:gd name="T8" fmla="*/ 956 w 995"/>
                <a:gd name="T9" fmla="*/ 229 h 381"/>
                <a:gd name="T10" fmla="*/ 614 w 995"/>
                <a:gd name="T11" fmla="*/ 21 h 381"/>
                <a:gd name="T12" fmla="*/ 614 w 995"/>
                <a:gd name="T13" fmla="*/ 21 h 381"/>
                <a:gd name="T14" fmla="*/ 504 w 995"/>
                <a:gd name="T15" fmla="*/ 20 h 381"/>
                <a:gd name="T16" fmla="*/ 38 w 995"/>
                <a:gd name="T17" fmla="*/ 289 h 381"/>
                <a:gd name="T18" fmla="*/ 38 w 995"/>
                <a:gd name="T19" fmla="*/ 289 h 381"/>
                <a:gd name="T20" fmla="*/ 28 w 995"/>
                <a:gd name="T21" fmla="*/ 380 h 381"/>
                <a:gd name="T22" fmla="*/ 28 w 995"/>
                <a:gd name="T23" fmla="*/ 380 h 381"/>
                <a:gd name="T24" fmla="*/ 38 w 995"/>
                <a:gd name="T25" fmla="*/ 373 h 381"/>
                <a:gd name="T26" fmla="*/ 504 w 995"/>
                <a:gd name="T27" fmla="*/ 105 h 381"/>
                <a:gd name="T28" fmla="*/ 504 w 995"/>
                <a:gd name="T29" fmla="*/ 105 h 381"/>
                <a:gd name="T30" fmla="*/ 614 w 995"/>
                <a:gd name="T31" fmla="*/ 106 h 381"/>
                <a:gd name="T32" fmla="*/ 956 w 995"/>
                <a:gd name="T33" fmla="*/ 3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5" h="381">
                  <a:moveTo>
                    <a:pt x="956" y="313"/>
                  </a:moveTo>
                  <a:lnTo>
                    <a:pt x="956" y="313"/>
                  </a:lnTo>
                  <a:cubicBezTo>
                    <a:pt x="960" y="316"/>
                    <a:pt x="964" y="319"/>
                    <a:pt x="967" y="321"/>
                  </a:cubicBezTo>
                  <a:lnTo>
                    <a:pt x="967" y="321"/>
                  </a:lnTo>
                  <a:cubicBezTo>
                    <a:pt x="994" y="296"/>
                    <a:pt x="990" y="249"/>
                    <a:pt x="956" y="229"/>
                  </a:cubicBezTo>
                  <a:lnTo>
                    <a:pt x="614" y="21"/>
                  </a:lnTo>
                  <a:lnTo>
                    <a:pt x="614" y="21"/>
                  </a:lnTo>
                  <a:cubicBezTo>
                    <a:pt x="580" y="1"/>
                    <a:pt x="538" y="0"/>
                    <a:pt x="504" y="20"/>
                  </a:cubicBezTo>
                  <a:lnTo>
                    <a:pt x="38" y="289"/>
                  </a:lnTo>
                  <a:lnTo>
                    <a:pt x="38" y="289"/>
                  </a:lnTo>
                  <a:cubicBezTo>
                    <a:pt x="4" y="309"/>
                    <a:pt x="0" y="355"/>
                    <a:pt x="28" y="380"/>
                  </a:cubicBezTo>
                  <a:lnTo>
                    <a:pt x="28" y="380"/>
                  </a:lnTo>
                  <a:cubicBezTo>
                    <a:pt x="32" y="377"/>
                    <a:pt x="34" y="375"/>
                    <a:pt x="38" y="373"/>
                  </a:cubicBezTo>
                  <a:lnTo>
                    <a:pt x="504" y="105"/>
                  </a:lnTo>
                  <a:lnTo>
                    <a:pt x="504" y="105"/>
                  </a:lnTo>
                  <a:cubicBezTo>
                    <a:pt x="538" y="85"/>
                    <a:pt x="580" y="85"/>
                    <a:pt x="614" y="106"/>
                  </a:cubicBezTo>
                  <a:lnTo>
                    <a:pt x="956" y="313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140">
              <a:extLst>
                <a:ext uri="{FF2B5EF4-FFF2-40B4-BE49-F238E27FC236}">
                  <a16:creationId xmlns:a16="http://schemas.microsoft.com/office/drawing/2014/main" id="{DCB5C9E2-97EC-A943-8F28-26C36FC92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28703" y="2802536"/>
              <a:ext cx="567419" cy="1091634"/>
            </a:xfrm>
            <a:custGeom>
              <a:avLst/>
              <a:gdLst>
                <a:gd name="T0" fmla="*/ 126 w 869"/>
                <a:gd name="T1" fmla="*/ 1672 h 1673"/>
                <a:gd name="T2" fmla="*/ 126 w 869"/>
                <a:gd name="T3" fmla="*/ 1672 h 1673"/>
                <a:gd name="T4" fmla="*/ 112 w 869"/>
                <a:gd name="T5" fmla="*/ 1119 h 1673"/>
                <a:gd name="T6" fmla="*/ 112 w 869"/>
                <a:gd name="T7" fmla="*/ 1119 h 1673"/>
                <a:gd name="T8" fmla="*/ 90 w 869"/>
                <a:gd name="T9" fmla="*/ 836 h 1673"/>
                <a:gd name="T10" fmla="*/ 90 w 869"/>
                <a:gd name="T11" fmla="*/ 836 h 1673"/>
                <a:gd name="T12" fmla="*/ 260 w 869"/>
                <a:gd name="T13" fmla="*/ 377 h 1673"/>
                <a:gd name="T14" fmla="*/ 260 w 869"/>
                <a:gd name="T15" fmla="*/ 377 h 1673"/>
                <a:gd name="T16" fmla="*/ 566 w 869"/>
                <a:gd name="T17" fmla="*/ 85 h 1673"/>
                <a:gd name="T18" fmla="*/ 566 w 869"/>
                <a:gd name="T19" fmla="*/ 85 h 1673"/>
                <a:gd name="T20" fmla="*/ 773 w 869"/>
                <a:gd name="T21" fmla="*/ 485 h 1673"/>
                <a:gd name="T22" fmla="*/ 773 w 869"/>
                <a:gd name="T23" fmla="*/ 485 h 1673"/>
                <a:gd name="T24" fmla="*/ 810 w 869"/>
                <a:gd name="T25" fmla="*/ 894 h 1673"/>
                <a:gd name="T26" fmla="*/ 810 w 869"/>
                <a:gd name="T27" fmla="*/ 894 h 1673"/>
                <a:gd name="T28" fmla="*/ 499 w 869"/>
                <a:gd name="T29" fmla="*/ 1196 h 1673"/>
                <a:gd name="T30" fmla="*/ 499 w 869"/>
                <a:gd name="T31" fmla="*/ 1196 h 1673"/>
                <a:gd name="T32" fmla="*/ 126 w 869"/>
                <a:gd name="T33" fmla="*/ 1672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9" h="1673">
                  <a:moveTo>
                    <a:pt x="126" y="1672"/>
                  </a:moveTo>
                  <a:lnTo>
                    <a:pt x="126" y="1672"/>
                  </a:lnTo>
                  <a:cubicBezTo>
                    <a:pt x="126" y="1672"/>
                    <a:pt x="49" y="1281"/>
                    <a:pt x="112" y="1119"/>
                  </a:cubicBezTo>
                  <a:lnTo>
                    <a:pt x="112" y="1119"/>
                  </a:lnTo>
                  <a:cubicBezTo>
                    <a:pt x="175" y="958"/>
                    <a:pt x="144" y="962"/>
                    <a:pt x="90" y="836"/>
                  </a:cubicBezTo>
                  <a:lnTo>
                    <a:pt x="90" y="836"/>
                  </a:lnTo>
                  <a:cubicBezTo>
                    <a:pt x="35" y="710"/>
                    <a:pt x="0" y="404"/>
                    <a:pt x="260" y="377"/>
                  </a:cubicBezTo>
                  <a:lnTo>
                    <a:pt x="260" y="377"/>
                  </a:lnTo>
                  <a:cubicBezTo>
                    <a:pt x="521" y="350"/>
                    <a:pt x="447" y="129"/>
                    <a:pt x="566" y="85"/>
                  </a:cubicBezTo>
                  <a:lnTo>
                    <a:pt x="566" y="85"/>
                  </a:lnTo>
                  <a:cubicBezTo>
                    <a:pt x="800" y="0"/>
                    <a:pt x="854" y="319"/>
                    <a:pt x="773" y="485"/>
                  </a:cubicBezTo>
                  <a:lnTo>
                    <a:pt x="773" y="485"/>
                  </a:lnTo>
                  <a:cubicBezTo>
                    <a:pt x="692" y="652"/>
                    <a:pt x="868" y="715"/>
                    <a:pt x="810" y="894"/>
                  </a:cubicBezTo>
                  <a:lnTo>
                    <a:pt x="810" y="894"/>
                  </a:lnTo>
                  <a:cubicBezTo>
                    <a:pt x="751" y="1075"/>
                    <a:pt x="548" y="1075"/>
                    <a:pt x="499" y="1196"/>
                  </a:cubicBezTo>
                  <a:lnTo>
                    <a:pt x="499" y="1196"/>
                  </a:lnTo>
                  <a:cubicBezTo>
                    <a:pt x="449" y="1318"/>
                    <a:pt x="388" y="1503"/>
                    <a:pt x="126" y="16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141">
              <a:extLst>
                <a:ext uri="{FF2B5EF4-FFF2-40B4-BE49-F238E27FC236}">
                  <a16:creationId xmlns:a16="http://schemas.microsoft.com/office/drawing/2014/main" id="{B271CD87-8069-364D-9C99-EC6D2C4C1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1122" y="3283546"/>
              <a:ext cx="673991" cy="616385"/>
            </a:xfrm>
            <a:custGeom>
              <a:avLst/>
              <a:gdLst>
                <a:gd name="T0" fmla="*/ 1031 w 1032"/>
                <a:gd name="T1" fmla="*/ 944 h 945"/>
                <a:gd name="T2" fmla="*/ 1031 w 1032"/>
                <a:gd name="T3" fmla="*/ 944 h 945"/>
                <a:gd name="T4" fmla="*/ 793 w 1032"/>
                <a:gd name="T5" fmla="*/ 332 h 945"/>
                <a:gd name="T6" fmla="*/ 793 w 1032"/>
                <a:gd name="T7" fmla="*/ 332 h 945"/>
                <a:gd name="T8" fmla="*/ 470 w 1032"/>
                <a:gd name="T9" fmla="*/ 23 h 945"/>
                <a:gd name="T10" fmla="*/ 470 w 1032"/>
                <a:gd name="T11" fmla="*/ 23 h 945"/>
                <a:gd name="T12" fmla="*/ 294 w 1032"/>
                <a:gd name="T13" fmla="*/ 52 h 945"/>
                <a:gd name="T14" fmla="*/ 294 w 1032"/>
                <a:gd name="T15" fmla="*/ 52 h 945"/>
                <a:gd name="T16" fmla="*/ 33 w 1032"/>
                <a:gd name="T17" fmla="*/ 61 h 945"/>
                <a:gd name="T18" fmla="*/ 33 w 1032"/>
                <a:gd name="T19" fmla="*/ 61 h 945"/>
                <a:gd name="T20" fmla="*/ 318 w 1032"/>
                <a:gd name="T21" fmla="*/ 441 h 945"/>
                <a:gd name="T22" fmla="*/ 318 w 1032"/>
                <a:gd name="T23" fmla="*/ 441 h 945"/>
                <a:gd name="T24" fmla="*/ 446 w 1032"/>
                <a:gd name="T25" fmla="*/ 726 h 945"/>
                <a:gd name="T26" fmla="*/ 446 w 1032"/>
                <a:gd name="T27" fmla="*/ 726 h 945"/>
                <a:gd name="T28" fmla="*/ 1031 w 1032"/>
                <a:gd name="T29" fmla="*/ 944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2" h="945">
                  <a:moveTo>
                    <a:pt x="1031" y="944"/>
                  </a:moveTo>
                  <a:lnTo>
                    <a:pt x="1031" y="944"/>
                  </a:lnTo>
                  <a:cubicBezTo>
                    <a:pt x="1031" y="944"/>
                    <a:pt x="926" y="299"/>
                    <a:pt x="793" y="332"/>
                  </a:cubicBezTo>
                  <a:lnTo>
                    <a:pt x="793" y="332"/>
                  </a:lnTo>
                  <a:cubicBezTo>
                    <a:pt x="603" y="379"/>
                    <a:pt x="717" y="123"/>
                    <a:pt x="470" y="23"/>
                  </a:cubicBezTo>
                  <a:lnTo>
                    <a:pt x="470" y="23"/>
                  </a:lnTo>
                  <a:cubicBezTo>
                    <a:pt x="435" y="9"/>
                    <a:pt x="367" y="56"/>
                    <a:pt x="294" y="52"/>
                  </a:cubicBezTo>
                  <a:lnTo>
                    <a:pt x="294" y="52"/>
                  </a:lnTo>
                  <a:cubicBezTo>
                    <a:pt x="179" y="45"/>
                    <a:pt x="53" y="0"/>
                    <a:pt x="33" y="61"/>
                  </a:cubicBezTo>
                  <a:lnTo>
                    <a:pt x="33" y="61"/>
                  </a:lnTo>
                  <a:cubicBezTo>
                    <a:pt x="0" y="161"/>
                    <a:pt x="318" y="304"/>
                    <a:pt x="318" y="441"/>
                  </a:cubicBezTo>
                  <a:lnTo>
                    <a:pt x="318" y="441"/>
                  </a:lnTo>
                  <a:cubicBezTo>
                    <a:pt x="318" y="579"/>
                    <a:pt x="228" y="726"/>
                    <a:pt x="446" y="726"/>
                  </a:cubicBezTo>
                  <a:lnTo>
                    <a:pt x="446" y="726"/>
                  </a:lnTo>
                  <a:cubicBezTo>
                    <a:pt x="665" y="726"/>
                    <a:pt x="1031" y="944"/>
                    <a:pt x="1031" y="9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142">
              <a:extLst>
                <a:ext uri="{FF2B5EF4-FFF2-40B4-BE49-F238E27FC236}">
                  <a16:creationId xmlns:a16="http://schemas.microsoft.com/office/drawing/2014/main" id="{FB318FF4-4DB6-E142-85C9-F5E722CA6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15112" y="3058882"/>
              <a:ext cx="296670" cy="841048"/>
            </a:xfrm>
            <a:custGeom>
              <a:avLst/>
              <a:gdLst>
                <a:gd name="T0" fmla="*/ 0 w 453"/>
                <a:gd name="T1" fmla="*/ 1287 h 1288"/>
                <a:gd name="T2" fmla="*/ 0 w 453"/>
                <a:gd name="T3" fmla="*/ 1287 h 1288"/>
                <a:gd name="T4" fmla="*/ 452 w 453"/>
                <a:gd name="T5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3" h="1288">
                  <a:moveTo>
                    <a:pt x="0" y="1287"/>
                  </a:moveTo>
                  <a:lnTo>
                    <a:pt x="0" y="1287"/>
                  </a:lnTo>
                  <a:cubicBezTo>
                    <a:pt x="114" y="780"/>
                    <a:pt x="263" y="383"/>
                    <a:pt x="452" y="0"/>
                  </a:cubicBezTo>
                </a:path>
              </a:pathLst>
            </a:custGeom>
            <a:noFill/>
            <a:ln w="1800" cap="flat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60000" rIns="0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143">
              <a:extLst>
                <a:ext uri="{FF2B5EF4-FFF2-40B4-BE49-F238E27FC236}">
                  <a16:creationId xmlns:a16="http://schemas.microsoft.com/office/drawing/2014/main" id="{D7491955-2A57-9B4F-9A69-FD264816F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8016" y="3378597"/>
              <a:ext cx="512694" cy="512694"/>
            </a:xfrm>
            <a:custGeom>
              <a:avLst/>
              <a:gdLst>
                <a:gd name="T0" fmla="*/ 0 w 787"/>
                <a:gd name="T1" fmla="*/ 0 h 787"/>
                <a:gd name="T2" fmla="*/ 0 w 787"/>
                <a:gd name="T3" fmla="*/ 0 h 787"/>
                <a:gd name="T4" fmla="*/ 786 w 787"/>
                <a:gd name="T5" fmla="*/ 786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7" h="787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695" y="421"/>
                    <a:pt x="786" y="786"/>
                  </a:cubicBezTo>
                </a:path>
              </a:pathLst>
            </a:custGeom>
            <a:noFill/>
            <a:ln w="1800" cap="flat">
              <a:solidFill>
                <a:schemeClr val="accent2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60000" rIns="0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144">
              <a:extLst>
                <a:ext uri="{FF2B5EF4-FFF2-40B4-BE49-F238E27FC236}">
                  <a16:creationId xmlns:a16="http://schemas.microsoft.com/office/drawing/2014/main" id="{18779A1D-62BC-D94A-BF35-6C84E4DAE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0224" y="3859607"/>
              <a:ext cx="135373" cy="63367"/>
            </a:xfrm>
            <a:custGeom>
              <a:avLst/>
              <a:gdLst>
                <a:gd name="T0" fmla="*/ 206 w 207"/>
                <a:gd name="T1" fmla="*/ 47 h 96"/>
                <a:gd name="T2" fmla="*/ 206 w 207"/>
                <a:gd name="T3" fmla="*/ 47 h 96"/>
                <a:gd name="T4" fmla="*/ 104 w 207"/>
                <a:gd name="T5" fmla="*/ 95 h 96"/>
                <a:gd name="T6" fmla="*/ 104 w 207"/>
                <a:gd name="T7" fmla="*/ 95 h 96"/>
                <a:gd name="T8" fmla="*/ 0 w 207"/>
                <a:gd name="T9" fmla="*/ 47 h 96"/>
                <a:gd name="T10" fmla="*/ 0 w 207"/>
                <a:gd name="T11" fmla="*/ 47 h 96"/>
                <a:gd name="T12" fmla="*/ 104 w 207"/>
                <a:gd name="T13" fmla="*/ 0 h 96"/>
                <a:gd name="T14" fmla="*/ 104 w 207"/>
                <a:gd name="T15" fmla="*/ 0 h 96"/>
                <a:gd name="T16" fmla="*/ 206 w 207"/>
                <a:gd name="T1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7" h="96">
                  <a:moveTo>
                    <a:pt x="206" y="47"/>
                  </a:moveTo>
                  <a:lnTo>
                    <a:pt x="206" y="47"/>
                  </a:lnTo>
                  <a:cubicBezTo>
                    <a:pt x="206" y="74"/>
                    <a:pt x="160" y="95"/>
                    <a:pt x="104" y="95"/>
                  </a:cubicBezTo>
                  <a:lnTo>
                    <a:pt x="104" y="95"/>
                  </a:lnTo>
                  <a:cubicBezTo>
                    <a:pt x="47" y="95"/>
                    <a:pt x="0" y="74"/>
                    <a:pt x="0" y="47"/>
                  </a:cubicBezTo>
                  <a:lnTo>
                    <a:pt x="0" y="47"/>
                  </a:lnTo>
                  <a:cubicBezTo>
                    <a:pt x="0" y="22"/>
                    <a:pt x="47" y="0"/>
                    <a:pt x="104" y="0"/>
                  </a:cubicBezTo>
                  <a:lnTo>
                    <a:pt x="104" y="0"/>
                  </a:lnTo>
                  <a:cubicBezTo>
                    <a:pt x="160" y="0"/>
                    <a:pt x="206" y="22"/>
                    <a:pt x="206" y="47"/>
                  </a:cubicBezTo>
                </a:path>
              </a:pathLst>
            </a:custGeom>
            <a:solidFill>
              <a:srgbClr val="AF916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145">
              <a:extLst>
                <a:ext uri="{FF2B5EF4-FFF2-40B4-BE49-F238E27FC236}">
                  <a16:creationId xmlns:a16="http://schemas.microsoft.com/office/drawing/2014/main" id="{418CD572-3726-5E49-A574-99DD8FBF3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6872" y="6748550"/>
              <a:ext cx="622145" cy="2739167"/>
            </a:xfrm>
            <a:custGeom>
              <a:avLst/>
              <a:gdLst>
                <a:gd name="T0" fmla="*/ 0 w 954"/>
                <a:gd name="T1" fmla="*/ 121 h 4192"/>
                <a:gd name="T2" fmla="*/ 0 w 954"/>
                <a:gd name="T3" fmla="*/ 121 h 4192"/>
                <a:gd name="T4" fmla="*/ 408 w 954"/>
                <a:gd name="T5" fmla="*/ 499 h 4192"/>
                <a:gd name="T6" fmla="*/ 408 w 954"/>
                <a:gd name="T7" fmla="*/ 499 h 4192"/>
                <a:gd name="T8" fmla="*/ 363 w 954"/>
                <a:gd name="T9" fmla="*/ 3404 h 4192"/>
                <a:gd name="T10" fmla="*/ 363 w 954"/>
                <a:gd name="T11" fmla="*/ 3404 h 4192"/>
                <a:gd name="T12" fmla="*/ 166 w 954"/>
                <a:gd name="T13" fmla="*/ 4161 h 4192"/>
                <a:gd name="T14" fmla="*/ 166 w 954"/>
                <a:gd name="T15" fmla="*/ 4161 h 4192"/>
                <a:gd name="T16" fmla="*/ 666 w 954"/>
                <a:gd name="T17" fmla="*/ 3783 h 4192"/>
                <a:gd name="T18" fmla="*/ 666 w 954"/>
                <a:gd name="T19" fmla="*/ 3783 h 4192"/>
                <a:gd name="T20" fmla="*/ 878 w 954"/>
                <a:gd name="T21" fmla="*/ 408 h 4192"/>
                <a:gd name="T22" fmla="*/ 878 w 954"/>
                <a:gd name="T23" fmla="*/ 408 h 4192"/>
                <a:gd name="T24" fmla="*/ 0 w 954"/>
                <a:gd name="T25" fmla="*/ 121 h 4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4" h="4192">
                  <a:moveTo>
                    <a:pt x="0" y="121"/>
                  </a:moveTo>
                  <a:lnTo>
                    <a:pt x="0" y="121"/>
                  </a:lnTo>
                  <a:cubicBezTo>
                    <a:pt x="0" y="121"/>
                    <a:pt x="317" y="211"/>
                    <a:pt x="408" y="499"/>
                  </a:cubicBezTo>
                  <a:lnTo>
                    <a:pt x="408" y="499"/>
                  </a:lnTo>
                  <a:cubicBezTo>
                    <a:pt x="484" y="737"/>
                    <a:pt x="363" y="3162"/>
                    <a:pt x="363" y="3404"/>
                  </a:cubicBezTo>
                  <a:lnTo>
                    <a:pt x="363" y="3404"/>
                  </a:lnTo>
                  <a:cubicBezTo>
                    <a:pt x="363" y="3646"/>
                    <a:pt x="317" y="3949"/>
                    <a:pt x="166" y="4161"/>
                  </a:cubicBezTo>
                  <a:lnTo>
                    <a:pt x="166" y="4161"/>
                  </a:lnTo>
                  <a:cubicBezTo>
                    <a:pt x="166" y="4161"/>
                    <a:pt x="545" y="4191"/>
                    <a:pt x="666" y="3783"/>
                  </a:cubicBezTo>
                  <a:lnTo>
                    <a:pt x="666" y="3783"/>
                  </a:lnTo>
                  <a:cubicBezTo>
                    <a:pt x="787" y="3374"/>
                    <a:pt x="953" y="604"/>
                    <a:pt x="878" y="408"/>
                  </a:cubicBezTo>
                  <a:lnTo>
                    <a:pt x="878" y="408"/>
                  </a:lnTo>
                  <a:cubicBezTo>
                    <a:pt x="802" y="211"/>
                    <a:pt x="166" y="0"/>
                    <a:pt x="0" y="121"/>
                  </a:cubicBezTo>
                </a:path>
              </a:pathLst>
            </a:custGeom>
            <a:solidFill>
              <a:srgbClr val="4153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146">
              <a:extLst>
                <a:ext uri="{FF2B5EF4-FFF2-40B4-BE49-F238E27FC236}">
                  <a16:creationId xmlns:a16="http://schemas.microsoft.com/office/drawing/2014/main" id="{15E15C30-D4D8-C34C-ADA3-6ED4D8A06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6934" y="4326215"/>
              <a:ext cx="259227" cy="325475"/>
            </a:xfrm>
            <a:custGeom>
              <a:avLst/>
              <a:gdLst>
                <a:gd name="T0" fmla="*/ 181 w 397"/>
                <a:gd name="T1" fmla="*/ 0 h 498"/>
                <a:gd name="T2" fmla="*/ 0 w 397"/>
                <a:gd name="T3" fmla="*/ 85 h 498"/>
                <a:gd name="T4" fmla="*/ 0 w 397"/>
                <a:gd name="T5" fmla="*/ 85 h 498"/>
                <a:gd name="T6" fmla="*/ 102 w 397"/>
                <a:gd name="T7" fmla="*/ 453 h 498"/>
                <a:gd name="T8" fmla="*/ 102 w 397"/>
                <a:gd name="T9" fmla="*/ 453 h 498"/>
                <a:gd name="T10" fmla="*/ 379 w 397"/>
                <a:gd name="T11" fmla="*/ 408 h 498"/>
                <a:gd name="T12" fmla="*/ 379 w 397"/>
                <a:gd name="T13" fmla="*/ 408 h 498"/>
                <a:gd name="T14" fmla="*/ 181 w 397"/>
                <a:gd name="T1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7" h="498">
                  <a:moveTo>
                    <a:pt x="181" y="0"/>
                  </a:moveTo>
                  <a:lnTo>
                    <a:pt x="0" y="85"/>
                  </a:lnTo>
                  <a:lnTo>
                    <a:pt x="0" y="85"/>
                  </a:lnTo>
                  <a:cubicBezTo>
                    <a:pt x="0" y="85"/>
                    <a:pt x="0" y="368"/>
                    <a:pt x="102" y="453"/>
                  </a:cubicBezTo>
                  <a:lnTo>
                    <a:pt x="102" y="453"/>
                  </a:lnTo>
                  <a:cubicBezTo>
                    <a:pt x="155" y="497"/>
                    <a:pt x="362" y="465"/>
                    <a:pt x="379" y="408"/>
                  </a:cubicBezTo>
                  <a:lnTo>
                    <a:pt x="379" y="408"/>
                  </a:lnTo>
                  <a:cubicBezTo>
                    <a:pt x="396" y="351"/>
                    <a:pt x="181" y="0"/>
                    <a:pt x="181" y="0"/>
                  </a:cubicBezTo>
                </a:path>
              </a:pathLst>
            </a:custGeom>
            <a:noFill/>
            <a:ln w="5760" cap="flat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147">
              <a:extLst>
                <a:ext uri="{FF2B5EF4-FFF2-40B4-BE49-F238E27FC236}">
                  <a16:creationId xmlns:a16="http://schemas.microsoft.com/office/drawing/2014/main" id="{656D5E77-38E6-DF47-8960-9A730CBAD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71098" y="5207589"/>
              <a:ext cx="1592806" cy="1195326"/>
            </a:xfrm>
            <a:custGeom>
              <a:avLst/>
              <a:gdLst>
                <a:gd name="T0" fmla="*/ 2439 w 2440"/>
                <a:gd name="T1" fmla="*/ 1076 h 1829"/>
                <a:gd name="T2" fmla="*/ 2439 w 2440"/>
                <a:gd name="T3" fmla="*/ 1076 h 1829"/>
                <a:gd name="T4" fmla="*/ 226 w 2440"/>
                <a:gd name="T5" fmla="*/ 0 h 1829"/>
                <a:gd name="T6" fmla="*/ 0 w 2440"/>
                <a:gd name="T7" fmla="*/ 312 h 1829"/>
                <a:gd name="T8" fmla="*/ 0 w 2440"/>
                <a:gd name="T9" fmla="*/ 312 h 1829"/>
                <a:gd name="T10" fmla="*/ 2312 w 2440"/>
                <a:gd name="T11" fmla="*/ 1828 h 1829"/>
                <a:gd name="T12" fmla="*/ 2439 w 2440"/>
                <a:gd name="T13" fmla="*/ 1076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0" h="1829">
                  <a:moveTo>
                    <a:pt x="2439" y="1076"/>
                  </a:moveTo>
                  <a:lnTo>
                    <a:pt x="2439" y="1076"/>
                  </a:lnTo>
                  <a:cubicBezTo>
                    <a:pt x="2439" y="1076"/>
                    <a:pt x="593" y="153"/>
                    <a:pt x="226" y="0"/>
                  </a:cubicBezTo>
                  <a:lnTo>
                    <a:pt x="0" y="312"/>
                  </a:lnTo>
                  <a:lnTo>
                    <a:pt x="0" y="312"/>
                  </a:lnTo>
                  <a:cubicBezTo>
                    <a:pt x="0" y="312"/>
                    <a:pt x="972" y="1265"/>
                    <a:pt x="2312" y="1828"/>
                  </a:cubicBezTo>
                  <a:lnTo>
                    <a:pt x="2439" y="1076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148">
              <a:extLst>
                <a:ext uri="{FF2B5EF4-FFF2-40B4-BE49-F238E27FC236}">
                  <a16:creationId xmlns:a16="http://schemas.microsoft.com/office/drawing/2014/main" id="{AC12B39C-EBEC-A942-BD68-14CE73373F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3103" y="5256555"/>
              <a:ext cx="1673457" cy="1238530"/>
            </a:xfrm>
            <a:custGeom>
              <a:avLst/>
              <a:gdLst>
                <a:gd name="T0" fmla="*/ 2559 w 2560"/>
                <a:gd name="T1" fmla="*/ 298 h 1897"/>
                <a:gd name="T2" fmla="*/ 2559 w 2560"/>
                <a:gd name="T3" fmla="*/ 298 h 1897"/>
                <a:gd name="T4" fmla="*/ 2116 w 2560"/>
                <a:gd name="T5" fmla="*/ 646 h 1897"/>
                <a:gd name="T6" fmla="*/ 2116 w 2560"/>
                <a:gd name="T7" fmla="*/ 646 h 1897"/>
                <a:gd name="T8" fmla="*/ 425 w 2560"/>
                <a:gd name="T9" fmla="*/ 8 h 1897"/>
                <a:gd name="T10" fmla="*/ 425 w 2560"/>
                <a:gd name="T11" fmla="*/ 8 h 1897"/>
                <a:gd name="T12" fmla="*/ 311 w 2560"/>
                <a:gd name="T13" fmla="*/ 27 h 1897"/>
                <a:gd name="T14" fmla="*/ 311 w 2560"/>
                <a:gd name="T15" fmla="*/ 27 h 1897"/>
                <a:gd name="T16" fmla="*/ 23 w 2560"/>
                <a:gd name="T17" fmla="*/ 353 h 1897"/>
                <a:gd name="T18" fmla="*/ 23 w 2560"/>
                <a:gd name="T19" fmla="*/ 353 h 1897"/>
                <a:gd name="T20" fmla="*/ 70 w 2560"/>
                <a:gd name="T21" fmla="*/ 547 h 1897"/>
                <a:gd name="T22" fmla="*/ 70 w 2560"/>
                <a:gd name="T23" fmla="*/ 547 h 1897"/>
                <a:gd name="T24" fmla="*/ 2361 w 2560"/>
                <a:gd name="T25" fmla="*/ 1896 h 1897"/>
                <a:gd name="T26" fmla="*/ 2559 w 2560"/>
                <a:gd name="T27" fmla="*/ 298 h 1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0" h="1897">
                  <a:moveTo>
                    <a:pt x="2559" y="298"/>
                  </a:moveTo>
                  <a:lnTo>
                    <a:pt x="2559" y="298"/>
                  </a:lnTo>
                  <a:cubicBezTo>
                    <a:pt x="2473" y="642"/>
                    <a:pt x="2321" y="730"/>
                    <a:pt x="2116" y="646"/>
                  </a:cubicBezTo>
                  <a:lnTo>
                    <a:pt x="2116" y="646"/>
                  </a:lnTo>
                  <a:cubicBezTo>
                    <a:pt x="1575" y="425"/>
                    <a:pt x="925" y="114"/>
                    <a:pt x="425" y="8"/>
                  </a:cubicBezTo>
                  <a:lnTo>
                    <a:pt x="425" y="8"/>
                  </a:lnTo>
                  <a:cubicBezTo>
                    <a:pt x="386" y="0"/>
                    <a:pt x="346" y="7"/>
                    <a:pt x="311" y="27"/>
                  </a:cubicBezTo>
                  <a:lnTo>
                    <a:pt x="311" y="27"/>
                  </a:lnTo>
                  <a:cubicBezTo>
                    <a:pt x="172" y="108"/>
                    <a:pt x="65" y="224"/>
                    <a:pt x="23" y="353"/>
                  </a:cubicBezTo>
                  <a:lnTo>
                    <a:pt x="23" y="353"/>
                  </a:lnTo>
                  <a:cubicBezTo>
                    <a:pt x="0" y="421"/>
                    <a:pt x="20" y="495"/>
                    <a:pt x="70" y="547"/>
                  </a:cubicBezTo>
                  <a:lnTo>
                    <a:pt x="70" y="547"/>
                  </a:lnTo>
                  <a:cubicBezTo>
                    <a:pt x="328" y="808"/>
                    <a:pt x="1286" y="1712"/>
                    <a:pt x="2361" y="1896"/>
                  </a:cubicBezTo>
                  <a:lnTo>
                    <a:pt x="2559" y="298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151">
              <a:extLst>
                <a:ext uri="{FF2B5EF4-FFF2-40B4-BE49-F238E27FC236}">
                  <a16:creationId xmlns:a16="http://schemas.microsoft.com/office/drawing/2014/main" id="{6DF30278-40CE-CE46-BA9A-A360E46B2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8079" y="10841459"/>
              <a:ext cx="1316297" cy="843930"/>
            </a:xfrm>
            <a:custGeom>
              <a:avLst/>
              <a:gdLst>
                <a:gd name="T0" fmla="*/ 1889 w 2017"/>
                <a:gd name="T1" fmla="*/ 1128 h 1292"/>
                <a:gd name="T2" fmla="*/ 1889 w 2017"/>
                <a:gd name="T3" fmla="*/ 1128 h 1292"/>
                <a:gd name="T4" fmla="*/ 1908 w 2017"/>
                <a:gd name="T5" fmla="*/ 843 h 1292"/>
                <a:gd name="T6" fmla="*/ 531 w 2017"/>
                <a:gd name="T7" fmla="*/ 8 h 1292"/>
                <a:gd name="T8" fmla="*/ 531 w 2017"/>
                <a:gd name="T9" fmla="*/ 8 h 1292"/>
                <a:gd name="T10" fmla="*/ 491 w 2017"/>
                <a:gd name="T11" fmla="*/ 6 h 1292"/>
                <a:gd name="T12" fmla="*/ 131 w 2017"/>
                <a:gd name="T13" fmla="*/ 180 h 1292"/>
                <a:gd name="T14" fmla="*/ 131 w 2017"/>
                <a:gd name="T15" fmla="*/ 180 h 1292"/>
                <a:gd name="T16" fmla="*/ 117 w 2017"/>
                <a:gd name="T17" fmla="*/ 528 h 1292"/>
                <a:gd name="T18" fmla="*/ 117 w 2017"/>
                <a:gd name="T19" fmla="*/ 528 h 1292"/>
                <a:gd name="T20" fmla="*/ 1106 w 2017"/>
                <a:gd name="T21" fmla="*/ 1147 h 1292"/>
                <a:gd name="T22" fmla="*/ 1106 w 2017"/>
                <a:gd name="T23" fmla="*/ 1147 h 1292"/>
                <a:gd name="T24" fmla="*/ 1889 w 2017"/>
                <a:gd name="T25" fmla="*/ 1128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7" h="1292">
                  <a:moveTo>
                    <a:pt x="1889" y="1128"/>
                  </a:moveTo>
                  <a:lnTo>
                    <a:pt x="1889" y="1128"/>
                  </a:lnTo>
                  <a:cubicBezTo>
                    <a:pt x="2001" y="1063"/>
                    <a:pt x="2016" y="916"/>
                    <a:pt x="1908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0"/>
                    <a:pt x="504" y="0"/>
                    <a:pt x="491" y="6"/>
                  </a:cubicBezTo>
                  <a:lnTo>
                    <a:pt x="131" y="180"/>
                  </a:lnTo>
                  <a:lnTo>
                    <a:pt x="131" y="180"/>
                  </a:lnTo>
                  <a:cubicBezTo>
                    <a:pt x="0" y="244"/>
                    <a:pt x="7" y="433"/>
                    <a:pt x="117" y="528"/>
                  </a:cubicBezTo>
                  <a:lnTo>
                    <a:pt x="117" y="528"/>
                  </a:lnTo>
                  <a:cubicBezTo>
                    <a:pt x="315" y="699"/>
                    <a:pt x="573" y="917"/>
                    <a:pt x="1106" y="1147"/>
                  </a:cubicBezTo>
                  <a:lnTo>
                    <a:pt x="1106" y="1147"/>
                  </a:lnTo>
                  <a:cubicBezTo>
                    <a:pt x="1371" y="1263"/>
                    <a:pt x="1604" y="1291"/>
                    <a:pt x="1889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152">
              <a:extLst>
                <a:ext uri="{FF2B5EF4-FFF2-40B4-BE49-F238E27FC236}">
                  <a16:creationId xmlns:a16="http://schemas.microsoft.com/office/drawing/2014/main" id="{6844339E-6DD4-B64F-9FEF-ADB42E10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5361" y="10648480"/>
              <a:ext cx="1270212" cy="1002345"/>
            </a:xfrm>
            <a:custGeom>
              <a:avLst/>
              <a:gdLst>
                <a:gd name="T0" fmla="*/ 1899 w 1946"/>
                <a:gd name="T1" fmla="*/ 1203 h 1533"/>
                <a:gd name="T2" fmla="*/ 1899 w 1946"/>
                <a:gd name="T3" fmla="*/ 1203 h 1533"/>
                <a:gd name="T4" fmla="*/ 1760 w 1946"/>
                <a:gd name="T5" fmla="*/ 539 h 1533"/>
                <a:gd name="T6" fmla="*/ 1760 w 1946"/>
                <a:gd name="T7" fmla="*/ 539 h 1533"/>
                <a:gd name="T8" fmla="*/ 1327 w 1946"/>
                <a:gd name="T9" fmla="*/ 433 h 1533"/>
                <a:gd name="T10" fmla="*/ 1327 w 1946"/>
                <a:gd name="T11" fmla="*/ 433 h 1533"/>
                <a:gd name="T12" fmla="*/ 128 w 1946"/>
                <a:gd name="T13" fmla="*/ 258 h 1533"/>
                <a:gd name="T14" fmla="*/ 128 w 1946"/>
                <a:gd name="T15" fmla="*/ 258 h 1533"/>
                <a:gd name="T16" fmla="*/ 76 w 1946"/>
                <a:gd name="T17" fmla="*/ 688 h 1533"/>
                <a:gd name="T18" fmla="*/ 76 w 1946"/>
                <a:gd name="T19" fmla="*/ 688 h 1533"/>
                <a:gd name="T20" fmla="*/ 1230 w 1946"/>
                <a:gd name="T21" fmla="*/ 1442 h 1533"/>
                <a:gd name="T22" fmla="*/ 1230 w 1946"/>
                <a:gd name="T23" fmla="*/ 1442 h 1533"/>
                <a:gd name="T24" fmla="*/ 1899 w 1946"/>
                <a:gd name="T25" fmla="*/ 120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6" h="1533">
                  <a:moveTo>
                    <a:pt x="1899" y="1203"/>
                  </a:moveTo>
                  <a:lnTo>
                    <a:pt x="1899" y="1203"/>
                  </a:lnTo>
                  <a:cubicBezTo>
                    <a:pt x="1888" y="1156"/>
                    <a:pt x="1928" y="679"/>
                    <a:pt x="1760" y="539"/>
                  </a:cubicBezTo>
                  <a:lnTo>
                    <a:pt x="1760" y="539"/>
                  </a:lnTo>
                  <a:cubicBezTo>
                    <a:pt x="1666" y="462"/>
                    <a:pt x="1468" y="443"/>
                    <a:pt x="1327" y="433"/>
                  </a:cubicBezTo>
                  <a:lnTo>
                    <a:pt x="1327" y="433"/>
                  </a:lnTo>
                  <a:cubicBezTo>
                    <a:pt x="1028" y="413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40"/>
                    <a:pt x="76" y="688"/>
                  </a:cubicBezTo>
                  <a:lnTo>
                    <a:pt x="76" y="688"/>
                  </a:lnTo>
                  <a:cubicBezTo>
                    <a:pt x="189" y="904"/>
                    <a:pt x="1015" y="1382"/>
                    <a:pt x="1230" y="1442"/>
                  </a:cubicBezTo>
                  <a:lnTo>
                    <a:pt x="1230" y="1442"/>
                  </a:lnTo>
                  <a:cubicBezTo>
                    <a:pt x="1558" y="1532"/>
                    <a:pt x="1945" y="1414"/>
                    <a:pt x="1899" y="1203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153">
              <a:extLst>
                <a:ext uri="{FF2B5EF4-FFF2-40B4-BE49-F238E27FC236}">
                  <a16:creationId xmlns:a16="http://schemas.microsoft.com/office/drawing/2014/main" id="{D2918851-820A-D043-A057-C04CB053C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2855" y="11348393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6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6" y="583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0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154">
              <a:extLst>
                <a:ext uri="{FF2B5EF4-FFF2-40B4-BE49-F238E27FC236}">
                  <a16:creationId xmlns:a16="http://schemas.microsoft.com/office/drawing/2014/main" id="{CC03E0C3-2385-334E-B2B3-4B1166B27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6284" y="11380076"/>
              <a:ext cx="414764" cy="492531"/>
            </a:xfrm>
            <a:custGeom>
              <a:avLst/>
              <a:gdLst>
                <a:gd name="T0" fmla="*/ 376 w 635"/>
                <a:gd name="T1" fmla="*/ 755 h 756"/>
                <a:gd name="T2" fmla="*/ 376 w 635"/>
                <a:gd name="T3" fmla="*/ 755 h 756"/>
                <a:gd name="T4" fmla="*/ 634 w 635"/>
                <a:gd name="T5" fmla="*/ 610 h 756"/>
                <a:gd name="T6" fmla="*/ 268 w 635"/>
                <a:gd name="T7" fmla="*/ 0 h 756"/>
                <a:gd name="T8" fmla="*/ 268 w 635"/>
                <a:gd name="T9" fmla="*/ 0 h 756"/>
                <a:gd name="T10" fmla="*/ 0 w 635"/>
                <a:gd name="T11" fmla="*/ 180 h 756"/>
                <a:gd name="T12" fmla="*/ 376 w 635"/>
                <a:gd name="T13" fmla="*/ 755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6">
                  <a:moveTo>
                    <a:pt x="376" y="755"/>
                  </a:moveTo>
                  <a:lnTo>
                    <a:pt x="376" y="755"/>
                  </a:lnTo>
                  <a:cubicBezTo>
                    <a:pt x="526" y="739"/>
                    <a:pt x="604" y="674"/>
                    <a:pt x="634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5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155">
              <a:extLst>
                <a:ext uri="{FF2B5EF4-FFF2-40B4-BE49-F238E27FC236}">
                  <a16:creationId xmlns:a16="http://schemas.microsoft.com/office/drawing/2014/main" id="{E1747360-1522-114B-B613-A7B6C4BD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4764" y="11417521"/>
              <a:ext cx="336994" cy="489651"/>
            </a:xfrm>
            <a:custGeom>
              <a:avLst/>
              <a:gdLst>
                <a:gd name="T0" fmla="*/ 258 w 517"/>
                <a:gd name="T1" fmla="*/ 82 h 748"/>
                <a:gd name="T2" fmla="*/ 258 w 517"/>
                <a:gd name="T3" fmla="*/ 82 h 748"/>
                <a:gd name="T4" fmla="*/ 0 w 517"/>
                <a:gd name="T5" fmla="*/ 224 h 748"/>
                <a:gd name="T6" fmla="*/ 0 w 517"/>
                <a:gd name="T7" fmla="*/ 224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2 h 748"/>
                <a:gd name="T14" fmla="*/ 516 w 517"/>
                <a:gd name="T15" fmla="*/ 522 h 748"/>
                <a:gd name="T16" fmla="*/ 258 w 517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2"/>
                  </a:moveTo>
                  <a:lnTo>
                    <a:pt x="258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3"/>
                    <a:pt x="516" y="522"/>
                  </a:cubicBezTo>
                  <a:lnTo>
                    <a:pt x="516" y="522"/>
                  </a:lnTo>
                  <a:cubicBezTo>
                    <a:pt x="516" y="361"/>
                    <a:pt x="400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157">
              <a:extLst>
                <a:ext uri="{FF2B5EF4-FFF2-40B4-BE49-F238E27FC236}">
                  <a16:creationId xmlns:a16="http://schemas.microsoft.com/office/drawing/2014/main" id="{7D0AEDD2-55C4-984B-8A07-3566A48A2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14403" y="11322472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0" y="0"/>
                    <a:pt x="516" y="64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0" y="583"/>
                    <a:pt x="258" y="665"/>
                  </a:cubicBezTo>
                  <a:lnTo>
                    <a:pt x="258" y="665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158">
              <a:extLst>
                <a:ext uri="{FF2B5EF4-FFF2-40B4-BE49-F238E27FC236}">
                  <a16:creationId xmlns:a16="http://schemas.microsoft.com/office/drawing/2014/main" id="{69B0FE4A-0943-B041-BA81-6DD04955A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43205" y="11354154"/>
              <a:ext cx="414764" cy="492533"/>
            </a:xfrm>
            <a:custGeom>
              <a:avLst/>
              <a:gdLst>
                <a:gd name="T0" fmla="*/ 258 w 635"/>
                <a:gd name="T1" fmla="*/ 754 h 755"/>
                <a:gd name="T2" fmla="*/ 258 w 635"/>
                <a:gd name="T3" fmla="*/ 754 h 755"/>
                <a:gd name="T4" fmla="*/ 0 w 635"/>
                <a:gd name="T5" fmla="*/ 610 h 755"/>
                <a:gd name="T6" fmla="*/ 366 w 635"/>
                <a:gd name="T7" fmla="*/ 0 h 755"/>
                <a:gd name="T8" fmla="*/ 366 w 635"/>
                <a:gd name="T9" fmla="*/ 0 h 755"/>
                <a:gd name="T10" fmla="*/ 634 w 635"/>
                <a:gd name="T11" fmla="*/ 180 h 755"/>
                <a:gd name="T12" fmla="*/ 258 w 635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5">
                  <a:moveTo>
                    <a:pt x="258" y="754"/>
                  </a:moveTo>
                  <a:lnTo>
                    <a:pt x="258" y="754"/>
                  </a:lnTo>
                  <a:cubicBezTo>
                    <a:pt x="109" y="738"/>
                    <a:pt x="30" y="674"/>
                    <a:pt x="0" y="610"/>
                  </a:cubicBezTo>
                  <a:lnTo>
                    <a:pt x="366" y="0"/>
                  </a:lnTo>
                  <a:lnTo>
                    <a:pt x="366" y="0"/>
                  </a:lnTo>
                  <a:cubicBezTo>
                    <a:pt x="447" y="20"/>
                    <a:pt x="594" y="89"/>
                    <a:pt x="634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159">
              <a:extLst>
                <a:ext uri="{FF2B5EF4-FFF2-40B4-BE49-F238E27FC236}">
                  <a16:creationId xmlns:a16="http://schemas.microsoft.com/office/drawing/2014/main" id="{5424D7A8-A3D6-564E-918C-C3C77EF17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35375" y="11391599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0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0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161">
              <a:extLst>
                <a:ext uri="{FF2B5EF4-FFF2-40B4-BE49-F238E27FC236}">
                  <a16:creationId xmlns:a16="http://schemas.microsoft.com/office/drawing/2014/main" id="{C2243845-A7CB-AA4E-A66C-D7D1440C4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3" y="12491874"/>
              <a:ext cx="336994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6 h 748"/>
                <a:gd name="T10" fmla="*/ 258 w 517"/>
                <a:gd name="T11" fmla="*/ 666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1" y="0"/>
                    <a:pt x="516" y="65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1" y="583"/>
                    <a:pt x="258" y="666"/>
                  </a:cubicBezTo>
                  <a:lnTo>
                    <a:pt x="258" y="666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162">
              <a:extLst>
                <a:ext uri="{FF2B5EF4-FFF2-40B4-BE49-F238E27FC236}">
                  <a16:creationId xmlns:a16="http://schemas.microsoft.com/office/drawing/2014/main" id="{C8F9C97A-D0D8-FD47-BDC6-E8FB63C42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945" y="12523556"/>
              <a:ext cx="414764" cy="492533"/>
            </a:xfrm>
            <a:custGeom>
              <a:avLst/>
              <a:gdLst>
                <a:gd name="T0" fmla="*/ 258 w 634"/>
                <a:gd name="T1" fmla="*/ 754 h 755"/>
                <a:gd name="T2" fmla="*/ 258 w 634"/>
                <a:gd name="T3" fmla="*/ 754 h 755"/>
                <a:gd name="T4" fmla="*/ 0 w 634"/>
                <a:gd name="T5" fmla="*/ 610 h 755"/>
                <a:gd name="T6" fmla="*/ 365 w 634"/>
                <a:gd name="T7" fmla="*/ 0 h 755"/>
                <a:gd name="T8" fmla="*/ 365 w 634"/>
                <a:gd name="T9" fmla="*/ 0 h 755"/>
                <a:gd name="T10" fmla="*/ 633 w 634"/>
                <a:gd name="T11" fmla="*/ 180 h 755"/>
                <a:gd name="T12" fmla="*/ 258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258" y="754"/>
                  </a:moveTo>
                  <a:lnTo>
                    <a:pt x="258" y="754"/>
                  </a:lnTo>
                  <a:cubicBezTo>
                    <a:pt x="108" y="738"/>
                    <a:pt x="30" y="674"/>
                    <a:pt x="0" y="610"/>
                  </a:cubicBezTo>
                  <a:lnTo>
                    <a:pt x="365" y="0"/>
                  </a:lnTo>
                  <a:lnTo>
                    <a:pt x="365" y="0"/>
                  </a:lnTo>
                  <a:cubicBezTo>
                    <a:pt x="446" y="20"/>
                    <a:pt x="593" y="89"/>
                    <a:pt x="633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163">
              <a:extLst>
                <a:ext uri="{FF2B5EF4-FFF2-40B4-BE49-F238E27FC236}">
                  <a16:creationId xmlns:a16="http://schemas.microsoft.com/office/drawing/2014/main" id="{5329FE8C-3E2D-A747-AD42-4A1EC3A86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1233" y="12561002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1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1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165">
              <a:extLst>
                <a:ext uri="{FF2B5EF4-FFF2-40B4-BE49-F238E27FC236}">
                  <a16:creationId xmlns:a16="http://schemas.microsoft.com/office/drawing/2014/main" id="{ADB39EDA-EB12-9B46-BC84-2DAEB58E5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98742" y="12353620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5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5" y="583"/>
                    <a:pt x="258" y="665"/>
                  </a:cubicBezTo>
                  <a:lnTo>
                    <a:pt x="258" y="665"/>
                  </a:lnTo>
                  <a:cubicBezTo>
                    <a:pt x="401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1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166">
              <a:extLst>
                <a:ext uri="{FF2B5EF4-FFF2-40B4-BE49-F238E27FC236}">
                  <a16:creationId xmlns:a16="http://schemas.microsoft.com/office/drawing/2014/main" id="{7FDD17E8-D878-6C44-BBC2-75282FF89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2171" y="12388182"/>
              <a:ext cx="414764" cy="492531"/>
            </a:xfrm>
            <a:custGeom>
              <a:avLst/>
              <a:gdLst>
                <a:gd name="T0" fmla="*/ 376 w 634"/>
                <a:gd name="T1" fmla="*/ 754 h 755"/>
                <a:gd name="T2" fmla="*/ 376 w 634"/>
                <a:gd name="T3" fmla="*/ 754 h 755"/>
                <a:gd name="T4" fmla="*/ 633 w 634"/>
                <a:gd name="T5" fmla="*/ 610 h 755"/>
                <a:gd name="T6" fmla="*/ 268 w 634"/>
                <a:gd name="T7" fmla="*/ 0 h 755"/>
                <a:gd name="T8" fmla="*/ 268 w 634"/>
                <a:gd name="T9" fmla="*/ 0 h 755"/>
                <a:gd name="T10" fmla="*/ 0 w 634"/>
                <a:gd name="T11" fmla="*/ 180 h 755"/>
                <a:gd name="T12" fmla="*/ 376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376" y="754"/>
                  </a:moveTo>
                  <a:lnTo>
                    <a:pt x="376" y="754"/>
                  </a:lnTo>
                  <a:cubicBezTo>
                    <a:pt x="525" y="739"/>
                    <a:pt x="603" y="674"/>
                    <a:pt x="633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167">
              <a:extLst>
                <a:ext uri="{FF2B5EF4-FFF2-40B4-BE49-F238E27FC236}">
                  <a16:creationId xmlns:a16="http://schemas.microsoft.com/office/drawing/2014/main" id="{194F8E1A-0DF2-8743-B3F3-A4756076A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77769" y="12422747"/>
              <a:ext cx="336996" cy="489651"/>
            </a:xfrm>
            <a:custGeom>
              <a:avLst/>
              <a:gdLst>
                <a:gd name="T0" fmla="*/ 259 w 518"/>
                <a:gd name="T1" fmla="*/ 82 h 748"/>
                <a:gd name="T2" fmla="*/ 259 w 518"/>
                <a:gd name="T3" fmla="*/ 82 h 748"/>
                <a:gd name="T4" fmla="*/ 0 w 518"/>
                <a:gd name="T5" fmla="*/ 224 h 748"/>
                <a:gd name="T6" fmla="*/ 0 w 518"/>
                <a:gd name="T7" fmla="*/ 224 h 748"/>
                <a:gd name="T8" fmla="*/ 259 w 518"/>
                <a:gd name="T9" fmla="*/ 665 h 748"/>
                <a:gd name="T10" fmla="*/ 259 w 518"/>
                <a:gd name="T11" fmla="*/ 665 h 748"/>
                <a:gd name="T12" fmla="*/ 517 w 518"/>
                <a:gd name="T13" fmla="*/ 522 h 748"/>
                <a:gd name="T14" fmla="*/ 517 w 518"/>
                <a:gd name="T15" fmla="*/ 522 h 748"/>
                <a:gd name="T16" fmla="*/ 259 w 518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748">
                  <a:moveTo>
                    <a:pt x="259" y="82"/>
                  </a:moveTo>
                  <a:lnTo>
                    <a:pt x="259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9" y="665"/>
                  </a:cubicBezTo>
                  <a:lnTo>
                    <a:pt x="259" y="665"/>
                  </a:lnTo>
                  <a:cubicBezTo>
                    <a:pt x="401" y="747"/>
                    <a:pt x="517" y="683"/>
                    <a:pt x="517" y="522"/>
                  </a:cubicBezTo>
                  <a:lnTo>
                    <a:pt x="517" y="522"/>
                  </a:lnTo>
                  <a:cubicBezTo>
                    <a:pt x="517" y="361"/>
                    <a:pt x="401" y="164"/>
                    <a:pt x="259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CDA73B66-B479-3B42-9D18-7BA0F2399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1" y="11487492"/>
              <a:ext cx="2341035" cy="1464011"/>
            </a:xfrm>
            <a:custGeom>
              <a:avLst/>
              <a:gdLst>
                <a:gd name="connsiteX0" fmla="*/ 161670 w 2341035"/>
                <a:gd name="connsiteY0" fmla="*/ 1169757 h 1464011"/>
                <a:gd name="connsiteX1" fmla="*/ 232647 w 2341035"/>
                <a:gd name="connsiteY1" fmla="*/ 1249169 h 1464011"/>
                <a:gd name="connsiteX2" fmla="*/ 116323 w 2341035"/>
                <a:gd name="connsiteY2" fmla="*/ 1448094 h 1464011"/>
                <a:gd name="connsiteX3" fmla="*/ 0 w 2341035"/>
                <a:gd name="connsiteY3" fmla="*/ 1383967 h 1464011"/>
                <a:gd name="connsiteX4" fmla="*/ 116323 w 2341035"/>
                <a:gd name="connsiteY4" fmla="*/ 1185696 h 1464011"/>
                <a:gd name="connsiteX5" fmla="*/ 161670 w 2341035"/>
                <a:gd name="connsiteY5" fmla="*/ 1169757 h 1464011"/>
                <a:gd name="connsiteX6" fmla="*/ 2122611 w 2341035"/>
                <a:gd name="connsiteY6" fmla="*/ 1026778 h 1464011"/>
                <a:gd name="connsiteX7" fmla="*/ 2170307 w 2341035"/>
                <a:gd name="connsiteY7" fmla="*/ 1043528 h 1464011"/>
                <a:gd name="connsiteX8" fmla="*/ 2292069 w 2341035"/>
                <a:gd name="connsiteY8" fmla="*/ 1251657 h 1464011"/>
                <a:gd name="connsiteX9" fmla="*/ 2170307 w 2341035"/>
                <a:gd name="connsiteY9" fmla="*/ 1319510 h 1464011"/>
                <a:gd name="connsiteX10" fmla="*/ 2047893 w 2341035"/>
                <a:gd name="connsiteY10" fmla="*/ 1110729 h 1464011"/>
                <a:gd name="connsiteX11" fmla="*/ 2122611 w 2341035"/>
                <a:gd name="connsiteY11" fmla="*/ 1026778 h 1464011"/>
                <a:gd name="connsiteX12" fmla="*/ 145186 w 2341035"/>
                <a:gd name="connsiteY12" fmla="*/ 16309 h 1464011"/>
                <a:gd name="connsiteX13" fmla="*/ 194093 w 2341035"/>
                <a:gd name="connsiteY13" fmla="*/ 33384 h 1464011"/>
                <a:gd name="connsiteX14" fmla="*/ 319060 w 2341035"/>
                <a:gd name="connsiteY14" fmla="*/ 248405 h 1464011"/>
                <a:gd name="connsiteX15" fmla="*/ 194093 w 2341035"/>
                <a:gd name="connsiteY15" fmla="*/ 318550 h 1464011"/>
                <a:gd name="connsiteX16" fmla="*/ 69126 w 2341035"/>
                <a:gd name="connsiteY16" fmla="*/ 102872 h 1464011"/>
                <a:gd name="connsiteX17" fmla="*/ 145186 w 2341035"/>
                <a:gd name="connsiteY17" fmla="*/ 16309 h 1464011"/>
                <a:gd name="connsiteX18" fmla="*/ 2270026 w 2341035"/>
                <a:gd name="connsiteY18" fmla="*/ 390 h 1464011"/>
                <a:gd name="connsiteX19" fmla="*/ 2341035 w 2341035"/>
                <a:gd name="connsiteY19" fmla="*/ 81153 h 1464011"/>
                <a:gd name="connsiteX20" fmla="*/ 2224708 w 2341035"/>
                <a:gd name="connsiteY20" fmla="*/ 280888 h 1464011"/>
                <a:gd name="connsiteX21" fmla="*/ 2108381 w 2341035"/>
                <a:gd name="connsiteY21" fmla="*/ 216056 h 1464011"/>
                <a:gd name="connsiteX22" fmla="*/ 2224708 w 2341035"/>
                <a:gd name="connsiteY22" fmla="*/ 16321 h 1464011"/>
                <a:gd name="connsiteX23" fmla="*/ 2270026 w 2341035"/>
                <a:gd name="connsiteY23" fmla="*/ 390 h 146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41035" h="1464011">
                  <a:moveTo>
                    <a:pt x="161670" y="1169757"/>
                  </a:moveTo>
                  <a:cubicBezTo>
                    <a:pt x="203443" y="1165493"/>
                    <a:pt x="232647" y="1195185"/>
                    <a:pt x="232647" y="1249169"/>
                  </a:cubicBezTo>
                  <a:cubicBezTo>
                    <a:pt x="232647" y="1321803"/>
                    <a:pt x="180728" y="1410795"/>
                    <a:pt x="116323" y="1448094"/>
                  </a:cubicBezTo>
                  <a:cubicBezTo>
                    <a:pt x="51918" y="1484738"/>
                    <a:pt x="0" y="1455946"/>
                    <a:pt x="0" y="1383967"/>
                  </a:cubicBezTo>
                  <a:cubicBezTo>
                    <a:pt x="0" y="1311333"/>
                    <a:pt x="51918" y="1222340"/>
                    <a:pt x="116323" y="1185696"/>
                  </a:cubicBezTo>
                  <a:cubicBezTo>
                    <a:pt x="132424" y="1176372"/>
                    <a:pt x="147745" y="1171178"/>
                    <a:pt x="161670" y="1169757"/>
                  </a:cubicBezTo>
                  <a:close/>
                  <a:moveTo>
                    <a:pt x="2122611" y="1026778"/>
                  </a:moveTo>
                  <a:cubicBezTo>
                    <a:pt x="2137262" y="1028277"/>
                    <a:pt x="2153377" y="1033741"/>
                    <a:pt x="2170307" y="1043528"/>
                  </a:cubicBezTo>
                  <a:cubicBezTo>
                    <a:pt x="2237373" y="1082022"/>
                    <a:pt x="2292069" y="1175973"/>
                    <a:pt x="2292069" y="1251657"/>
                  </a:cubicBezTo>
                  <a:cubicBezTo>
                    <a:pt x="2292069" y="1327992"/>
                    <a:pt x="2237373" y="1358005"/>
                    <a:pt x="2170307" y="1319510"/>
                  </a:cubicBezTo>
                  <a:cubicBezTo>
                    <a:pt x="2102588" y="1280364"/>
                    <a:pt x="2047893" y="1187065"/>
                    <a:pt x="2047893" y="1110729"/>
                  </a:cubicBezTo>
                  <a:cubicBezTo>
                    <a:pt x="2047893" y="1053477"/>
                    <a:pt x="2078659" y="1022282"/>
                    <a:pt x="2122611" y="1026778"/>
                  </a:cubicBezTo>
                  <a:close/>
                  <a:moveTo>
                    <a:pt x="145186" y="16309"/>
                  </a:moveTo>
                  <a:cubicBezTo>
                    <a:pt x="160166" y="17815"/>
                    <a:pt x="176682" y="23387"/>
                    <a:pt x="194093" y="33384"/>
                  </a:cubicBezTo>
                  <a:cubicBezTo>
                    <a:pt x="263085" y="73373"/>
                    <a:pt x="319060" y="170395"/>
                    <a:pt x="319060" y="248405"/>
                  </a:cubicBezTo>
                  <a:cubicBezTo>
                    <a:pt x="319060" y="327072"/>
                    <a:pt x="263085" y="358538"/>
                    <a:pt x="194093" y="318550"/>
                  </a:cubicBezTo>
                  <a:cubicBezTo>
                    <a:pt x="124450" y="277905"/>
                    <a:pt x="69126" y="181539"/>
                    <a:pt x="69126" y="102872"/>
                  </a:cubicBezTo>
                  <a:cubicBezTo>
                    <a:pt x="69126" y="43873"/>
                    <a:pt x="100246" y="11791"/>
                    <a:pt x="145186" y="16309"/>
                  </a:cubicBezTo>
                  <a:close/>
                  <a:moveTo>
                    <a:pt x="2270026" y="390"/>
                  </a:moveTo>
                  <a:cubicBezTo>
                    <a:pt x="2311791" y="-3816"/>
                    <a:pt x="2341035" y="26144"/>
                    <a:pt x="2341035" y="81153"/>
                  </a:cubicBezTo>
                  <a:cubicBezTo>
                    <a:pt x="2341035" y="153844"/>
                    <a:pt x="2289045" y="243560"/>
                    <a:pt x="2224708" y="280888"/>
                  </a:cubicBezTo>
                  <a:cubicBezTo>
                    <a:pt x="2160371" y="318215"/>
                    <a:pt x="2108381" y="289401"/>
                    <a:pt x="2108381" y="216056"/>
                  </a:cubicBezTo>
                  <a:cubicBezTo>
                    <a:pt x="2108381" y="142711"/>
                    <a:pt x="2160371" y="53649"/>
                    <a:pt x="2224708" y="16321"/>
                  </a:cubicBezTo>
                  <a:cubicBezTo>
                    <a:pt x="2240792" y="6989"/>
                    <a:pt x="2256105" y="1791"/>
                    <a:pt x="2270026" y="3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169">
              <a:extLst>
                <a:ext uri="{FF2B5EF4-FFF2-40B4-BE49-F238E27FC236}">
                  <a16:creationId xmlns:a16="http://schemas.microsoft.com/office/drawing/2014/main" id="{A9AF0690-7198-E54B-9296-7E9C3F537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6908" y="4473112"/>
              <a:ext cx="895773" cy="1097394"/>
            </a:xfrm>
            <a:custGeom>
              <a:avLst/>
              <a:gdLst>
                <a:gd name="T0" fmla="*/ 1246 w 1373"/>
                <a:gd name="T1" fmla="*/ 1440 h 1679"/>
                <a:gd name="T2" fmla="*/ 1246 w 1373"/>
                <a:gd name="T3" fmla="*/ 1440 h 1679"/>
                <a:gd name="T4" fmla="*/ 442 w 1373"/>
                <a:gd name="T5" fmla="*/ 1567 h 1679"/>
                <a:gd name="T6" fmla="*/ 442 w 1373"/>
                <a:gd name="T7" fmla="*/ 1567 h 1679"/>
                <a:gd name="T8" fmla="*/ 265 w 1373"/>
                <a:gd name="T9" fmla="*/ 1355 h 1679"/>
                <a:gd name="T10" fmla="*/ 0 w 1373"/>
                <a:gd name="T11" fmla="*/ 0 h 1679"/>
                <a:gd name="T12" fmla="*/ 1137 w 1373"/>
                <a:gd name="T13" fmla="*/ 28 h 1679"/>
                <a:gd name="T14" fmla="*/ 1348 w 1373"/>
                <a:gd name="T15" fmla="*/ 1107 h 1679"/>
                <a:gd name="T16" fmla="*/ 1348 w 1373"/>
                <a:gd name="T17" fmla="*/ 1107 h 1679"/>
                <a:gd name="T18" fmla="*/ 1246 w 1373"/>
                <a:gd name="T19" fmla="*/ 1440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3" h="1679">
                  <a:moveTo>
                    <a:pt x="1246" y="1440"/>
                  </a:moveTo>
                  <a:lnTo>
                    <a:pt x="1246" y="1440"/>
                  </a:lnTo>
                  <a:cubicBezTo>
                    <a:pt x="1002" y="1665"/>
                    <a:pt x="730" y="1678"/>
                    <a:pt x="442" y="1567"/>
                  </a:cubicBezTo>
                  <a:lnTo>
                    <a:pt x="442" y="1567"/>
                  </a:lnTo>
                  <a:cubicBezTo>
                    <a:pt x="352" y="1532"/>
                    <a:pt x="284" y="1453"/>
                    <a:pt x="265" y="1355"/>
                  </a:cubicBezTo>
                  <a:lnTo>
                    <a:pt x="0" y="0"/>
                  </a:lnTo>
                  <a:lnTo>
                    <a:pt x="1137" y="28"/>
                  </a:lnTo>
                  <a:lnTo>
                    <a:pt x="1348" y="1107"/>
                  </a:lnTo>
                  <a:lnTo>
                    <a:pt x="1348" y="1107"/>
                  </a:lnTo>
                  <a:cubicBezTo>
                    <a:pt x="1372" y="1230"/>
                    <a:pt x="1336" y="1358"/>
                    <a:pt x="1246" y="1440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170">
              <a:extLst>
                <a:ext uri="{FF2B5EF4-FFF2-40B4-BE49-F238E27FC236}">
                  <a16:creationId xmlns:a16="http://schemas.microsoft.com/office/drawing/2014/main" id="{928CF3C3-CFAE-B147-B599-61E22E33E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77581" y="3493809"/>
              <a:ext cx="1218367" cy="1762745"/>
            </a:xfrm>
            <a:custGeom>
              <a:avLst/>
              <a:gdLst>
                <a:gd name="T0" fmla="*/ 68 w 1867"/>
                <a:gd name="T1" fmla="*/ 1569 h 2698"/>
                <a:gd name="T2" fmla="*/ 68 w 1867"/>
                <a:gd name="T3" fmla="*/ 1569 h 2698"/>
                <a:gd name="T4" fmla="*/ 817 w 1867"/>
                <a:gd name="T5" fmla="*/ 2636 h 2698"/>
                <a:gd name="T6" fmla="*/ 817 w 1867"/>
                <a:gd name="T7" fmla="*/ 2636 h 2698"/>
                <a:gd name="T8" fmla="*/ 1100 w 1867"/>
                <a:gd name="T9" fmla="*/ 1525 h 2698"/>
                <a:gd name="T10" fmla="*/ 1100 w 1867"/>
                <a:gd name="T11" fmla="*/ 1525 h 2698"/>
                <a:gd name="T12" fmla="*/ 1651 w 1867"/>
                <a:gd name="T13" fmla="*/ 1380 h 2698"/>
                <a:gd name="T14" fmla="*/ 1651 w 1867"/>
                <a:gd name="T15" fmla="*/ 1380 h 2698"/>
                <a:gd name="T16" fmla="*/ 888 w 1867"/>
                <a:gd name="T17" fmla="*/ 111 h 2698"/>
                <a:gd name="T18" fmla="*/ 888 w 1867"/>
                <a:gd name="T19" fmla="*/ 111 h 2698"/>
                <a:gd name="T20" fmla="*/ 50 w 1867"/>
                <a:gd name="T21" fmla="*/ 638 h 2698"/>
                <a:gd name="T22" fmla="*/ 50 w 1867"/>
                <a:gd name="T23" fmla="*/ 638 h 2698"/>
                <a:gd name="T24" fmla="*/ 68 w 1867"/>
                <a:gd name="T25" fmla="*/ 1569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7" h="2698">
                  <a:moveTo>
                    <a:pt x="68" y="1569"/>
                  </a:moveTo>
                  <a:lnTo>
                    <a:pt x="68" y="1569"/>
                  </a:lnTo>
                  <a:cubicBezTo>
                    <a:pt x="199" y="2240"/>
                    <a:pt x="414" y="2697"/>
                    <a:pt x="817" y="2636"/>
                  </a:cubicBezTo>
                  <a:lnTo>
                    <a:pt x="817" y="2636"/>
                  </a:lnTo>
                  <a:cubicBezTo>
                    <a:pt x="1208" y="2576"/>
                    <a:pt x="866" y="1817"/>
                    <a:pt x="1100" y="1525"/>
                  </a:cubicBezTo>
                  <a:lnTo>
                    <a:pt x="1100" y="1525"/>
                  </a:lnTo>
                  <a:cubicBezTo>
                    <a:pt x="1152" y="1461"/>
                    <a:pt x="1595" y="1445"/>
                    <a:pt x="1651" y="1380"/>
                  </a:cubicBezTo>
                  <a:lnTo>
                    <a:pt x="1651" y="1380"/>
                  </a:lnTo>
                  <a:cubicBezTo>
                    <a:pt x="1866" y="1130"/>
                    <a:pt x="1451" y="0"/>
                    <a:pt x="888" y="111"/>
                  </a:cubicBezTo>
                  <a:lnTo>
                    <a:pt x="888" y="111"/>
                  </a:lnTo>
                  <a:cubicBezTo>
                    <a:pt x="535" y="180"/>
                    <a:pt x="181" y="304"/>
                    <a:pt x="50" y="638"/>
                  </a:cubicBezTo>
                  <a:lnTo>
                    <a:pt x="50" y="638"/>
                  </a:lnTo>
                  <a:cubicBezTo>
                    <a:pt x="0" y="767"/>
                    <a:pt x="50" y="1479"/>
                    <a:pt x="68" y="1569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171">
              <a:extLst>
                <a:ext uri="{FF2B5EF4-FFF2-40B4-BE49-F238E27FC236}">
                  <a16:creationId xmlns:a16="http://schemas.microsoft.com/office/drawing/2014/main" id="{DF4C3EF5-B067-AF40-BBE3-F825371F1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0" y="3122249"/>
              <a:ext cx="1854915" cy="1820351"/>
            </a:xfrm>
            <a:custGeom>
              <a:avLst/>
              <a:gdLst>
                <a:gd name="T0" fmla="*/ 362 w 2841"/>
                <a:gd name="T1" fmla="*/ 447 h 2789"/>
                <a:gd name="T2" fmla="*/ 362 w 2841"/>
                <a:gd name="T3" fmla="*/ 447 h 2789"/>
                <a:gd name="T4" fmla="*/ 222 w 2841"/>
                <a:gd name="T5" fmla="*/ 1414 h 2789"/>
                <a:gd name="T6" fmla="*/ 222 w 2841"/>
                <a:gd name="T7" fmla="*/ 1414 h 2789"/>
                <a:gd name="T8" fmla="*/ 575 w 2841"/>
                <a:gd name="T9" fmla="*/ 1667 h 2789"/>
                <a:gd name="T10" fmla="*/ 575 w 2841"/>
                <a:gd name="T11" fmla="*/ 1667 h 2789"/>
                <a:gd name="T12" fmla="*/ 788 w 2841"/>
                <a:gd name="T13" fmla="*/ 2276 h 2789"/>
                <a:gd name="T14" fmla="*/ 788 w 2841"/>
                <a:gd name="T15" fmla="*/ 2276 h 2789"/>
                <a:gd name="T16" fmla="*/ 906 w 2841"/>
                <a:gd name="T17" fmla="*/ 2156 h 2789"/>
                <a:gd name="T18" fmla="*/ 906 w 2841"/>
                <a:gd name="T19" fmla="*/ 2156 h 2789"/>
                <a:gd name="T20" fmla="*/ 1176 w 2841"/>
                <a:gd name="T21" fmla="*/ 1967 h 2789"/>
                <a:gd name="T22" fmla="*/ 1176 w 2841"/>
                <a:gd name="T23" fmla="*/ 1967 h 2789"/>
                <a:gd name="T24" fmla="*/ 1611 w 2841"/>
                <a:gd name="T25" fmla="*/ 2635 h 2789"/>
                <a:gd name="T26" fmla="*/ 1611 w 2841"/>
                <a:gd name="T27" fmla="*/ 2635 h 2789"/>
                <a:gd name="T28" fmla="*/ 2422 w 2841"/>
                <a:gd name="T29" fmla="*/ 2432 h 2789"/>
                <a:gd name="T30" fmla="*/ 2422 w 2841"/>
                <a:gd name="T31" fmla="*/ 2432 h 2789"/>
                <a:gd name="T32" fmla="*/ 2144 w 2841"/>
                <a:gd name="T33" fmla="*/ 631 h 2789"/>
                <a:gd name="T34" fmla="*/ 2144 w 2841"/>
                <a:gd name="T35" fmla="*/ 631 h 2789"/>
                <a:gd name="T36" fmla="*/ 656 w 2841"/>
                <a:gd name="T37" fmla="*/ 543 h 2789"/>
                <a:gd name="T38" fmla="*/ 656 w 2841"/>
                <a:gd name="T39" fmla="*/ 543 h 2789"/>
                <a:gd name="T40" fmla="*/ 362 w 2841"/>
                <a:gd name="T41" fmla="*/ 447 h 2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41" h="2789">
                  <a:moveTo>
                    <a:pt x="362" y="447"/>
                  </a:moveTo>
                  <a:lnTo>
                    <a:pt x="362" y="447"/>
                  </a:lnTo>
                  <a:cubicBezTo>
                    <a:pt x="0" y="657"/>
                    <a:pt x="56" y="1125"/>
                    <a:pt x="222" y="1414"/>
                  </a:cubicBezTo>
                  <a:lnTo>
                    <a:pt x="222" y="1414"/>
                  </a:lnTo>
                  <a:cubicBezTo>
                    <a:pt x="304" y="1559"/>
                    <a:pt x="401" y="1619"/>
                    <a:pt x="575" y="1667"/>
                  </a:cubicBezTo>
                  <a:lnTo>
                    <a:pt x="575" y="1667"/>
                  </a:lnTo>
                  <a:cubicBezTo>
                    <a:pt x="748" y="1716"/>
                    <a:pt x="776" y="2147"/>
                    <a:pt x="788" y="2276"/>
                  </a:cubicBezTo>
                  <a:lnTo>
                    <a:pt x="788" y="2276"/>
                  </a:lnTo>
                  <a:cubicBezTo>
                    <a:pt x="788" y="2276"/>
                    <a:pt x="877" y="2316"/>
                    <a:pt x="906" y="2156"/>
                  </a:cubicBezTo>
                  <a:lnTo>
                    <a:pt x="906" y="2156"/>
                  </a:lnTo>
                  <a:cubicBezTo>
                    <a:pt x="935" y="1995"/>
                    <a:pt x="1108" y="1747"/>
                    <a:pt x="1176" y="1967"/>
                  </a:cubicBezTo>
                  <a:lnTo>
                    <a:pt x="1176" y="1967"/>
                  </a:lnTo>
                  <a:cubicBezTo>
                    <a:pt x="1245" y="2187"/>
                    <a:pt x="1508" y="2497"/>
                    <a:pt x="1611" y="2635"/>
                  </a:cubicBezTo>
                  <a:lnTo>
                    <a:pt x="1611" y="2635"/>
                  </a:lnTo>
                  <a:cubicBezTo>
                    <a:pt x="1714" y="2772"/>
                    <a:pt x="2252" y="2788"/>
                    <a:pt x="2422" y="2432"/>
                  </a:cubicBezTo>
                  <a:lnTo>
                    <a:pt x="2422" y="2432"/>
                  </a:lnTo>
                  <a:cubicBezTo>
                    <a:pt x="2052" y="1904"/>
                    <a:pt x="2840" y="1449"/>
                    <a:pt x="2144" y="631"/>
                  </a:cubicBezTo>
                  <a:lnTo>
                    <a:pt x="2144" y="631"/>
                  </a:lnTo>
                  <a:cubicBezTo>
                    <a:pt x="1996" y="308"/>
                    <a:pt x="1687" y="0"/>
                    <a:pt x="656" y="543"/>
                  </a:cubicBezTo>
                  <a:lnTo>
                    <a:pt x="656" y="543"/>
                  </a:lnTo>
                  <a:cubicBezTo>
                    <a:pt x="608" y="571"/>
                    <a:pt x="433" y="510"/>
                    <a:pt x="362" y="447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172">
              <a:extLst>
                <a:ext uri="{FF2B5EF4-FFF2-40B4-BE49-F238E27FC236}">
                  <a16:creationId xmlns:a16="http://schemas.microsoft.com/office/drawing/2014/main" id="{A5DCBA87-289D-0A42-85FA-1555E3529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268609"/>
              <a:ext cx="331234" cy="521336"/>
            </a:xfrm>
            <a:custGeom>
              <a:avLst/>
              <a:gdLst>
                <a:gd name="T0" fmla="*/ 50 w 506"/>
                <a:gd name="T1" fmla="*/ 458 h 797"/>
                <a:gd name="T2" fmla="*/ 50 w 506"/>
                <a:gd name="T3" fmla="*/ 458 h 797"/>
                <a:gd name="T4" fmla="*/ 302 w 506"/>
                <a:gd name="T5" fmla="*/ 763 h 797"/>
                <a:gd name="T6" fmla="*/ 302 w 506"/>
                <a:gd name="T7" fmla="*/ 763 h 797"/>
                <a:gd name="T8" fmla="*/ 455 w 506"/>
                <a:gd name="T9" fmla="*/ 250 h 797"/>
                <a:gd name="T10" fmla="*/ 455 w 506"/>
                <a:gd name="T11" fmla="*/ 250 h 797"/>
                <a:gd name="T12" fmla="*/ 226 w 506"/>
                <a:gd name="T13" fmla="*/ 33 h 797"/>
                <a:gd name="T14" fmla="*/ 226 w 506"/>
                <a:gd name="T15" fmla="*/ 33 h 797"/>
                <a:gd name="T16" fmla="*/ 50 w 506"/>
                <a:gd name="T17" fmla="*/ 458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797">
                  <a:moveTo>
                    <a:pt x="50" y="458"/>
                  </a:moveTo>
                  <a:lnTo>
                    <a:pt x="50" y="458"/>
                  </a:lnTo>
                  <a:cubicBezTo>
                    <a:pt x="101" y="648"/>
                    <a:pt x="179" y="796"/>
                    <a:pt x="302" y="763"/>
                  </a:cubicBezTo>
                  <a:lnTo>
                    <a:pt x="302" y="763"/>
                  </a:lnTo>
                  <a:cubicBezTo>
                    <a:pt x="426" y="731"/>
                    <a:pt x="505" y="440"/>
                    <a:pt x="455" y="250"/>
                  </a:cubicBezTo>
                  <a:lnTo>
                    <a:pt x="455" y="250"/>
                  </a:lnTo>
                  <a:cubicBezTo>
                    <a:pt x="405" y="59"/>
                    <a:pt x="349" y="0"/>
                    <a:pt x="226" y="33"/>
                  </a:cubicBezTo>
                  <a:lnTo>
                    <a:pt x="226" y="33"/>
                  </a:lnTo>
                  <a:cubicBezTo>
                    <a:pt x="103" y="66"/>
                    <a:pt x="0" y="268"/>
                    <a:pt x="50" y="458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173">
              <a:extLst>
                <a:ext uri="{FF2B5EF4-FFF2-40B4-BE49-F238E27FC236}">
                  <a16:creationId xmlns:a16="http://schemas.microsoft.com/office/drawing/2014/main" id="{AAD3067A-1ED0-474D-9629-88F30AC9C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4222524"/>
              <a:ext cx="357157" cy="521336"/>
            </a:xfrm>
            <a:custGeom>
              <a:avLst/>
              <a:gdLst>
                <a:gd name="T0" fmla="*/ 50 w 545"/>
                <a:gd name="T1" fmla="*/ 457 h 796"/>
                <a:gd name="T2" fmla="*/ 50 w 545"/>
                <a:gd name="T3" fmla="*/ 457 h 796"/>
                <a:gd name="T4" fmla="*/ 302 w 545"/>
                <a:gd name="T5" fmla="*/ 763 h 796"/>
                <a:gd name="T6" fmla="*/ 302 w 545"/>
                <a:gd name="T7" fmla="*/ 763 h 796"/>
                <a:gd name="T8" fmla="*/ 494 w 545"/>
                <a:gd name="T9" fmla="*/ 266 h 796"/>
                <a:gd name="T10" fmla="*/ 494 w 545"/>
                <a:gd name="T11" fmla="*/ 266 h 796"/>
                <a:gd name="T12" fmla="*/ 226 w 545"/>
                <a:gd name="T13" fmla="*/ 32 h 796"/>
                <a:gd name="T14" fmla="*/ 226 w 545"/>
                <a:gd name="T15" fmla="*/ 32 h 796"/>
                <a:gd name="T16" fmla="*/ 50 w 545"/>
                <a:gd name="T17" fmla="*/ 457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796">
                  <a:moveTo>
                    <a:pt x="50" y="457"/>
                  </a:moveTo>
                  <a:lnTo>
                    <a:pt x="50" y="457"/>
                  </a:lnTo>
                  <a:cubicBezTo>
                    <a:pt x="100" y="647"/>
                    <a:pt x="178" y="795"/>
                    <a:pt x="302" y="763"/>
                  </a:cubicBezTo>
                  <a:lnTo>
                    <a:pt x="302" y="763"/>
                  </a:lnTo>
                  <a:cubicBezTo>
                    <a:pt x="425" y="730"/>
                    <a:pt x="544" y="456"/>
                    <a:pt x="494" y="266"/>
                  </a:cubicBezTo>
                  <a:lnTo>
                    <a:pt x="494" y="266"/>
                  </a:lnTo>
                  <a:cubicBezTo>
                    <a:pt x="444" y="76"/>
                    <a:pt x="348" y="0"/>
                    <a:pt x="226" y="32"/>
                  </a:cubicBezTo>
                  <a:lnTo>
                    <a:pt x="226" y="32"/>
                  </a:lnTo>
                  <a:cubicBezTo>
                    <a:pt x="102" y="65"/>
                    <a:pt x="0" y="267"/>
                    <a:pt x="50" y="457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174">
              <a:extLst>
                <a:ext uri="{FF2B5EF4-FFF2-40B4-BE49-F238E27FC236}">
                  <a16:creationId xmlns:a16="http://schemas.microsoft.com/office/drawing/2014/main" id="{FDC37106-6FD9-A54C-BB4A-46D826D9B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113" y="11578816"/>
              <a:ext cx="1316297" cy="843930"/>
            </a:xfrm>
            <a:custGeom>
              <a:avLst/>
              <a:gdLst>
                <a:gd name="T0" fmla="*/ 1887 w 2016"/>
                <a:gd name="T1" fmla="*/ 1128 h 1293"/>
                <a:gd name="T2" fmla="*/ 1887 w 2016"/>
                <a:gd name="T3" fmla="*/ 1128 h 1293"/>
                <a:gd name="T4" fmla="*/ 1907 w 2016"/>
                <a:gd name="T5" fmla="*/ 843 h 1293"/>
                <a:gd name="T6" fmla="*/ 531 w 2016"/>
                <a:gd name="T7" fmla="*/ 8 h 1293"/>
                <a:gd name="T8" fmla="*/ 531 w 2016"/>
                <a:gd name="T9" fmla="*/ 8 h 1293"/>
                <a:gd name="T10" fmla="*/ 491 w 2016"/>
                <a:gd name="T11" fmla="*/ 7 h 1293"/>
                <a:gd name="T12" fmla="*/ 132 w 2016"/>
                <a:gd name="T13" fmla="*/ 180 h 1293"/>
                <a:gd name="T14" fmla="*/ 132 w 2016"/>
                <a:gd name="T15" fmla="*/ 180 h 1293"/>
                <a:gd name="T16" fmla="*/ 117 w 2016"/>
                <a:gd name="T17" fmla="*/ 529 h 1293"/>
                <a:gd name="T18" fmla="*/ 117 w 2016"/>
                <a:gd name="T19" fmla="*/ 529 h 1293"/>
                <a:gd name="T20" fmla="*/ 1105 w 2016"/>
                <a:gd name="T21" fmla="*/ 1148 h 1293"/>
                <a:gd name="T22" fmla="*/ 1105 w 2016"/>
                <a:gd name="T23" fmla="*/ 1148 h 1293"/>
                <a:gd name="T24" fmla="*/ 1887 w 2016"/>
                <a:gd name="T25" fmla="*/ 1128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6" h="1293">
                  <a:moveTo>
                    <a:pt x="1887" y="1128"/>
                  </a:moveTo>
                  <a:lnTo>
                    <a:pt x="1887" y="1128"/>
                  </a:lnTo>
                  <a:cubicBezTo>
                    <a:pt x="2000" y="1064"/>
                    <a:pt x="2015" y="916"/>
                    <a:pt x="1907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1"/>
                    <a:pt x="503" y="0"/>
                    <a:pt x="491" y="7"/>
                  </a:cubicBezTo>
                  <a:lnTo>
                    <a:pt x="132" y="180"/>
                  </a:lnTo>
                  <a:lnTo>
                    <a:pt x="132" y="180"/>
                  </a:lnTo>
                  <a:cubicBezTo>
                    <a:pt x="0" y="244"/>
                    <a:pt x="7" y="434"/>
                    <a:pt x="117" y="529"/>
                  </a:cubicBezTo>
                  <a:lnTo>
                    <a:pt x="117" y="529"/>
                  </a:lnTo>
                  <a:cubicBezTo>
                    <a:pt x="315" y="700"/>
                    <a:pt x="573" y="917"/>
                    <a:pt x="1105" y="1148"/>
                  </a:cubicBezTo>
                  <a:lnTo>
                    <a:pt x="1105" y="1148"/>
                  </a:lnTo>
                  <a:cubicBezTo>
                    <a:pt x="1370" y="1263"/>
                    <a:pt x="1603" y="1292"/>
                    <a:pt x="1887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175">
              <a:extLst>
                <a:ext uri="{FF2B5EF4-FFF2-40B4-BE49-F238E27FC236}">
                  <a16:creationId xmlns:a16="http://schemas.microsoft.com/office/drawing/2014/main" id="{5EAB8D9F-434E-9D45-8FB3-B25137052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1395" y="11382956"/>
              <a:ext cx="1270212" cy="1002345"/>
            </a:xfrm>
            <a:custGeom>
              <a:avLst/>
              <a:gdLst>
                <a:gd name="T0" fmla="*/ 1898 w 1945"/>
                <a:gd name="T1" fmla="*/ 1202 h 1533"/>
                <a:gd name="T2" fmla="*/ 1898 w 1945"/>
                <a:gd name="T3" fmla="*/ 1202 h 1533"/>
                <a:gd name="T4" fmla="*/ 1759 w 1945"/>
                <a:gd name="T5" fmla="*/ 539 h 1533"/>
                <a:gd name="T6" fmla="*/ 1759 w 1945"/>
                <a:gd name="T7" fmla="*/ 539 h 1533"/>
                <a:gd name="T8" fmla="*/ 1326 w 1945"/>
                <a:gd name="T9" fmla="*/ 432 h 1533"/>
                <a:gd name="T10" fmla="*/ 1326 w 1945"/>
                <a:gd name="T11" fmla="*/ 432 h 1533"/>
                <a:gd name="T12" fmla="*/ 128 w 1945"/>
                <a:gd name="T13" fmla="*/ 258 h 1533"/>
                <a:gd name="T14" fmla="*/ 128 w 1945"/>
                <a:gd name="T15" fmla="*/ 258 h 1533"/>
                <a:gd name="T16" fmla="*/ 76 w 1945"/>
                <a:gd name="T17" fmla="*/ 687 h 1533"/>
                <a:gd name="T18" fmla="*/ 76 w 1945"/>
                <a:gd name="T19" fmla="*/ 687 h 1533"/>
                <a:gd name="T20" fmla="*/ 1229 w 1945"/>
                <a:gd name="T21" fmla="*/ 1441 h 1533"/>
                <a:gd name="T22" fmla="*/ 1229 w 1945"/>
                <a:gd name="T23" fmla="*/ 1441 h 1533"/>
                <a:gd name="T24" fmla="*/ 1898 w 1945"/>
                <a:gd name="T25" fmla="*/ 1202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5" h="1533">
                  <a:moveTo>
                    <a:pt x="1898" y="1202"/>
                  </a:moveTo>
                  <a:lnTo>
                    <a:pt x="1898" y="1202"/>
                  </a:lnTo>
                  <a:cubicBezTo>
                    <a:pt x="1887" y="1155"/>
                    <a:pt x="1927" y="678"/>
                    <a:pt x="1759" y="539"/>
                  </a:cubicBezTo>
                  <a:lnTo>
                    <a:pt x="1759" y="539"/>
                  </a:lnTo>
                  <a:cubicBezTo>
                    <a:pt x="1666" y="461"/>
                    <a:pt x="1467" y="442"/>
                    <a:pt x="1326" y="432"/>
                  </a:cubicBezTo>
                  <a:lnTo>
                    <a:pt x="1326" y="432"/>
                  </a:lnTo>
                  <a:cubicBezTo>
                    <a:pt x="1027" y="412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39"/>
                    <a:pt x="76" y="687"/>
                  </a:cubicBezTo>
                  <a:lnTo>
                    <a:pt x="76" y="687"/>
                  </a:lnTo>
                  <a:cubicBezTo>
                    <a:pt x="188" y="903"/>
                    <a:pt x="1015" y="1382"/>
                    <a:pt x="1229" y="1441"/>
                  </a:cubicBezTo>
                  <a:lnTo>
                    <a:pt x="1229" y="1441"/>
                  </a:lnTo>
                  <a:cubicBezTo>
                    <a:pt x="1557" y="1532"/>
                    <a:pt x="1944" y="1413"/>
                    <a:pt x="1898" y="1202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176">
              <a:extLst>
                <a:ext uri="{FF2B5EF4-FFF2-40B4-BE49-F238E27FC236}">
                  <a16:creationId xmlns:a16="http://schemas.microsoft.com/office/drawing/2014/main" id="{4186683F-38CB-3C46-BF62-C71449D39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8165" y="8326957"/>
              <a:ext cx="996585" cy="3747273"/>
            </a:xfrm>
            <a:custGeom>
              <a:avLst/>
              <a:gdLst>
                <a:gd name="T0" fmla="*/ 313 w 1524"/>
                <a:gd name="T1" fmla="*/ 5215 h 5738"/>
                <a:gd name="T2" fmla="*/ 313 w 1524"/>
                <a:gd name="T3" fmla="*/ 5215 h 5738"/>
                <a:gd name="T4" fmla="*/ 125 w 1524"/>
                <a:gd name="T5" fmla="*/ 918 h 5738"/>
                <a:gd name="T6" fmla="*/ 125 w 1524"/>
                <a:gd name="T7" fmla="*/ 918 h 5738"/>
                <a:gd name="T8" fmla="*/ 1147 w 1524"/>
                <a:gd name="T9" fmla="*/ 20 h 5738"/>
                <a:gd name="T10" fmla="*/ 1147 w 1524"/>
                <a:gd name="T11" fmla="*/ 20 h 5738"/>
                <a:gd name="T12" fmla="*/ 1439 w 1524"/>
                <a:gd name="T13" fmla="*/ 1773 h 5738"/>
                <a:gd name="T14" fmla="*/ 1126 w 1524"/>
                <a:gd name="T15" fmla="*/ 5570 h 5738"/>
                <a:gd name="T16" fmla="*/ 1126 w 1524"/>
                <a:gd name="T17" fmla="*/ 5570 h 5738"/>
                <a:gd name="T18" fmla="*/ 313 w 1524"/>
                <a:gd name="T19" fmla="*/ 5215 h 5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4" h="5738">
                  <a:moveTo>
                    <a:pt x="313" y="5215"/>
                  </a:moveTo>
                  <a:lnTo>
                    <a:pt x="313" y="5215"/>
                  </a:lnTo>
                  <a:cubicBezTo>
                    <a:pt x="313" y="5215"/>
                    <a:pt x="0" y="1627"/>
                    <a:pt x="125" y="918"/>
                  </a:cubicBezTo>
                  <a:lnTo>
                    <a:pt x="125" y="918"/>
                  </a:lnTo>
                  <a:cubicBezTo>
                    <a:pt x="250" y="208"/>
                    <a:pt x="772" y="0"/>
                    <a:pt x="1147" y="20"/>
                  </a:cubicBezTo>
                  <a:lnTo>
                    <a:pt x="1147" y="20"/>
                  </a:lnTo>
                  <a:cubicBezTo>
                    <a:pt x="1523" y="42"/>
                    <a:pt x="1439" y="1773"/>
                    <a:pt x="1439" y="1773"/>
                  </a:cubicBezTo>
                  <a:lnTo>
                    <a:pt x="1126" y="5570"/>
                  </a:lnTo>
                  <a:lnTo>
                    <a:pt x="1126" y="5570"/>
                  </a:lnTo>
                  <a:cubicBezTo>
                    <a:pt x="1126" y="5570"/>
                    <a:pt x="667" y="5737"/>
                    <a:pt x="313" y="521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177">
              <a:extLst>
                <a:ext uri="{FF2B5EF4-FFF2-40B4-BE49-F238E27FC236}">
                  <a16:creationId xmlns:a16="http://schemas.microsoft.com/office/drawing/2014/main" id="{21F9BA7B-2B61-E245-BFB6-6A3C3F313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8054" y="8960623"/>
              <a:ext cx="849688" cy="2367609"/>
            </a:xfrm>
            <a:custGeom>
              <a:avLst/>
              <a:gdLst>
                <a:gd name="T0" fmla="*/ 0 w 1303"/>
                <a:gd name="T1" fmla="*/ 0 h 3623"/>
                <a:gd name="T2" fmla="*/ 0 w 1303"/>
                <a:gd name="T3" fmla="*/ 0 h 3623"/>
                <a:gd name="T4" fmla="*/ 204 w 1303"/>
                <a:gd name="T5" fmla="*/ 3100 h 3623"/>
                <a:gd name="T6" fmla="*/ 204 w 1303"/>
                <a:gd name="T7" fmla="*/ 3100 h 3623"/>
                <a:gd name="T8" fmla="*/ 1018 w 1303"/>
                <a:gd name="T9" fmla="*/ 3454 h 3623"/>
                <a:gd name="T10" fmla="*/ 1302 w 1303"/>
                <a:gd name="T11" fmla="*/ 0 h 3623"/>
                <a:gd name="T12" fmla="*/ 0 w 1303"/>
                <a:gd name="T13" fmla="*/ 0 h 3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3623">
                  <a:moveTo>
                    <a:pt x="0" y="0"/>
                  </a:moveTo>
                  <a:lnTo>
                    <a:pt x="0" y="0"/>
                  </a:lnTo>
                  <a:cubicBezTo>
                    <a:pt x="47" y="1302"/>
                    <a:pt x="204" y="3100"/>
                    <a:pt x="204" y="3100"/>
                  </a:cubicBezTo>
                  <a:lnTo>
                    <a:pt x="204" y="3100"/>
                  </a:lnTo>
                  <a:cubicBezTo>
                    <a:pt x="559" y="3622"/>
                    <a:pt x="1018" y="3454"/>
                    <a:pt x="1018" y="3454"/>
                  </a:cubicBezTo>
                  <a:lnTo>
                    <a:pt x="1302" y="0"/>
                  </a:lnTo>
                  <a:lnTo>
                    <a:pt x="0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178">
              <a:extLst>
                <a:ext uri="{FF2B5EF4-FFF2-40B4-BE49-F238E27FC236}">
                  <a16:creationId xmlns:a16="http://schemas.microsoft.com/office/drawing/2014/main" id="{6B859A88-F3BA-8D45-AB6E-1B5898B45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2319" y="8315436"/>
              <a:ext cx="3793357" cy="2344566"/>
            </a:xfrm>
            <a:custGeom>
              <a:avLst/>
              <a:gdLst>
                <a:gd name="T0" fmla="*/ 0 w 5809"/>
                <a:gd name="T1" fmla="*/ 63 h 3590"/>
                <a:gd name="T2" fmla="*/ 0 w 5809"/>
                <a:gd name="T3" fmla="*/ 63 h 3590"/>
                <a:gd name="T4" fmla="*/ 709 w 5809"/>
                <a:gd name="T5" fmla="*/ 187 h 3590"/>
                <a:gd name="T6" fmla="*/ 709 w 5809"/>
                <a:gd name="T7" fmla="*/ 187 h 3590"/>
                <a:gd name="T8" fmla="*/ 4193 w 5809"/>
                <a:gd name="T9" fmla="*/ 1564 h 3590"/>
                <a:gd name="T10" fmla="*/ 5505 w 5809"/>
                <a:gd name="T11" fmla="*/ 873 h 3590"/>
                <a:gd name="T12" fmla="*/ 5505 w 5809"/>
                <a:gd name="T13" fmla="*/ 873 h 3590"/>
                <a:gd name="T14" fmla="*/ 4129 w 5809"/>
                <a:gd name="T15" fmla="*/ 3491 h 3590"/>
                <a:gd name="T16" fmla="*/ 4129 w 5809"/>
                <a:gd name="T17" fmla="*/ 3491 h 3590"/>
                <a:gd name="T18" fmla="*/ 1440 w 5809"/>
                <a:gd name="T19" fmla="*/ 2817 h 3590"/>
                <a:gd name="T20" fmla="*/ 1440 w 5809"/>
                <a:gd name="T21" fmla="*/ 2817 h 3590"/>
                <a:gd name="T22" fmla="*/ 0 w 5809"/>
                <a:gd name="T23" fmla="*/ 1982 h 3590"/>
                <a:gd name="T24" fmla="*/ 0 w 5809"/>
                <a:gd name="T25" fmla="*/ 63 h 3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09" h="3590">
                  <a:moveTo>
                    <a:pt x="0" y="63"/>
                  </a:moveTo>
                  <a:lnTo>
                    <a:pt x="0" y="63"/>
                  </a:lnTo>
                  <a:cubicBezTo>
                    <a:pt x="0" y="63"/>
                    <a:pt x="187" y="0"/>
                    <a:pt x="709" y="187"/>
                  </a:cubicBezTo>
                  <a:lnTo>
                    <a:pt x="709" y="187"/>
                  </a:lnTo>
                  <a:cubicBezTo>
                    <a:pt x="1230" y="376"/>
                    <a:pt x="4193" y="1564"/>
                    <a:pt x="4193" y="1564"/>
                  </a:cubicBezTo>
                  <a:lnTo>
                    <a:pt x="5505" y="873"/>
                  </a:lnTo>
                  <a:lnTo>
                    <a:pt x="5505" y="873"/>
                  </a:lnTo>
                  <a:cubicBezTo>
                    <a:pt x="5808" y="3249"/>
                    <a:pt x="4701" y="3285"/>
                    <a:pt x="4129" y="3491"/>
                  </a:cubicBezTo>
                  <a:lnTo>
                    <a:pt x="4129" y="3491"/>
                  </a:lnTo>
                  <a:cubicBezTo>
                    <a:pt x="3856" y="3589"/>
                    <a:pt x="1919" y="3004"/>
                    <a:pt x="1440" y="2817"/>
                  </a:cubicBezTo>
                  <a:lnTo>
                    <a:pt x="1440" y="2817"/>
                  </a:lnTo>
                  <a:cubicBezTo>
                    <a:pt x="960" y="2628"/>
                    <a:pt x="0" y="1982"/>
                    <a:pt x="0" y="1982"/>
                  </a:cubicBezTo>
                  <a:lnTo>
                    <a:pt x="0" y="63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179">
              <a:extLst>
                <a:ext uri="{FF2B5EF4-FFF2-40B4-BE49-F238E27FC236}">
                  <a16:creationId xmlns:a16="http://schemas.microsoft.com/office/drawing/2014/main" id="{715198E5-84F8-3446-AC78-E6369A091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3891" y="4838910"/>
              <a:ext cx="2494342" cy="4787063"/>
            </a:xfrm>
            <a:custGeom>
              <a:avLst/>
              <a:gdLst>
                <a:gd name="T0" fmla="*/ 2042 w 3817"/>
                <a:gd name="T1" fmla="*/ 348 h 7331"/>
                <a:gd name="T2" fmla="*/ 2042 w 3817"/>
                <a:gd name="T3" fmla="*/ 348 h 7331"/>
                <a:gd name="T4" fmla="*/ 169 w 3817"/>
                <a:gd name="T5" fmla="*/ 1603 h 7331"/>
                <a:gd name="T6" fmla="*/ 169 w 3817"/>
                <a:gd name="T7" fmla="*/ 1603 h 7331"/>
                <a:gd name="T8" fmla="*/ 97 w 3817"/>
                <a:gd name="T9" fmla="*/ 6642 h 7331"/>
                <a:gd name="T10" fmla="*/ 97 w 3817"/>
                <a:gd name="T11" fmla="*/ 6642 h 7331"/>
                <a:gd name="T12" fmla="*/ 335 w 3817"/>
                <a:gd name="T13" fmla="*/ 7007 h 7331"/>
                <a:gd name="T14" fmla="*/ 335 w 3817"/>
                <a:gd name="T15" fmla="*/ 7007 h 7331"/>
                <a:gd name="T16" fmla="*/ 1657 w 3817"/>
                <a:gd name="T17" fmla="*/ 7262 h 7331"/>
                <a:gd name="T18" fmla="*/ 1657 w 3817"/>
                <a:gd name="T19" fmla="*/ 7262 h 7331"/>
                <a:gd name="T20" fmla="*/ 3402 w 3817"/>
                <a:gd name="T21" fmla="*/ 6517 h 7331"/>
                <a:gd name="T22" fmla="*/ 3402 w 3817"/>
                <a:gd name="T23" fmla="*/ 6517 h 7331"/>
                <a:gd name="T24" fmla="*/ 3743 w 3817"/>
                <a:gd name="T25" fmla="*/ 5819 h 7331"/>
                <a:gd name="T26" fmla="*/ 3743 w 3817"/>
                <a:gd name="T27" fmla="*/ 5819 h 7331"/>
                <a:gd name="T28" fmla="*/ 3592 w 3817"/>
                <a:gd name="T29" fmla="*/ 1579 h 7331"/>
                <a:gd name="T30" fmla="*/ 3592 w 3817"/>
                <a:gd name="T31" fmla="*/ 1579 h 7331"/>
                <a:gd name="T32" fmla="*/ 2042 w 3817"/>
                <a:gd name="T33" fmla="*/ 348 h 7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17" h="7331">
                  <a:moveTo>
                    <a:pt x="2042" y="348"/>
                  </a:moveTo>
                  <a:lnTo>
                    <a:pt x="2042" y="348"/>
                  </a:lnTo>
                  <a:cubicBezTo>
                    <a:pt x="572" y="744"/>
                    <a:pt x="169" y="1603"/>
                    <a:pt x="169" y="1603"/>
                  </a:cubicBezTo>
                  <a:lnTo>
                    <a:pt x="169" y="1603"/>
                  </a:lnTo>
                  <a:cubicBezTo>
                    <a:pt x="0" y="3857"/>
                    <a:pt x="67" y="5375"/>
                    <a:pt x="97" y="6642"/>
                  </a:cubicBezTo>
                  <a:lnTo>
                    <a:pt x="97" y="6642"/>
                  </a:lnTo>
                  <a:cubicBezTo>
                    <a:pt x="101" y="6798"/>
                    <a:pt x="194" y="6940"/>
                    <a:pt x="335" y="7007"/>
                  </a:cubicBezTo>
                  <a:lnTo>
                    <a:pt x="335" y="7007"/>
                  </a:lnTo>
                  <a:cubicBezTo>
                    <a:pt x="606" y="7137"/>
                    <a:pt x="1095" y="7330"/>
                    <a:pt x="1657" y="7262"/>
                  </a:cubicBezTo>
                  <a:lnTo>
                    <a:pt x="1657" y="7262"/>
                  </a:lnTo>
                  <a:cubicBezTo>
                    <a:pt x="2579" y="7152"/>
                    <a:pt x="3218" y="6687"/>
                    <a:pt x="3402" y="6517"/>
                  </a:cubicBezTo>
                  <a:lnTo>
                    <a:pt x="3402" y="6517"/>
                  </a:lnTo>
                  <a:cubicBezTo>
                    <a:pt x="3506" y="6420"/>
                    <a:pt x="3733" y="6173"/>
                    <a:pt x="3743" y="5819"/>
                  </a:cubicBezTo>
                  <a:lnTo>
                    <a:pt x="3743" y="5819"/>
                  </a:lnTo>
                  <a:cubicBezTo>
                    <a:pt x="3765" y="5048"/>
                    <a:pt x="3816" y="3387"/>
                    <a:pt x="3592" y="1579"/>
                  </a:cubicBezTo>
                  <a:lnTo>
                    <a:pt x="3592" y="1579"/>
                  </a:lnTo>
                  <a:cubicBezTo>
                    <a:pt x="3592" y="1300"/>
                    <a:pt x="3334" y="0"/>
                    <a:pt x="2042" y="34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9" name="Freeform 180">
              <a:extLst>
                <a:ext uri="{FF2B5EF4-FFF2-40B4-BE49-F238E27FC236}">
                  <a16:creationId xmlns:a16="http://schemas.microsoft.com/office/drawing/2014/main" id="{C29675B9-25A3-0C45-AFD6-3E833AB05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3242" y="5682838"/>
              <a:ext cx="1002345" cy="2039254"/>
            </a:xfrm>
            <a:custGeom>
              <a:avLst/>
              <a:gdLst>
                <a:gd name="T0" fmla="*/ 931 w 1533"/>
                <a:gd name="T1" fmla="*/ 68 h 3120"/>
                <a:gd name="T2" fmla="*/ 931 w 1533"/>
                <a:gd name="T3" fmla="*/ 68 h 3120"/>
                <a:gd name="T4" fmla="*/ 189 w 1533"/>
                <a:gd name="T5" fmla="*/ 381 h 3120"/>
                <a:gd name="T6" fmla="*/ 189 w 1533"/>
                <a:gd name="T7" fmla="*/ 381 h 3120"/>
                <a:gd name="T8" fmla="*/ 183 w 1533"/>
                <a:gd name="T9" fmla="*/ 565 h 3120"/>
                <a:gd name="T10" fmla="*/ 183 w 1533"/>
                <a:gd name="T11" fmla="*/ 3119 h 3120"/>
                <a:gd name="T12" fmla="*/ 183 w 1533"/>
                <a:gd name="T13" fmla="*/ 3119 h 3120"/>
                <a:gd name="T14" fmla="*/ 1347 w 1533"/>
                <a:gd name="T15" fmla="*/ 966 h 3120"/>
                <a:gd name="T16" fmla="*/ 1347 w 1533"/>
                <a:gd name="T17" fmla="*/ 966 h 3120"/>
                <a:gd name="T18" fmla="*/ 931 w 1533"/>
                <a:gd name="T19" fmla="*/ 68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3" h="3120">
                  <a:moveTo>
                    <a:pt x="931" y="68"/>
                  </a:moveTo>
                  <a:lnTo>
                    <a:pt x="931" y="68"/>
                  </a:lnTo>
                  <a:cubicBezTo>
                    <a:pt x="708" y="0"/>
                    <a:pt x="318" y="185"/>
                    <a:pt x="189" y="381"/>
                  </a:cubicBezTo>
                  <a:lnTo>
                    <a:pt x="189" y="381"/>
                  </a:lnTo>
                  <a:cubicBezTo>
                    <a:pt x="94" y="496"/>
                    <a:pt x="0" y="611"/>
                    <a:pt x="183" y="565"/>
                  </a:cubicBezTo>
                  <a:lnTo>
                    <a:pt x="183" y="3119"/>
                  </a:lnTo>
                  <a:lnTo>
                    <a:pt x="183" y="3119"/>
                  </a:lnTo>
                  <a:cubicBezTo>
                    <a:pt x="613" y="2579"/>
                    <a:pt x="998" y="1619"/>
                    <a:pt x="1347" y="966"/>
                  </a:cubicBezTo>
                  <a:lnTo>
                    <a:pt x="1347" y="966"/>
                  </a:lnTo>
                  <a:cubicBezTo>
                    <a:pt x="1532" y="621"/>
                    <a:pt x="1306" y="181"/>
                    <a:pt x="931" y="68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181">
              <a:extLst>
                <a:ext uri="{FF2B5EF4-FFF2-40B4-BE49-F238E27FC236}">
                  <a16:creationId xmlns:a16="http://schemas.microsoft.com/office/drawing/2014/main" id="{28A551E2-E99B-D843-90C5-3D93AF334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830" y="6788875"/>
              <a:ext cx="1575525" cy="1229888"/>
            </a:xfrm>
            <a:custGeom>
              <a:avLst/>
              <a:gdLst>
                <a:gd name="T0" fmla="*/ 2411 w 2412"/>
                <a:gd name="T1" fmla="*/ 1132 h 1884"/>
                <a:gd name="T2" fmla="*/ 2411 w 2412"/>
                <a:gd name="T3" fmla="*/ 1132 h 1884"/>
                <a:gd name="T4" fmla="*/ 213 w 2412"/>
                <a:gd name="T5" fmla="*/ 0 h 1884"/>
                <a:gd name="T6" fmla="*/ 0 w 2412"/>
                <a:gd name="T7" fmla="*/ 326 h 1884"/>
                <a:gd name="T8" fmla="*/ 0 w 2412"/>
                <a:gd name="T9" fmla="*/ 326 h 1884"/>
                <a:gd name="T10" fmla="*/ 2284 w 2412"/>
                <a:gd name="T11" fmla="*/ 1883 h 1884"/>
                <a:gd name="T12" fmla="*/ 2411 w 2412"/>
                <a:gd name="T13" fmla="*/ 1132 h 1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2" h="1884">
                  <a:moveTo>
                    <a:pt x="2411" y="1132"/>
                  </a:moveTo>
                  <a:lnTo>
                    <a:pt x="2411" y="1132"/>
                  </a:lnTo>
                  <a:cubicBezTo>
                    <a:pt x="2411" y="1132"/>
                    <a:pt x="504" y="278"/>
                    <a:pt x="213" y="0"/>
                  </a:cubicBezTo>
                  <a:lnTo>
                    <a:pt x="0" y="326"/>
                  </a:lnTo>
                  <a:lnTo>
                    <a:pt x="0" y="326"/>
                  </a:lnTo>
                  <a:cubicBezTo>
                    <a:pt x="0" y="326"/>
                    <a:pt x="862" y="1464"/>
                    <a:pt x="2284" y="1883"/>
                  </a:cubicBezTo>
                  <a:lnTo>
                    <a:pt x="2411" y="1132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1" name="Freeform 182">
              <a:extLst>
                <a:ext uri="{FF2B5EF4-FFF2-40B4-BE49-F238E27FC236}">
                  <a16:creationId xmlns:a16="http://schemas.microsoft.com/office/drawing/2014/main" id="{F1C72375-DE25-1842-BABB-389AF6F36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1555" y="6872403"/>
              <a:ext cx="1670575" cy="1241411"/>
            </a:xfrm>
            <a:custGeom>
              <a:avLst/>
              <a:gdLst>
                <a:gd name="T0" fmla="*/ 2558 w 2559"/>
                <a:gd name="T1" fmla="*/ 301 h 1901"/>
                <a:gd name="T2" fmla="*/ 2558 w 2559"/>
                <a:gd name="T3" fmla="*/ 301 h 1901"/>
                <a:gd name="T4" fmla="*/ 2115 w 2559"/>
                <a:gd name="T5" fmla="*/ 649 h 1901"/>
                <a:gd name="T6" fmla="*/ 2115 w 2559"/>
                <a:gd name="T7" fmla="*/ 649 h 1901"/>
                <a:gd name="T8" fmla="*/ 367 w 2559"/>
                <a:gd name="T9" fmla="*/ 0 h 1901"/>
                <a:gd name="T10" fmla="*/ 367 w 2559"/>
                <a:gd name="T11" fmla="*/ 0 h 1901"/>
                <a:gd name="T12" fmla="*/ 23 w 2559"/>
                <a:gd name="T13" fmla="*/ 356 h 1901"/>
                <a:gd name="T14" fmla="*/ 23 w 2559"/>
                <a:gd name="T15" fmla="*/ 356 h 1901"/>
                <a:gd name="T16" fmla="*/ 70 w 2559"/>
                <a:gd name="T17" fmla="*/ 550 h 1901"/>
                <a:gd name="T18" fmla="*/ 70 w 2559"/>
                <a:gd name="T19" fmla="*/ 550 h 1901"/>
                <a:gd name="T20" fmla="*/ 2360 w 2559"/>
                <a:gd name="T21" fmla="*/ 1900 h 1901"/>
                <a:gd name="T22" fmla="*/ 2558 w 2559"/>
                <a:gd name="T23" fmla="*/ 301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9" h="1901">
                  <a:moveTo>
                    <a:pt x="2558" y="301"/>
                  </a:moveTo>
                  <a:lnTo>
                    <a:pt x="2558" y="301"/>
                  </a:lnTo>
                  <a:cubicBezTo>
                    <a:pt x="2472" y="646"/>
                    <a:pt x="2320" y="733"/>
                    <a:pt x="2115" y="649"/>
                  </a:cubicBezTo>
                  <a:lnTo>
                    <a:pt x="2115" y="649"/>
                  </a:lnTo>
                  <a:cubicBezTo>
                    <a:pt x="1553" y="420"/>
                    <a:pt x="667" y="200"/>
                    <a:pt x="367" y="0"/>
                  </a:cubicBezTo>
                  <a:lnTo>
                    <a:pt x="367" y="0"/>
                  </a:lnTo>
                  <a:cubicBezTo>
                    <a:pt x="202" y="82"/>
                    <a:pt x="71" y="210"/>
                    <a:pt x="23" y="356"/>
                  </a:cubicBezTo>
                  <a:lnTo>
                    <a:pt x="23" y="356"/>
                  </a:lnTo>
                  <a:cubicBezTo>
                    <a:pt x="0" y="424"/>
                    <a:pt x="20" y="499"/>
                    <a:pt x="70" y="550"/>
                  </a:cubicBezTo>
                  <a:lnTo>
                    <a:pt x="70" y="550"/>
                  </a:lnTo>
                  <a:cubicBezTo>
                    <a:pt x="328" y="812"/>
                    <a:pt x="1285" y="1715"/>
                    <a:pt x="2360" y="1900"/>
                  </a:cubicBezTo>
                  <a:lnTo>
                    <a:pt x="2558" y="301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2" name="Freeform 183">
              <a:extLst>
                <a:ext uri="{FF2B5EF4-FFF2-40B4-BE49-F238E27FC236}">
                  <a16:creationId xmlns:a16="http://schemas.microsoft.com/office/drawing/2014/main" id="{7AC399B0-DC73-084D-995C-A97F9A1A1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5621" y="5682839"/>
              <a:ext cx="1949966" cy="2482821"/>
            </a:xfrm>
            <a:custGeom>
              <a:avLst/>
              <a:gdLst>
                <a:gd name="T0" fmla="*/ 254 w 2984"/>
                <a:gd name="T1" fmla="*/ 2547 h 3803"/>
                <a:gd name="T2" fmla="*/ 254 w 2984"/>
                <a:gd name="T3" fmla="*/ 2547 h 3803"/>
                <a:gd name="T4" fmla="*/ 1640 w 2984"/>
                <a:gd name="T5" fmla="*/ 381 h 3803"/>
                <a:gd name="T6" fmla="*/ 1640 w 2984"/>
                <a:gd name="T7" fmla="*/ 381 h 3803"/>
                <a:gd name="T8" fmla="*/ 2382 w 2984"/>
                <a:gd name="T9" fmla="*/ 68 h 3803"/>
                <a:gd name="T10" fmla="*/ 2382 w 2984"/>
                <a:gd name="T11" fmla="*/ 68 h 3803"/>
                <a:gd name="T12" fmla="*/ 2798 w 2984"/>
                <a:gd name="T13" fmla="*/ 966 h 3803"/>
                <a:gd name="T14" fmla="*/ 2798 w 2984"/>
                <a:gd name="T15" fmla="*/ 966 h 3803"/>
                <a:gd name="T16" fmla="*/ 0 w 2984"/>
                <a:gd name="T17" fmla="*/ 3802 h 3803"/>
                <a:gd name="T18" fmla="*/ 0 w 2984"/>
                <a:gd name="T19" fmla="*/ 3802 h 3803"/>
                <a:gd name="T20" fmla="*/ 254 w 2984"/>
                <a:gd name="T21" fmla="*/ 2547 h 3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84" h="3803">
                  <a:moveTo>
                    <a:pt x="254" y="2547"/>
                  </a:moveTo>
                  <a:lnTo>
                    <a:pt x="254" y="2547"/>
                  </a:lnTo>
                  <a:cubicBezTo>
                    <a:pt x="444" y="1919"/>
                    <a:pt x="1014" y="1136"/>
                    <a:pt x="1640" y="381"/>
                  </a:cubicBezTo>
                  <a:lnTo>
                    <a:pt x="1640" y="381"/>
                  </a:lnTo>
                  <a:cubicBezTo>
                    <a:pt x="1769" y="185"/>
                    <a:pt x="2159" y="0"/>
                    <a:pt x="2382" y="68"/>
                  </a:cubicBezTo>
                  <a:lnTo>
                    <a:pt x="2382" y="68"/>
                  </a:lnTo>
                  <a:cubicBezTo>
                    <a:pt x="2757" y="181"/>
                    <a:pt x="2983" y="621"/>
                    <a:pt x="2798" y="966"/>
                  </a:cubicBezTo>
                  <a:lnTo>
                    <a:pt x="2798" y="966"/>
                  </a:lnTo>
                  <a:cubicBezTo>
                    <a:pt x="2302" y="1891"/>
                    <a:pt x="1452" y="3257"/>
                    <a:pt x="0" y="3802"/>
                  </a:cubicBezTo>
                  <a:lnTo>
                    <a:pt x="0" y="3802"/>
                  </a:lnTo>
                  <a:cubicBezTo>
                    <a:pt x="0" y="3802"/>
                    <a:pt x="168" y="2706"/>
                    <a:pt x="254" y="254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3" name="Freeform 184">
              <a:extLst>
                <a:ext uri="{FF2B5EF4-FFF2-40B4-BE49-F238E27FC236}">
                  <a16:creationId xmlns:a16="http://schemas.microsoft.com/office/drawing/2014/main" id="{52CFE216-DEA4-D048-B6EB-89C345262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73426" y="6417315"/>
              <a:ext cx="665351" cy="607745"/>
            </a:xfrm>
            <a:custGeom>
              <a:avLst/>
              <a:gdLst>
                <a:gd name="T0" fmla="*/ 954 w 1017"/>
                <a:gd name="T1" fmla="*/ 662 h 929"/>
                <a:gd name="T2" fmla="*/ 954 w 1017"/>
                <a:gd name="T3" fmla="*/ 662 h 929"/>
                <a:gd name="T4" fmla="*/ 976 w 1017"/>
                <a:gd name="T5" fmla="*/ 236 h 929"/>
                <a:gd name="T6" fmla="*/ 976 w 1017"/>
                <a:gd name="T7" fmla="*/ 236 h 929"/>
                <a:gd name="T8" fmla="*/ 807 w 1017"/>
                <a:gd name="T9" fmla="*/ 223 h 929"/>
                <a:gd name="T10" fmla="*/ 807 w 1017"/>
                <a:gd name="T11" fmla="*/ 223 h 929"/>
                <a:gd name="T12" fmla="*/ 485 w 1017"/>
                <a:gd name="T13" fmla="*/ 19 h 929"/>
                <a:gd name="T14" fmla="*/ 485 w 1017"/>
                <a:gd name="T15" fmla="*/ 19 h 929"/>
                <a:gd name="T16" fmla="*/ 305 w 1017"/>
                <a:gd name="T17" fmla="*/ 108 h 929"/>
                <a:gd name="T18" fmla="*/ 305 w 1017"/>
                <a:gd name="T19" fmla="*/ 108 h 929"/>
                <a:gd name="T20" fmla="*/ 134 w 1017"/>
                <a:gd name="T21" fmla="*/ 293 h 929"/>
                <a:gd name="T22" fmla="*/ 134 w 1017"/>
                <a:gd name="T23" fmla="*/ 293 h 929"/>
                <a:gd name="T24" fmla="*/ 31 w 1017"/>
                <a:gd name="T25" fmla="*/ 418 h 929"/>
                <a:gd name="T26" fmla="*/ 31 w 1017"/>
                <a:gd name="T27" fmla="*/ 418 h 929"/>
                <a:gd name="T28" fmla="*/ 31 w 1017"/>
                <a:gd name="T29" fmla="*/ 550 h 929"/>
                <a:gd name="T30" fmla="*/ 31 w 1017"/>
                <a:gd name="T31" fmla="*/ 550 h 929"/>
                <a:gd name="T32" fmla="*/ 37 w 1017"/>
                <a:gd name="T33" fmla="*/ 669 h 929"/>
                <a:gd name="T34" fmla="*/ 37 w 1017"/>
                <a:gd name="T35" fmla="*/ 669 h 929"/>
                <a:gd name="T36" fmla="*/ 674 w 1017"/>
                <a:gd name="T37" fmla="*/ 919 h 929"/>
                <a:gd name="T38" fmla="*/ 674 w 1017"/>
                <a:gd name="T39" fmla="*/ 919 h 929"/>
                <a:gd name="T40" fmla="*/ 954 w 1017"/>
                <a:gd name="T41" fmla="*/ 662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7" h="929">
                  <a:moveTo>
                    <a:pt x="954" y="662"/>
                  </a:moveTo>
                  <a:lnTo>
                    <a:pt x="954" y="662"/>
                  </a:lnTo>
                  <a:cubicBezTo>
                    <a:pt x="954" y="662"/>
                    <a:pt x="1016" y="334"/>
                    <a:pt x="976" y="236"/>
                  </a:cubicBezTo>
                  <a:lnTo>
                    <a:pt x="976" y="236"/>
                  </a:lnTo>
                  <a:cubicBezTo>
                    <a:pt x="963" y="206"/>
                    <a:pt x="939" y="144"/>
                    <a:pt x="807" y="223"/>
                  </a:cubicBezTo>
                  <a:lnTo>
                    <a:pt x="807" y="223"/>
                  </a:lnTo>
                  <a:cubicBezTo>
                    <a:pt x="777" y="241"/>
                    <a:pt x="774" y="157"/>
                    <a:pt x="485" y="19"/>
                  </a:cubicBezTo>
                  <a:lnTo>
                    <a:pt x="485" y="19"/>
                  </a:lnTo>
                  <a:cubicBezTo>
                    <a:pt x="447" y="0"/>
                    <a:pt x="313" y="23"/>
                    <a:pt x="305" y="108"/>
                  </a:cubicBezTo>
                  <a:lnTo>
                    <a:pt x="305" y="108"/>
                  </a:lnTo>
                  <a:cubicBezTo>
                    <a:pt x="296" y="193"/>
                    <a:pt x="145" y="216"/>
                    <a:pt x="134" y="293"/>
                  </a:cubicBezTo>
                  <a:lnTo>
                    <a:pt x="134" y="293"/>
                  </a:lnTo>
                  <a:cubicBezTo>
                    <a:pt x="125" y="362"/>
                    <a:pt x="77" y="368"/>
                    <a:pt x="31" y="418"/>
                  </a:cubicBezTo>
                  <a:lnTo>
                    <a:pt x="31" y="418"/>
                  </a:lnTo>
                  <a:cubicBezTo>
                    <a:pt x="0" y="452"/>
                    <a:pt x="47" y="516"/>
                    <a:pt x="31" y="550"/>
                  </a:cubicBezTo>
                  <a:lnTo>
                    <a:pt x="31" y="550"/>
                  </a:lnTo>
                  <a:cubicBezTo>
                    <a:pt x="16" y="581"/>
                    <a:pt x="23" y="648"/>
                    <a:pt x="37" y="669"/>
                  </a:cubicBezTo>
                  <a:lnTo>
                    <a:pt x="37" y="669"/>
                  </a:lnTo>
                  <a:cubicBezTo>
                    <a:pt x="88" y="754"/>
                    <a:pt x="436" y="928"/>
                    <a:pt x="674" y="919"/>
                  </a:cubicBezTo>
                  <a:lnTo>
                    <a:pt x="674" y="919"/>
                  </a:lnTo>
                  <a:cubicBezTo>
                    <a:pt x="912" y="910"/>
                    <a:pt x="954" y="662"/>
                    <a:pt x="954" y="662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4" name="Freeform 185">
              <a:extLst>
                <a:ext uri="{FF2B5EF4-FFF2-40B4-BE49-F238E27FC236}">
                  <a16:creationId xmlns:a16="http://schemas.microsoft.com/office/drawing/2014/main" id="{AF863B2D-60A0-0D4C-9837-9C401B5FB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8430" y="6198413"/>
              <a:ext cx="2629715" cy="4582562"/>
            </a:xfrm>
            <a:custGeom>
              <a:avLst/>
              <a:gdLst>
                <a:gd name="T0" fmla="*/ 3453 w 4025"/>
                <a:gd name="T1" fmla="*/ 2055 h 7014"/>
                <a:gd name="T2" fmla="*/ 3453 w 4025"/>
                <a:gd name="T3" fmla="*/ 2055 h 7014"/>
                <a:gd name="T4" fmla="*/ 3271 w 4025"/>
                <a:gd name="T5" fmla="*/ 4628 h 7014"/>
                <a:gd name="T6" fmla="*/ 3271 w 4025"/>
                <a:gd name="T7" fmla="*/ 4628 h 7014"/>
                <a:gd name="T8" fmla="*/ 1924 w 4025"/>
                <a:gd name="T9" fmla="*/ 5611 h 7014"/>
                <a:gd name="T10" fmla="*/ 1924 w 4025"/>
                <a:gd name="T11" fmla="*/ 5611 h 7014"/>
                <a:gd name="T12" fmla="*/ 1228 w 4025"/>
                <a:gd name="T13" fmla="*/ 4945 h 7014"/>
                <a:gd name="T14" fmla="*/ 1228 w 4025"/>
                <a:gd name="T15" fmla="*/ 4945 h 7014"/>
                <a:gd name="T16" fmla="*/ 1168 w 4025"/>
                <a:gd name="T17" fmla="*/ 2922 h 7014"/>
                <a:gd name="T18" fmla="*/ 1168 w 4025"/>
                <a:gd name="T19" fmla="*/ 2922 h 7014"/>
                <a:gd name="T20" fmla="*/ 1600 w 4025"/>
                <a:gd name="T21" fmla="*/ 1627 h 7014"/>
                <a:gd name="T22" fmla="*/ 1600 w 4025"/>
                <a:gd name="T23" fmla="*/ 1627 h 7014"/>
                <a:gd name="T24" fmla="*/ 3094 w 4025"/>
                <a:gd name="T25" fmla="*/ 1011 h 7014"/>
                <a:gd name="T26" fmla="*/ 3094 w 4025"/>
                <a:gd name="T27" fmla="*/ 1011 h 7014"/>
                <a:gd name="T28" fmla="*/ 3453 w 4025"/>
                <a:gd name="T29" fmla="*/ 2055 h 7014"/>
                <a:gd name="T30" fmla="*/ 3401 w 4025"/>
                <a:gd name="T31" fmla="*/ 174 h 7014"/>
                <a:gd name="T32" fmla="*/ 3401 w 4025"/>
                <a:gd name="T33" fmla="*/ 174 h 7014"/>
                <a:gd name="T34" fmla="*/ 1220 w 4025"/>
                <a:gd name="T35" fmla="*/ 1074 h 7014"/>
                <a:gd name="T36" fmla="*/ 1220 w 4025"/>
                <a:gd name="T37" fmla="*/ 1074 h 7014"/>
                <a:gd name="T38" fmla="*/ 590 w 4025"/>
                <a:gd name="T39" fmla="*/ 2965 h 7014"/>
                <a:gd name="T40" fmla="*/ 590 w 4025"/>
                <a:gd name="T41" fmla="*/ 2965 h 7014"/>
                <a:gd name="T42" fmla="*/ 623 w 4025"/>
                <a:gd name="T43" fmla="*/ 5641 h 7014"/>
                <a:gd name="T44" fmla="*/ 623 w 4025"/>
                <a:gd name="T45" fmla="*/ 5641 h 7014"/>
                <a:gd name="T46" fmla="*/ 0 w 4025"/>
                <a:gd name="T47" fmla="*/ 6372 h 7014"/>
                <a:gd name="T48" fmla="*/ 0 w 4025"/>
                <a:gd name="T49" fmla="*/ 6372 h 7014"/>
                <a:gd name="T50" fmla="*/ 1803 w 4025"/>
                <a:gd name="T51" fmla="*/ 6837 h 7014"/>
                <a:gd name="T52" fmla="*/ 1803 w 4025"/>
                <a:gd name="T53" fmla="*/ 6837 h 7014"/>
                <a:gd name="T54" fmla="*/ 3571 w 4025"/>
                <a:gd name="T55" fmla="*/ 5386 h 7014"/>
                <a:gd name="T56" fmla="*/ 3571 w 4025"/>
                <a:gd name="T57" fmla="*/ 5386 h 7014"/>
                <a:gd name="T58" fmla="*/ 3938 w 4025"/>
                <a:gd name="T59" fmla="*/ 1991 h 7014"/>
                <a:gd name="T60" fmla="*/ 3938 w 4025"/>
                <a:gd name="T61" fmla="*/ 1991 h 7014"/>
                <a:gd name="T62" fmla="*/ 3401 w 4025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25" h="7014">
                  <a:moveTo>
                    <a:pt x="3453" y="2055"/>
                  </a:moveTo>
                  <a:lnTo>
                    <a:pt x="3453" y="2055"/>
                  </a:lnTo>
                  <a:cubicBezTo>
                    <a:pt x="3390" y="2741"/>
                    <a:pt x="3332" y="4326"/>
                    <a:pt x="3271" y="4628"/>
                  </a:cubicBezTo>
                  <a:lnTo>
                    <a:pt x="3271" y="4628"/>
                  </a:lnTo>
                  <a:cubicBezTo>
                    <a:pt x="3203" y="4970"/>
                    <a:pt x="2413" y="5315"/>
                    <a:pt x="1924" y="5611"/>
                  </a:cubicBezTo>
                  <a:lnTo>
                    <a:pt x="1924" y="5611"/>
                  </a:lnTo>
                  <a:cubicBezTo>
                    <a:pt x="1289" y="5997"/>
                    <a:pt x="1242" y="5377"/>
                    <a:pt x="1228" y="4945"/>
                  </a:cubicBezTo>
                  <a:lnTo>
                    <a:pt x="1228" y="4945"/>
                  </a:lnTo>
                  <a:cubicBezTo>
                    <a:pt x="1215" y="4514"/>
                    <a:pt x="1210" y="3450"/>
                    <a:pt x="1168" y="2922"/>
                  </a:cubicBezTo>
                  <a:lnTo>
                    <a:pt x="1168" y="2922"/>
                  </a:lnTo>
                  <a:cubicBezTo>
                    <a:pt x="1127" y="2395"/>
                    <a:pt x="1148" y="1975"/>
                    <a:pt x="1600" y="1627"/>
                  </a:cubicBezTo>
                  <a:lnTo>
                    <a:pt x="1600" y="1627"/>
                  </a:lnTo>
                  <a:cubicBezTo>
                    <a:pt x="2248" y="1131"/>
                    <a:pt x="2854" y="893"/>
                    <a:pt x="3094" y="1011"/>
                  </a:cubicBezTo>
                  <a:lnTo>
                    <a:pt x="3094" y="1011"/>
                  </a:lnTo>
                  <a:cubicBezTo>
                    <a:pt x="3411" y="1168"/>
                    <a:pt x="3512" y="1401"/>
                    <a:pt x="3453" y="2055"/>
                  </a:cubicBezTo>
                  <a:close/>
                  <a:moveTo>
                    <a:pt x="3401" y="174"/>
                  </a:moveTo>
                  <a:lnTo>
                    <a:pt x="3401" y="174"/>
                  </a:lnTo>
                  <a:cubicBezTo>
                    <a:pt x="3051" y="0"/>
                    <a:pt x="2166" y="349"/>
                    <a:pt x="1220" y="1074"/>
                  </a:cubicBezTo>
                  <a:lnTo>
                    <a:pt x="1220" y="1074"/>
                  </a:lnTo>
                  <a:cubicBezTo>
                    <a:pt x="559" y="1580"/>
                    <a:pt x="530" y="2195"/>
                    <a:pt x="590" y="2965"/>
                  </a:cubicBezTo>
                  <a:lnTo>
                    <a:pt x="590" y="2965"/>
                  </a:lnTo>
                  <a:cubicBezTo>
                    <a:pt x="650" y="3735"/>
                    <a:pt x="614" y="5011"/>
                    <a:pt x="623" y="5641"/>
                  </a:cubicBezTo>
                  <a:lnTo>
                    <a:pt x="623" y="5641"/>
                  </a:lnTo>
                  <a:cubicBezTo>
                    <a:pt x="634" y="6429"/>
                    <a:pt x="0" y="6372"/>
                    <a:pt x="0" y="6372"/>
                  </a:cubicBezTo>
                  <a:lnTo>
                    <a:pt x="0" y="6372"/>
                  </a:lnTo>
                  <a:cubicBezTo>
                    <a:pt x="571" y="6963"/>
                    <a:pt x="1377" y="7013"/>
                    <a:pt x="1803" y="6837"/>
                  </a:cubicBezTo>
                  <a:lnTo>
                    <a:pt x="1803" y="6837"/>
                  </a:lnTo>
                  <a:cubicBezTo>
                    <a:pt x="2575" y="6519"/>
                    <a:pt x="3471" y="5887"/>
                    <a:pt x="3571" y="5386"/>
                  </a:cubicBezTo>
                  <a:lnTo>
                    <a:pt x="3571" y="5386"/>
                  </a:lnTo>
                  <a:cubicBezTo>
                    <a:pt x="3659" y="4946"/>
                    <a:pt x="3847" y="2993"/>
                    <a:pt x="3938" y="1991"/>
                  </a:cubicBezTo>
                  <a:lnTo>
                    <a:pt x="3938" y="1991"/>
                  </a:lnTo>
                  <a:cubicBezTo>
                    <a:pt x="4024" y="1036"/>
                    <a:pt x="3864" y="405"/>
                    <a:pt x="3401" y="174"/>
                  </a:cubicBez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5" name="Freeform 186">
              <a:extLst>
                <a:ext uri="{FF2B5EF4-FFF2-40B4-BE49-F238E27FC236}">
                  <a16:creationId xmlns:a16="http://schemas.microsoft.com/office/drawing/2014/main" id="{61CC809E-868F-D442-8728-4E8A12418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81547" y="6541169"/>
              <a:ext cx="1690737" cy="3666624"/>
            </a:xfrm>
            <a:custGeom>
              <a:avLst/>
              <a:gdLst>
                <a:gd name="T0" fmla="*/ 2588 w 2589"/>
                <a:gd name="T1" fmla="*/ 4615 h 5615"/>
                <a:gd name="T2" fmla="*/ 0 w 2589"/>
                <a:gd name="T3" fmla="*/ 5614 h 5615"/>
                <a:gd name="T4" fmla="*/ 0 w 2589"/>
                <a:gd name="T5" fmla="*/ 998 h 5615"/>
                <a:gd name="T6" fmla="*/ 2588 w 2589"/>
                <a:gd name="T7" fmla="*/ 0 h 5615"/>
                <a:gd name="T8" fmla="*/ 2588 w 2589"/>
                <a:gd name="T9" fmla="*/ 4615 h 5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9" h="5615">
                  <a:moveTo>
                    <a:pt x="2588" y="4615"/>
                  </a:moveTo>
                  <a:lnTo>
                    <a:pt x="0" y="5614"/>
                  </a:lnTo>
                  <a:lnTo>
                    <a:pt x="0" y="998"/>
                  </a:lnTo>
                  <a:lnTo>
                    <a:pt x="2588" y="0"/>
                  </a:lnTo>
                  <a:lnTo>
                    <a:pt x="2588" y="46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6" name="Freeform 187">
              <a:extLst>
                <a:ext uri="{FF2B5EF4-FFF2-40B4-BE49-F238E27FC236}">
                  <a16:creationId xmlns:a16="http://schemas.microsoft.com/office/drawing/2014/main" id="{6B8AA56B-52E4-DC45-BAE2-869A29AA3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29064" y="11218780"/>
              <a:ext cx="2635478" cy="1385425"/>
            </a:xfrm>
            <a:custGeom>
              <a:avLst/>
              <a:gdLst>
                <a:gd name="T0" fmla="*/ 3967 w 4034"/>
                <a:gd name="T1" fmla="*/ 1755 h 2120"/>
                <a:gd name="T2" fmla="*/ 2983 w 4034"/>
                <a:gd name="T3" fmla="*/ 1014 h 2120"/>
                <a:gd name="T4" fmla="*/ 2983 w 4034"/>
                <a:gd name="T5" fmla="*/ 1014 h 2120"/>
                <a:gd name="T6" fmla="*/ 2997 w 4034"/>
                <a:gd name="T7" fmla="*/ 658 h 2120"/>
                <a:gd name="T8" fmla="*/ 3834 w 4034"/>
                <a:gd name="T9" fmla="*/ 132 h 2120"/>
                <a:gd name="T10" fmla="*/ 3834 w 4034"/>
                <a:gd name="T11" fmla="*/ 132 h 2120"/>
                <a:gd name="T12" fmla="*/ 3644 w 4034"/>
                <a:gd name="T13" fmla="*/ 12 h 2120"/>
                <a:gd name="T14" fmla="*/ 3644 w 4034"/>
                <a:gd name="T15" fmla="*/ 12 h 2120"/>
                <a:gd name="T16" fmla="*/ 2261 w 4034"/>
                <a:gd name="T17" fmla="*/ 485 h 2120"/>
                <a:gd name="T18" fmla="*/ 2261 w 4034"/>
                <a:gd name="T19" fmla="*/ 485 h 2120"/>
                <a:gd name="T20" fmla="*/ 2012 w 4034"/>
                <a:gd name="T21" fmla="*/ 451 h 2120"/>
                <a:gd name="T22" fmla="*/ 2012 w 4034"/>
                <a:gd name="T23" fmla="*/ 451 h 2120"/>
                <a:gd name="T24" fmla="*/ 1902 w 4034"/>
                <a:gd name="T25" fmla="*/ 457 h 2120"/>
                <a:gd name="T26" fmla="*/ 1905 w 4034"/>
                <a:gd name="T27" fmla="*/ 452 h 2120"/>
                <a:gd name="T28" fmla="*/ 1905 w 4034"/>
                <a:gd name="T29" fmla="*/ 452 h 2120"/>
                <a:gd name="T30" fmla="*/ 590 w 4034"/>
                <a:gd name="T31" fmla="*/ 51 h 2120"/>
                <a:gd name="T32" fmla="*/ 590 w 4034"/>
                <a:gd name="T33" fmla="*/ 51 h 2120"/>
                <a:gd name="T34" fmla="*/ 371 w 4034"/>
                <a:gd name="T35" fmla="*/ 255 h 2120"/>
                <a:gd name="T36" fmla="*/ 1117 w 4034"/>
                <a:gd name="T37" fmla="*/ 630 h 2120"/>
                <a:gd name="T38" fmla="*/ 1117 w 4034"/>
                <a:gd name="T39" fmla="*/ 630 h 2120"/>
                <a:gd name="T40" fmla="*/ 1150 w 4034"/>
                <a:gd name="T41" fmla="*/ 995 h 2120"/>
                <a:gd name="T42" fmla="*/ 65 w 4034"/>
                <a:gd name="T43" fmla="*/ 1812 h 2120"/>
                <a:gd name="T44" fmla="*/ 65 w 4034"/>
                <a:gd name="T45" fmla="*/ 1812 h 2120"/>
                <a:gd name="T46" fmla="*/ 123 w 4034"/>
                <a:gd name="T47" fmla="*/ 2080 h 2120"/>
                <a:gd name="T48" fmla="*/ 123 w 4034"/>
                <a:gd name="T49" fmla="*/ 2080 h 2120"/>
                <a:gd name="T50" fmla="*/ 338 w 4034"/>
                <a:gd name="T51" fmla="*/ 2054 h 2120"/>
                <a:gd name="T52" fmla="*/ 1578 w 4034"/>
                <a:gd name="T53" fmla="*/ 1480 h 2120"/>
                <a:gd name="T54" fmla="*/ 1578 w 4034"/>
                <a:gd name="T55" fmla="*/ 1480 h 2120"/>
                <a:gd name="T56" fmla="*/ 2610 w 4034"/>
                <a:gd name="T57" fmla="*/ 1484 h 2120"/>
                <a:gd name="T58" fmla="*/ 3695 w 4034"/>
                <a:gd name="T59" fmla="*/ 1997 h 2120"/>
                <a:gd name="T60" fmla="*/ 3695 w 4034"/>
                <a:gd name="T61" fmla="*/ 1997 h 2120"/>
                <a:gd name="T62" fmla="*/ 3910 w 4034"/>
                <a:gd name="T63" fmla="*/ 2023 h 2120"/>
                <a:gd name="T64" fmla="*/ 3910 w 4034"/>
                <a:gd name="T65" fmla="*/ 2023 h 2120"/>
                <a:gd name="T66" fmla="*/ 3967 w 4034"/>
                <a:gd name="T67" fmla="*/ 1755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4" h="2120">
                  <a:moveTo>
                    <a:pt x="3967" y="1755"/>
                  </a:moveTo>
                  <a:lnTo>
                    <a:pt x="2983" y="1014"/>
                  </a:lnTo>
                  <a:lnTo>
                    <a:pt x="2983" y="1014"/>
                  </a:lnTo>
                  <a:cubicBezTo>
                    <a:pt x="2861" y="923"/>
                    <a:pt x="2869" y="738"/>
                    <a:pt x="2997" y="658"/>
                  </a:cubicBezTo>
                  <a:lnTo>
                    <a:pt x="3834" y="132"/>
                  </a:lnTo>
                  <a:lnTo>
                    <a:pt x="3834" y="132"/>
                  </a:lnTo>
                  <a:cubicBezTo>
                    <a:pt x="3834" y="132"/>
                    <a:pt x="3816" y="26"/>
                    <a:pt x="3644" y="12"/>
                  </a:cubicBezTo>
                  <a:lnTo>
                    <a:pt x="3644" y="12"/>
                  </a:lnTo>
                  <a:cubicBezTo>
                    <a:pt x="3485" y="0"/>
                    <a:pt x="2419" y="422"/>
                    <a:pt x="2261" y="485"/>
                  </a:cubicBezTo>
                  <a:lnTo>
                    <a:pt x="2261" y="485"/>
                  </a:lnTo>
                  <a:cubicBezTo>
                    <a:pt x="2187" y="463"/>
                    <a:pt x="2102" y="451"/>
                    <a:pt x="2012" y="451"/>
                  </a:cubicBezTo>
                  <a:lnTo>
                    <a:pt x="2012" y="451"/>
                  </a:lnTo>
                  <a:cubicBezTo>
                    <a:pt x="1974" y="451"/>
                    <a:pt x="1938" y="453"/>
                    <a:pt x="1902" y="457"/>
                  </a:cubicBezTo>
                  <a:lnTo>
                    <a:pt x="1905" y="452"/>
                  </a:lnTo>
                  <a:lnTo>
                    <a:pt x="1905" y="452"/>
                  </a:lnTo>
                  <a:cubicBezTo>
                    <a:pt x="1905" y="452"/>
                    <a:pt x="781" y="3"/>
                    <a:pt x="590" y="51"/>
                  </a:cubicBezTo>
                  <a:lnTo>
                    <a:pt x="590" y="51"/>
                  </a:lnTo>
                  <a:cubicBezTo>
                    <a:pt x="399" y="98"/>
                    <a:pt x="371" y="255"/>
                    <a:pt x="371" y="255"/>
                  </a:cubicBezTo>
                  <a:lnTo>
                    <a:pt x="1117" y="630"/>
                  </a:lnTo>
                  <a:lnTo>
                    <a:pt x="1117" y="630"/>
                  </a:lnTo>
                  <a:cubicBezTo>
                    <a:pt x="1261" y="702"/>
                    <a:pt x="1278" y="899"/>
                    <a:pt x="1150" y="995"/>
                  </a:cubicBezTo>
                  <a:lnTo>
                    <a:pt x="65" y="1812"/>
                  </a:lnTo>
                  <a:lnTo>
                    <a:pt x="65" y="1812"/>
                  </a:lnTo>
                  <a:cubicBezTo>
                    <a:pt x="0" y="1901"/>
                    <a:pt x="27" y="2026"/>
                    <a:pt x="123" y="2080"/>
                  </a:cubicBezTo>
                  <a:lnTo>
                    <a:pt x="123" y="2080"/>
                  </a:lnTo>
                  <a:cubicBezTo>
                    <a:pt x="193" y="2119"/>
                    <a:pt x="280" y="2108"/>
                    <a:pt x="338" y="2054"/>
                  </a:cubicBezTo>
                  <a:lnTo>
                    <a:pt x="1578" y="1480"/>
                  </a:lnTo>
                  <a:lnTo>
                    <a:pt x="1578" y="1480"/>
                  </a:lnTo>
                  <a:cubicBezTo>
                    <a:pt x="1906" y="1328"/>
                    <a:pt x="2284" y="1330"/>
                    <a:pt x="2610" y="1484"/>
                  </a:cubicBezTo>
                  <a:lnTo>
                    <a:pt x="3695" y="1997"/>
                  </a:lnTo>
                  <a:lnTo>
                    <a:pt x="3695" y="1997"/>
                  </a:lnTo>
                  <a:cubicBezTo>
                    <a:pt x="3754" y="2051"/>
                    <a:pt x="3841" y="2062"/>
                    <a:pt x="3910" y="2023"/>
                  </a:cubicBezTo>
                  <a:lnTo>
                    <a:pt x="3910" y="2023"/>
                  </a:lnTo>
                  <a:cubicBezTo>
                    <a:pt x="4006" y="1969"/>
                    <a:pt x="4033" y="1844"/>
                    <a:pt x="3967" y="1755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DDAAE89F-1874-0644-8508-425D01737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8630" y="10743529"/>
              <a:ext cx="249931" cy="981537"/>
            </a:xfrm>
            <a:custGeom>
              <a:avLst/>
              <a:gdLst>
                <a:gd name="connsiteX0" fmla="*/ 0 w 249931"/>
                <a:gd name="connsiteY0" fmla="*/ 0 h 981537"/>
                <a:gd name="connsiteX1" fmla="*/ 249931 w 249931"/>
                <a:gd name="connsiteY1" fmla="*/ 0 h 981537"/>
                <a:gd name="connsiteX2" fmla="*/ 249931 w 249931"/>
                <a:gd name="connsiteY2" fmla="*/ 912405 h 981537"/>
                <a:gd name="connsiteX3" fmla="*/ 249262 w 249931"/>
                <a:gd name="connsiteY3" fmla="*/ 912405 h 981537"/>
                <a:gd name="connsiteX4" fmla="*/ 249931 w 249931"/>
                <a:gd name="connsiteY4" fmla="*/ 914174 h 981537"/>
                <a:gd name="connsiteX5" fmla="*/ 124965 w 249931"/>
                <a:gd name="connsiteY5" fmla="*/ 981537 h 981537"/>
                <a:gd name="connsiteX6" fmla="*/ 0 w 249931"/>
                <a:gd name="connsiteY6" fmla="*/ 914174 h 981537"/>
                <a:gd name="connsiteX7" fmla="*/ 669 w 249931"/>
                <a:gd name="connsiteY7" fmla="*/ 912405 h 981537"/>
                <a:gd name="connsiteX8" fmla="*/ 0 w 249931"/>
                <a:gd name="connsiteY8" fmla="*/ 912405 h 98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931" h="981537">
                  <a:moveTo>
                    <a:pt x="0" y="0"/>
                  </a:moveTo>
                  <a:lnTo>
                    <a:pt x="249931" y="0"/>
                  </a:lnTo>
                  <a:lnTo>
                    <a:pt x="249931" y="912405"/>
                  </a:lnTo>
                  <a:lnTo>
                    <a:pt x="249262" y="912405"/>
                  </a:lnTo>
                  <a:lnTo>
                    <a:pt x="249931" y="914174"/>
                  </a:lnTo>
                  <a:cubicBezTo>
                    <a:pt x="249931" y="951094"/>
                    <a:pt x="193664" y="981537"/>
                    <a:pt x="124965" y="981537"/>
                  </a:cubicBezTo>
                  <a:cubicBezTo>
                    <a:pt x="56267" y="981537"/>
                    <a:pt x="0" y="951094"/>
                    <a:pt x="0" y="914174"/>
                  </a:cubicBezTo>
                  <a:lnTo>
                    <a:pt x="669" y="912405"/>
                  </a:lnTo>
                  <a:lnTo>
                    <a:pt x="0" y="9124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8" name="Freeform 190">
              <a:extLst>
                <a:ext uri="{FF2B5EF4-FFF2-40B4-BE49-F238E27FC236}">
                  <a16:creationId xmlns:a16="http://schemas.microsoft.com/office/drawing/2014/main" id="{C0D738F0-D656-B248-9782-E4299AE6C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95397" y="9793029"/>
              <a:ext cx="3090565" cy="1117557"/>
            </a:xfrm>
            <a:custGeom>
              <a:avLst/>
              <a:gdLst>
                <a:gd name="T0" fmla="*/ 2591 w 4732"/>
                <a:gd name="T1" fmla="*/ 1003 h 1713"/>
                <a:gd name="T2" fmla="*/ 0 w 4732"/>
                <a:gd name="T3" fmla="*/ 0 h 1713"/>
                <a:gd name="T4" fmla="*/ 0 w 4732"/>
                <a:gd name="T5" fmla="*/ 0 h 1713"/>
                <a:gd name="T6" fmla="*/ 1588 w 4732"/>
                <a:gd name="T7" fmla="*/ 1397 h 1713"/>
                <a:gd name="T8" fmla="*/ 1588 w 4732"/>
                <a:gd name="T9" fmla="*/ 1397 h 1713"/>
                <a:gd name="T10" fmla="*/ 3503 w 4732"/>
                <a:gd name="T11" fmla="*/ 1577 h 1713"/>
                <a:gd name="T12" fmla="*/ 3503 w 4732"/>
                <a:gd name="T13" fmla="*/ 1577 h 1713"/>
                <a:gd name="T14" fmla="*/ 4731 w 4732"/>
                <a:gd name="T15" fmla="*/ 980 h 1713"/>
                <a:gd name="T16" fmla="*/ 2591 w 4732"/>
                <a:gd name="T17" fmla="*/ 1003 h 1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2" h="1713">
                  <a:moveTo>
                    <a:pt x="2591" y="1003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777" y="1082"/>
                    <a:pt x="1588" y="1397"/>
                  </a:cubicBezTo>
                  <a:lnTo>
                    <a:pt x="1588" y="1397"/>
                  </a:lnTo>
                  <a:cubicBezTo>
                    <a:pt x="2400" y="1712"/>
                    <a:pt x="3019" y="1689"/>
                    <a:pt x="3503" y="1577"/>
                  </a:cubicBezTo>
                  <a:lnTo>
                    <a:pt x="3503" y="1577"/>
                  </a:lnTo>
                  <a:cubicBezTo>
                    <a:pt x="4207" y="1413"/>
                    <a:pt x="4731" y="980"/>
                    <a:pt x="4731" y="980"/>
                  </a:cubicBezTo>
                  <a:lnTo>
                    <a:pt x="2591" y="1003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9" name="Freeform 191">
              <a:extLst>
                <a:ext uri="{FF2B5EF4-FFF2-40B4-BE49-F238E27FC236}">
                  <a16:creationId xmlns:a16="http://schemas.microsoft.com/office/drawing/2014/main" id="{36E4FFD3-10CE-0240-8AE1-01172AB53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6197" y="6198413"/>
              <a:ext cx="2661399" cy="4582562"/>
            </a:xfrm>
            <a:custGeom>
              <a:avLst/>
              <a:gdLst>
                <a:gd name="T0" fmla="*/ 3499 w 4073"/>
                <a:gd name="T1" fmla="*/ 2055 h 7014"/>
                <a:gd name="T2" fmla="*/ 3499 w 4073"/>
                <a:gd name="T3" fmla="*/ 2055 h 7014"/>
                <a:gd name="T4" fmla="*/ 3318 w 4073"/>
                <a:gd name="T5" fmla="*/ 4628 h 7014"/>
                <a:gd name="T6" fmla="*/ 3318 w 4073"/>
                <a:gd name="T7" fmla="*/ 4628 h 7014"/>
                <a:gd name="T8" fmla="*/ 1971 w 4073"/>
                <a:gd name="T9" fmla="*/ 5611 h 7014"/>
                <a:gd name="T10" fmla="*/ 1971 w 4073"/>
                <a:gd name="T11" fmla="*/ 5611 h 7014"/>
                <a:gd name="T12" fmla="*/ 1275 w 4073"/>
                <a:gd name="T13" fmla="*/ 4945 h 7014"/>
                <a:gd name="T14" fmla="*/ 1275 w 4073"/>
                <a:gd name="T15" fmla="*/ 4945 h 7014"/>
                <a:gd name="T16" fmla="*/ 1215 w 4073"/>
                <a:gd name="T17" fmla="*/ 2922 h 7014"/>
                <a:gd name="T18" fmla="*/ 1215 w 4073"/>
                <a:gd name="T19" fmla="*/ 2922 h 7014"/>
                <a:gd name="T20" fmla="*/ 1647 w 4073"/>
                <a:gd name="T21" fmla="*/ 1627 h 7014"/>
                <a:gd name="T22" fmla="*/ 1647 w 4073"/>
                <a:gd name="T23" fmla="*/ 1627 h 7014"/>
                <a:gd name="T24" fmla="*/ 3141 w 4073"/>
                <a:gd name="T25" fmla="*/ 1011 h 7014"/>
                <a:gd name="T26" fmla="*/ 3141 w 4073"/>
                <a:gd name="T27" fmla="*/ 1011 h 7014"/>
                <a:gd name="T28" fmla="*/ 3499 w 4073"/>
                <a:gd name="T29" fmla="*/ 2055 h 7014"/>
                <a:gd name="T30" fmla="*/ 3448 w 4073"/>
                <a:gd name="T31" fmla="*/ 174 h 7014"/>
                <a:gd name="T32" fmla="*/ 3448 w 4073"/>
                <a:gd name="T33" fmla="*/ 174 h 7014"/>
                <a:gd name="T34" fmla="*/ 1267 w 4073"/>
                <a:gd name="T35" fmla="*/ 1074 h 7014"/>
                <a:gd name="T36" fmla="*/ 1267 w 4073"/>
                <a:gd name="T37" fmla="*/ 1074 h 7014"/>
                <a:gd name="T38" fmla="*/ 636 w 4073"/>
                <a:gd name="T39" fmla="*/ 2965 h 7014"/>
                <a:gd name="T40" fmla="*/ 636 w 4073"/>
                <a:gd name="T41" fmla="*/ 2965 h 7014"/>
                <a:gd name="T42" fmla="*/ 670 w 4073"/>
                <a:gd name="T43" fmla="*/ 5641 h 7014"/>
                <a:gd name="T44" fmla="*/ 670 w 4073"/>
                <a:gd name="T45" fmla="*/ 5641 h 7014"/>
                <a:gd name="T46" fmla="*/ 0 w 4073"/>
                <a:gd name="T47" fmla="*/ 6413 h 7014"/>
                <a:gd name="T48" fmla="*/ 0 w 4073"/>
                <a:gd name="T49" fmla="*/ 6413 h 7014"/>
                <a:gd name="T50" fmla="*/ 1850 w 4073"/>
                <a:gd name="T51" fmla="*/ 6837 h 7014"/>
                <a:gd name="T52" fmla="*/ 1850 w 4073"/>
                <a:gd name="T53" fmla="*/ 6837 h 7014"/>
                <a:gd name="T54" fmla="*/ 3618 w 4073"/>
                <a:gd name="T55" fmla="*/ 5386 h 7014"/>
                <a:gd name="T56" fmla="*/ 3618 w 4073"/>
                <a:gd name="T57" fmla="*/ 5386 h 7014"/>
                <a:gd name="T58" fmla="*/ 3985 w 4073"/>
                <a:gd name="T59" fmla="*/ 1991 h 7014"/>
                <a:gd name="T60" fmla="*/ 3985 w 4073"/>
                <a:gd name="T61" fmla="*/ 1991 h 7014"/>
                <a:gd name="T62" fmla="*/ 3448 w 4073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73" h="7014">
                  <a:moveTo>
                    <a:pt x="3499" y="2055"/>
                  </a:moveTo>
                  <a:lnTo>
                    <a:pt x="3499" y="2055"/>
                  </a:lnTo>
                  <a:cubicBezTo>
                    <a:pt x="3437" y="2741"/>
                    <a:pt x="3378" y="4326"/>
                    <a:pt x="3318" y="4628"/>
                  </a:cubicBezTo>
                  <a:lnTo>
                    <a:pt x="3318" y="4628"/>
                  </a:lnTo>
                  <a:cubicBezTo>
                    <a:pt x="3249" y="4970"/>
                    <a:pt x="2460" y="5315"/>
                    <a:pt x="1971" y="5611"/>
                  </a:cubicBezTo>
                  <a:lnTo>
                    <a:pt x="1971" y="5611"/>
                  </a:lnTo>
                  <a:cubicBezTo>
                    <a:pt x="1336" y="5997"/>
                    <a:pt x="1289" y="5377"/>
                    <a:pt x="1275" y="4945"/>
                  </a:cubicBezTo>
                  <a:lnTo>
                    <a:pt x="1275" y="4945"/>
                  </a:lnTo>
                  <a:cubicBezTo>
                    <a:pt x="1261" y="4514"/>
                    <a:pt x="1257" y="3450"/>
                    <a:pt x="1215" y="2922"/>
                  </a:cubicBezTo>
                  <a:lnTo>
                    <a:pt x="1215" y="2922"/>
                  </a:lnTo>
                  <a:cubicBezTo>
                    <a:pt x="1174" y="2395"/>
                    <a:pt x="1195" y="1975"/>
                    <a:pt x="1647" y="1627"/>
                  </a:cubicBezTo>
                  <a:lnTo>
                    <a:pt x="1647" y="1627"/>
                  </a:lnTo>
                  <a:cubicBezTo>
                    <a:pt x="2294" y="1131"/>
                    <a:pt x="2900" y="893"/>
                    <a:pt x="3141" y="1011"/>
                  </a:cubicBezTo>
                  <a:lnTo>
                    <a:pt x="3141" y="1011"/>
                  </a:lnTo>
                  <a:cubicBezTo>
                    <a:pt x="3457" y="1168"/>
                    <a:pt x="3559" y="1401"/>
                    <a:pt x="3499" y="2055"/>
                  </a:cubicBezTo>
                  <a:close/>
                  <a:moveTo>
                    <a:pt x="3448" y="174"/>
                  </a:moveTo>
                  <a:lnTo>
                    <a:pt x="3448" y="174"/>
                  </a:lnTo>
                  <a:cubicBezTo>
                    <a:pt x="3098" y="0"/>
                    <a:pt x="2213" y="349"/>
                    <a:pt x="1267" y="1074"/>
                  </a:cubicBezTo>
                  <a:lnTo>
                    <a:pt x="1267" y="1074"/>
                  </a:lnTo>
                  <a:cubicBezTo>
                    <a:pt x="606" y="1580"/>
                    <a:pt x="576" y="2195"/>
                    <a:pt x="636" y="2965"/>
                  </a:cubicBezTo>
                  <a:lnTo>
                    <a:pt x="636" y="2965"/>
                  </a:lnTo>
                  <a:cubicBezTo>
                    <a:pt x="696" y="3735"/>
                    <a:pt x="670" y="5011"/>
                    <a:pt x="670" y="5641"/>
                  </a:cubicBezTo>
                  <a:lnTo>
                    <a:pt x="670" y="5641"/>
                  </a:lnTo>
                  <a:cubicBezTo>
                    <a:pt x="670" y="6458"/>
                    <a:pt x="0" y="6413"/>
                    <a:pt x="0" y="6413"/>
                  </a:cubicBezTo>
                  <a:lnTo>
                    <a:pt x="0" y="6413"/>
                  </a:lnTo>
                  <a:cubicBezTo>
                    <a:pt x="570" y="7003"/>
                    <a:pt x="1424" y="7013"/>
                    <a:pt x="1850" y="6837"/>
                  </a:cubicBezTo>
                  <a:lnTo>
                    <a:pt x="1850" y="6837"/>
                  </a:lnTo>
                  <a:cubicBezTo>
                    <a:pt x="2622" y="6519"/>
                    <a:pt x="3518" y="5887"/>
                    <a:pt x="3618" y="5386"/>
                  </a:cubicBezTo>
                  <a:lnTo>
                    <a:pt x="3618" y="5386"/>
                  </a:lnTo>
                  <a:cubicBezTo>
                    <a:pt x="3706" y="4946"/>
                    <a:pt x="3893" y="2993"/>
                    <a:pt x="3985" y="1991"/>
                  </a:cubicBezTo>
                  <a:lnTo>
                    <a:pt x="3985" y="1991"/>
                  </a:lnTo>
                  <a:cubicBezTo>
                    <a:pt x="4072" y="1036"/>
                    <a:pt x="3911" y="405"/>
                    <a:pt x="3448" y="17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23BE268B-2FE8-B84D-84A3-4EF5A5702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8927" y="9084474"/>
              <a:ext cx="1341102" cy="1517268"/>
            </a:xfrm>
            <a:custGeom>
              <a:avLst/>
              <a:gdLst>
                <a:gd name="connsiteX0" fmla="*/ 717193 w 1341102"/>
                <a:gd name="connsiteY0" fmla="*/ 290912 h 1517268"/>
                <a:gd name="connsiteX1" fmla="*/ 891924 w 1341102"/>
                <a:gd name="connsiteY1" fmla="*/ 290912 h 1517268"/>
                <a:gd name="connsiteX2" fmla="*/ 891924 w 1341102"/>
                <a:gd name="connsiteY2" fmla="*/ 899519 h 1517268"/>
                <a:gd name="connsiteX3" fmla="*/ 1124029 w 1341102"/>
                <a:gd name="connsiteY3" fmla="*/ 1244962 h 1517268"/>
                <a:gd name="connsiteX4" fmla="*/ 1232258 w 1341102"/>
                <a:gd name="connsiteY4" fmla="*/ 1289367 h 1517268"/>
                <a:gd name="connsiteX5" fmla="*/ 1328099 w 1341102"/>
                <a:gd name="connsiteY5" fmla="*/ 1517268 h 1517268"/>
                <a:gd name="connsiteX6" fmla="*/ 1058179 w 1341102"/>
                <a:gd name="connsiteY6" fmla="*/ 1407562 h 1517268"/>
                <a:gd name="connsiteX7" fmla="*/ 717193 w 1341102"/>
                <a:gd name="connsiteY7" fmla="*/ 899519 h 1517268"/>
                <a:gd name="connsiteX8" fmla="*/ 0 w 1341102"/>
                <a:gd name="connsiteY8" fmla="*/ 0 h 1517268"/>
                <a:gd name="connsiteX9" fmla="*/ 174730 w 1341102"/>
                <a:gd name="connsiteY9" fmla="*/ 0 h 1517268"/>
                <a:gd name="connsiteX10" fmla="*/ 174730 w 1341102"/>
                <a:gd name="connsiteY10" fmla="*/ 608607 h 1517268"/>
                <a:gd name="connsiteX11" fmla="*/ 406835 w 1341102"/>
                <a:gd name="connsiteY11" fmla="*/ 954050 h 1517268"/>
                <a:gd name="connsiteX12" fmla="*/ 515063 w 1341102"/>
                <a:gd name="connsiteY12" fmla="*/ 997802 h 1517268"/>
                <a:gd name="connsiteX13" fmla="*/ 610904 w 1341102"/>
                <a:gd name="connsiteY13" fmla="*/ 1226356 h 1517268"/>
                <a:gd name="connsiteX14" fmla="*/ 340985 w 1341102"/>
                <a:gd name="connsiteY14" fmla="*/ 1115997 h 1517268"/>
                <a:gd name="connsiteX15" fmla="*/ 0 w 1341102"/>
                <a:gd name="connsiteY15" fmla="*/ 608607 h 151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41102" h="1517268">
                  <a:moveTo>
                    <a:pt x="717193" y="290912"/>
                  </a:moveTo>
                  <a:lnTo>
                    <a:pt x="891924" y="290912"/>
                  </a:lnTo>
                  <a:lnTo>
                    <a:pt x="891924" y="899519"/>
                  </a:lnTo>
                  <a:cubicBezTo>
                    <a:pt x="891924" y="1051018"/>
                    <a:pt x="983853" y="1188150"/>
                    <a:pt x="1124029" y="1244962"/>
                  </a:cubicBezTo>
                  <a:lnTo>
                    <a:pt x="1232258" y="1289367"/>
                  </a:lnTo>
                  <a:cubicBezTo>
                    <a:pt x="1321579" y="1325936"/>
                    <a:pt x="1364610" y="1427805"/>
                    <a:pt x="1328099" y="1517268"/>
                  </a:cubicBezTo>
                  <a:lnTo>
                    <a:pt x="1058179" y="1407562"/>
                  </a:lnTo>
                  <a:cubicBezTo>
                    <a:pt x="852153" y="1323323"/>
                    <a:pt x="717193" y="1122196"/>
                    <a:pt x="717193" y="899519"/>
                  </a:cubicBezTo>
                  <a:close/>
                  <a:moveTo>
                    <a:pt x="0" y="0"/>
                  </a:moveTo>
                  <a:lnTo>
                    <a:pt x="174730" y="0"/>
                  </a:lnTo>
                  <a:lnTo>
                    <a:pt x="174730" y="608607"/>
                  </a:lnTo>
                  <a:cubicBezTo>
                    <a:pt x="174730" y="760106"/>
                    <a:pt x="266659" y="897238"/>
                    <a:pt x="406835" y="954050"/>
                  </a:cubicBezTo>
                  <a:lnTo>
                    <a:pt x="515063" y="997802"/>
                  </a:lnTo>
                  <a:cubicBezTo>
                    <a:pt x="604384" y="1035024"/>
                    <a:pt x="647415" y="1136893"/>
                    <a:pt x="610904" y="1226356"/>
                  </a:cubicBezTo>
                  <a:lnTo>
                    <a:pt x="340985" y="1115997"/>
                  </a:lnTo>
                  <a:cubicBezTo>
                    <a:pt x="134960" y="1031759"/>
                    <a:pt x="0" y="831284"/>
                    <a:pt x="0" y="60860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1" name="Freeform 195">
              <a:extLst>
                <a:ext uri="{FF2B5EF4-FFF2-40B4-BE49-F238E27FC236}">
                  <a16:creationId xmlns:a16="http://schemas.microsoft.com/office/drawing/2014/main" id="{372BAE5E-ACE4-0B45-A46B-A7FF2094A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0037" y="9375386"/>
              <a:ext cx="270748" cy="135373"/>
            </a:xfrm>
            <a:custGeom>
              <a:avLst/>
              <a:gdLst>
                <a:gd name="T0" fmla="*/ 414 w 415"/>
                <a:gd name="T1" fmla="*/ 104 h 209"/>
                <a:gd name="T2" fmla="*/ 414 w 415"/>
                <a:gd name="T3" fmla="*/ 104 h 209"/>
                <a:gd name="T4" fmla="*/ 207 w 415"/>
                <a:gd name="T5" fmla="*/ 208 h 209"/>
                <a:gd name="T6" fmla="*/ 207 w 415"/>
                <a:gd name="T7" fmla="*/ 208 h 209"/>
                <a:gd name="T8" fmla="*/ 0 w 415"/>
                <a:gd name="T9" fmla="*/ 104 h 209"/>
                <a:gd name="T10" fmla="*/ 0 w 415"/>
                <a:gd name="T11" fmla="*/ 104 h 209"/>
                <a:gd name="T12" fmla="*/ 207 w 415"/>
                <a:gd name="T13" fmla="*/ 0 h 209"/>
                <a:gd name="T14" fmla="*/ 207 w 415"/>
                <a:gd name="T15" fmla="*/ 0 h 209"/>
                <a:gd name="T16" fmla="*/ 414 w 415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5" h="209">
                  <a:moveTo>
                    <a:pt x="414" y="104"/>
                  </a:moveTo>
                  <a:lnTo>
                    <a:pt x="414" y="104"/>
                  </a:lnTo>
                  <a:cubicBezTo>
                    <a:pt x="414" y="161"/>
                    <a:pt x="321" y="208"/>
                    <a:pt x="207" y="208"/>
                  </a:cubicBezTo>
                  <a:lnTo>
                    <a:pt x="207" y="208"/>
                  </a:lnTo>
                  <a:cubicBezTo>
                    <a:pt x="92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2" y="0"/>
                    <a:pt x="207" y="0"/>
                  </a:cubicBezTo>
                  <a:lnTo>
                    <a:pt x="207" y="0"/>
                  </a:lnTo>
                  <a:cubicBezTo>
                    <a:pt x="321" y="0"/>
                    <a:pt x="414" y="47"/>
                    <a:pt x="414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99A4B674-7C41-B644-84EC-D9637BA63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8508414"/>
              <a:ext cx="978649" cy="926803"/>
            </a:xfrm>
            <a:custGeom>
              <a:avLst/>
              <a:gdLst>
                <a:gd name="connsiteX0" fmla="*/ 711432 w 978649"/>
                <a:gd name="connsiteY0" fmla="*/ 336997 h 926803"/>
                <a:gd name="connsiteX1" fmla="*/ 978649 w 978649"/>
                <a:gd name="connsiteY1" fmla="*/ 336997 h 926803"/>
                <a:gd name="connsiteX2" fmla="*/ 978649 w 978649"/>
                <a:gd name="connsiteY2" fmla="*/ 926803 h 926803"/>
                <a:gd name="connsiteX3" fmla="*/ 711432 w 978649"/>
                <a:gd name="connsiteY3" fmla="*/ 926803 h 926803"/>
                <a:gd name="connsiteX4" fmla="*/ 0 w 978649"/>
                <a:gd name="connsiteY4" fmla="*/ 0 h 926803"/>
                <a:gd name="connsiteX5" fmla="*/ 267215 w 978649"/>
                <a:gd name="connsiteY5" fmla="*/ 0 h 926803"/>
                <a:gd name="connsiteX6" fmla="*/ 267215 w 978649"/>
                <a:gd name="connsiteY6" fmla="*/ 589808 h 926803"/>
                <a:gd name="connsiteX7" fmla="*/ 0 w 978649"/>
                <a:gd name="connsiteY7" fmla="*/ 589808 h 92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8649" h="926803">
                  <a:moveTo>
                    <a:pt x="711432" y="336997"/>
                  </a:moveTo>
                  <a:lnTo>
                    <a:pt x="978649" y="336997"/>
                  </a:lnTo>
                  <a:lnTo>
                    <a:pt x="978649" y="926803"/>
                  </a:lnTo>
                  <a:lnTo>
                    <a:pt x="711432" y="926803"/>
                  </a:lnTo>
                  <a:close/>
                  <a:moveTo>
                    <a:pt x="0" y="0"/>
                  </a:moveTo>
                  <a:lnTo>
                    <a:pt x="267215" y="0"/>
                  </a:lnTo>
                  <a:lnTo>
                    <a:pt x="267215" y="589808"/>
                  </a:lnTo>
                  <a:lnTo>
                    <a:pt x="0" y="5898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360000" rIns="0" anchor="ctr">
              <a:noAutofit/>
            </a:bodyPr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3" name="Freeform 197">
              <a:extLst>
                <a:ext uri="{FF2B5EF4-FFF2-40B4-BE49-F238E27FC236}">
                  <a16:creationId xmlns:a16="http://schemas.microsoft.com/office/drawing/2014/main" id="{0F247B2A-4F08-0742-A88D-A7CAB7542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9038391"/>
              <a:ext cx="270748" cy="135375"/>
            </a:xfrm>
            <a:custGeom>
              <a:avLst/>
              <a:gdLst>
                <a:gd name="T0" fmla="*/ 415 w 416"/>
                <a:gd name="T1" fmla="*/ 104 h 209"/>
                <a:gd name="T2" fmla="*/ 415 w 416"/>
                <a:gd name="T3" fmla="*/ 104 h 209"/>
                <a:gd name="T4" fmla="*/ 207 w 416"/>
                <a:gd name="T5" fmla="*/ 208 h 209"/>
                <a:gd name="T6" fmla="*/ 207 w 416"/>
                <a:gd name="T7" fmla="*/ 208 h 209"/>
                <a:gd name="T8" fmla="*/ 0 w 416"/>
                <a:gd name="T9" fmla="*/ 104 h 209"/>
                <a:gd name="T10" fmla="*/ 0 w 416"/>
                <a:gd name="T11" fmla="*/ 104 h 209"/>
                <a:gd name="T12" fmla="*/ 207 w 416"/>
                <a:gd name="T13" fmla="*/ 0 h 209"/>
                <a:gd name="T14" fmla="*/ 207 w 416"/>
                <a:gd name="T15" fmla="*/ 0 h 209"/>
                <a:gd name="T16" fmla="*/ 415 w 416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6" h="209">
                  <a:moveTo>
                    <a:pt x="415" y="104"/>
                  </a:moveTo>
                  <a:lnTo>
                    <a:pt x="415" y="104"/>
                  </a:lnTo>
                  <a:cubicBezTo>
                    <a:pt x="415" y="161"/>
                    <a:pt x="322" y="208"/>
                    <a:pt x="207" y="208"/>
                  </a:cubicBezTo>
                  <a:lnTo>
                    <a:pt x="207" y="208"/>
                  </a:lnTo>
                  <a:cubicBezTo>
                    <a:pt x="93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3" y="0"/>
                    <a:pt x="207" y="0"/>
                  </a:cubicBezTo>
                  <a:lnTo>
                    <a:pt x="207" y="0"/>
                  </a:lnTo>
                  <a:cubicBezTo>
                    <a:pt x="322" y="0"/>
                    <a:pt x="415" y="47"/>
                    <a:pt x="415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4" name="Freeform 198">
              <a:extLst>
                <a:ext uri="{FF2B5EF4-FFF2-40B4-BE49-F238E27FC236}">
                  <a16:creationId xmlns:a16="http://schemas.microsoft.com/office/drawing/2014/main" id="{CCD87311-9669-C149-A905-3D99DC4046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20958" y="7978439"/>
              <a:ext cx="1797309" cy="1111797"/>
            </a:xfrm>
            <a:custGeom>
              <a:avLst/>
              <a:gdLst>
                <a:gd name="T0" fmla="*/ 570 w 2752"/>
                <a:gd name="T1" fmla="*/ 800 h 1702"/>
                <a:gd name="T2" fmla="*/ 570 w 2752"/>
                <a:gd name="T3" fmla="*/ 800 h 1702"/>
                <a:gd name="T4" fmla="*/ 160 w 2752"/>
                <a:gd name="T5" fmla="*/ 321 h 1702"/>
                <a:gd name="T6" fmla="*/ 160 w 2752"/>
                <a:gd name="T7" fmla="*/ 321 h 1702"/>
                <a:gd name="T8" fmla="*/ 1050 w 2752"/>
                <a:gd name="T9" fmla="*/ 50 h 1702"/>
                <a:gd name="T10" fmla="*/ 1050 w 2752"/>
                <a:gd name="T11" fmla="*/ 50 h 1702"/>
                <a:gd name="T12" fmla="*/ 2581 w 2752"/>
                <a:gd name="T13" fmla="*/ 991 h 1702"/>
                <a:gd name="T14" fmla="*/ 2581 w 2752"/>
                <a:gd name="T15" fmla="*/ 991 h 1702"/>
                <a:gd name="T16" fmla="*/ 2521 w 2752"/>
                <a:gd name="T17" fmla="*/ 1591 h 1702"/>
                <a:gd name="T18" fmla="*/ 2521 w 2752"/>
                <a:gd name="T19" fmla="*/ 1591 h 1702"/>
                <a:gd name="T20" fmla="*/ 1911 w 2752"/>
                <a:gd name="T21" fmla="*/ 1591 h 1702"/>
                <a:gd name="T22" fmla="*/ 1911 w 2752"/>
                <a:gd name="T23" fmla="*/ 1591 h 1702"/>
                <a:gd name="T24" fmla="*/ 570 w 2752"/>
                <a:gd name="T25" fmla="*/ 800 h 1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2" h="1702">
                  <a:moveTo>
                    <a:pt x="570" y="800"/>
                  </a:moveTo>
                  <a:lnTo>
                    <a:pt x="570" y="800"/>
                  </a:lnTo>
                  <a:cubicBezTo>
                    <a:pt x="320" y="672"/>
                    <a:pt x="0" y="561"/>
                    <a:pt x="160" y="321"/>
                  </a:cubicBezTo>
                  <a:lnTo>
                    <a:pt x="160" y="321"/>
                  </a:lnTo>
                  <a:cubicBezTo>
                    <a:pt x="309" y="95"/>
                    <a:pt x="690" y="0"/>
                    <a:pt x="1050" y="50"/>
                  </a:cubicBezTo>
                  <a:lnTo>
                    <a:pt x="1050" y="50"/>
                  </a:lnTo>
                  <a:cubicBezTo>
                    <a:pt x="1482" y="110"/>
                    <a:pt x="2411" y="780"/>
                    <a:pt x="2581" y="991"/>
                  </a:cubicBezTo>
                  <a:lnTo>
                    <a:pt x="2581" y="991"/>
                  </a:lnTo>
                  <a:cubicBezTo>
                    <a:pt x="2751" y="1201"/>
                    <a:pt x="2701" y="1481"/>
                    <a:pt x="2521" y="1591"/>
                  </a:cubicBezTo>
                  <a:lnTo>
                    <a:pt x="2521" y="1591"/>
                  </a:lnTo>
                  <a:cubicBezTo>
                    <a:pt x="2341" y="1701"/>
                    <a:pt x="2141" y="1691"/>
                    <a:pt x="1911" y="1591"/>
                  </a:cubicBezTo>
                  <a:lnTo>
                    <a:pt x="1911" y="1591"/>
                  </a:lnTo>
                  <a:cubicBezTo>
                    <a:pt x="1681" y="1491"/>
                    <a:pt x="900" y="971"/>
                    <a:pt x="570" y="800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5" name="Freeform 199">
              <a:extLst>
                <a:ext uri="{FF2B5EF4-FFF2-40B4-BE49-F238E27FC236}">
                  <a16:creationId xmlns:a16="http://schemas.microsoft.com/office/drawing/2014/main" id="{2CFC90E9-D983-9A4B-B24E-E8358AE86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82531" y="4380942"/>
              <a:ext cx="466609" cy="31682"/>
            </a:xfrm>
            <a:custGeom>
              <a:avLst/>
              <a:gdLst>
                <a:gd name="T0" fmla="*/ 0 w 715"/>
                <a:gd name="T1" fmla="*/ 25 h 49"/>
                <a:gd name="T2" fmla="*/ 713 w 715"/>
                <a:gd name="T3" fmla="*/ 0 h 49"/>
                <a:gd name="T4" fmla="*/ 714 w 715"/>
                <a:gd name="T5" fmla="*/ 13 h 49"/>
                <a:gd name="T6" fmla="*/ 1 w 715"/>
                <a:gd name="T7" fmla="*/ 48 h 49"/>
                <a:gd name="T8" fmla="*/ 0 w 715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" h="49">
                  <a:moveTo>
                    <a:pt x="0" y="25"/>
                  </a:moveTo>
                  <a:lnTo>
                    <a:pt x="713" y="0"/>
                  </a:lnTo>
                  <a:lnTo>
                    <a:pt x="714" y="13"/>
                  </a:lnTo>
                  <a:lnTo>
                    <a:pt x="1" y="48"/>
                  </a:lnTo>
                  <a:lnTo>
                    <a:pt x="0" y="25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6" name="Freeform 200">
              <a:extLst>
                <a:ext uri="{FF2B5EF4-FFF2-40B4-BE49-F238E27FC236}">
                  <a16:creationId xmlns:a16="http://schemas.microsoft.com/office/drawing/2014/main" id="{CCB7197C-F4EF-B544-8B1C-1E4E76A4F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6522" y="4861952"/>
              <a:ext cx="941860" cy="504054"/>
            </a:xfrm>
            <a:custGeom>
              <a:avLst/>
              <a:gdLst>
                <a:gd name="T0" fmla="*/ 0 w 1440"/>
                <a:gd name="T1" fmla="*/ 732 h 772"/>
                <a:gd name="T2" fmla="*/ 0 w 1440"/>
                <a:gd name="T3" fmla="*/ 732 h 772"/>
                <a:gd name="T4" fmla="*/ 360 w 1440"/>
                <a:gd name="T5" fmla="*/ 732 h 772"/>
                <a:gd name="T6" fmla="*/ 360 w 1440"/>
                <a:gd name="T7" fmla="*/ 732 h 772"/>
                <a:gd name="T8" fmla="*/ 1315 w 1440"/>
                <a:gd name="T9" fmla="*/ 457 h 772"/>
                <a:gd name="T10" fmla="*/ 1315 w 1440"/>
                <a:gd name="T11" fmla="*/ 457 h 772"/>
                <a:gd name="T12" fmla="*/ 1393 w 1440"/>
                <a:gd name="T13" fmla="*/ 254 h 772"/>
                <a:gd name="T14" fmla="*/ 1393 w 1440"/>
                <a:gd name="T15" fmla="*/ 254 h 772"/>
                <a:gd name="T16" fmla="*/ 1138 w 1440"/>
                <a:gd name="T17" fmla="*/ 0 h 772"/>
                <a:gd name="T18" fmla="*/ 1138 w 1440"/>
                <a:gd name="T19" fmla="*/ 0 h 772"/>
                <a:gd name="T20" fmla="*/ 255 w 1440"/>
                <a:gd name="T21" fmla="*/ 379 h 772"/>
                <a:gd name="T22" fmla="*/ 255 w 1440"/>
                <a:gd name="T23" fmla="*/ 379 h 772"/>
                <a:gd name="T24" fmla="*/ 0 w 1440"/>
                <a:gd name="T25" fmla="*/ 73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0" h="772">
                  <a:moveTo>
                    <a:pt x="0" y="732"/>
                  </a:moveTo>
                  <a:lnTo>
                    <a:pt x="0" y="732"/>
                  </a:lnTo>
                  <a:cubicBezTo>
                    <a:pt x="0" y="732"/>
                    <a:pt x="235" y="692"/>
                    <a:pt x="360" y="732"/>
                  </a:cubicBezTo>
                  <a:lnTo>
                    <a:pt x="360" y="732"/>
                  </a:lnTo>
                  <a:cubicBezTo>
                    <a:pt x="484" y="771"/>
                    <a:pt x="1190" y="509"/>
                    <a:pt x="1315" y="457"/>
                  </a:cubicBezTo>
                  <a:lnTo>
                    <a:pt x="1315" y="457"/>
                  </a:lnTo>
                  <a:cubicBezTo>
                    <a:pt x="1439" y="405"/>
                    <a:pt x="1419" y="313"/>
                    <a:pt x="1393" y="254"/>
                  </a:cubicBezTo>
                  <a:lnTo>
                    <a:pt x="1393" y="254"/>
                  </a:lnTo>
                  <a:cubicBezTo>
                    <a:pt x="1367" y="196"/>
                    <a:pt x="1138" y="0"/>
                    <a:pt x="1138" y="0"/>
                  </a:cubicBezTo>
                  <a:lnTo>
                    <a:pt x="1138" y="0"/>
                  </a:lnTo>
                  <a:cubicBezTo>
                    <a:pt x="1138" y="0"/>
                    <a:pt x="419" y="267"/>
                    <a:pt x="255" y="379"/>
                  </a:cubicBezTo>
                  <a:lnTo>
                    <a:pt x="255" y="379"/>
                  </a:lnTo>
                  <a:cubicBezTo>
                    <a:pt x="121" y="470"/>
                    <a:pt x="6" y="581"/>
                    <a:pt x="0" y="73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7" name="Freeform 201">
              <a:extLst>
                <a:ext uri="{FF2B5EF4-FFF2-40B4-BE49-F238E27FC236}">
                  <a16:creationId xmlns:a16="http://schemas.microsoft.com/office/drawing/2014/main" id="{D6D5657A-089B-2D4F-A559-B6450C91E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9052" y="5003087"/>
              <a:ext cx="682631" cy="426285"/>
            </a:xfrm>
            <a:custGeom>
              <a:avLst/>
              <a:gdLst>
                <a:gd name="T0" fmla="*/ 1045 w 1046"/>
                <a:gd name="T1" fmla="*/ 383 h 654"/>
                <a:gd name="T2" fmla="*/ 1045 w 1046"/>
                <a:gd name="T3" fmla="*/ 383 h 654"/>
                <a:gd name="T4" fmla="*/ 852 w 1046"/>
                <a:gd name="T5" fmla="*/ 23 h 654"/>
                <a:gd name="T6" fmla="*/ 852 w 1046"/>
                <a:gd name="T7" fmla="*/ 23 h 654"/>
                <a:gd name="T8" fmla="*/ 392 w 1046"/>
                <a:gd name="T9" fmla="*/ 50 h 654"/>
                <a:gd name="T10" fmla="*/ 392 w 1046"/>
                <a:gd name="T11" fmla="*/ 50 h 654"/>
                <a:gd name="T12" fmla="*/ 0 w 1046"/>
                <a:gd name="T13" fmla="*/ 352 h 654"/>
                <a:gd name="T14" fmla="*/ 0 w 1046"/>
                <a:gd name="T15" fmla="*/ 352 h 654"/>
                <a:gd name="T16" fmla="*/ 129 w 1046"/>
                <a:gd name="T17" fmla="*/ 357 h 654"/>
                <a:gd name="T18" fmla="*/ 129 w 1046"/>
                <a:gd name="T19" fmla="*/ 357 h 654"/>
                <a:gd name="T20" fmla="*/ 424 w 1046"/>
                <a:gd name="T21" fmla="*/ 252 h 654"/>
                <a:gd name="T22" fmla="*/ 424 w 1046"/>
                <a:gd name="T23" fmla="*/ 252 h 654"/>
                <a:gd name="T24" fmla="*/ 491 w 1046"/>
                <a:gd name="T25" fmla="*/ 351 h 654"/>
                <a:gd name="T26" fmla="*/ 491 w 1046"/>
                <a:gd name="T27" fmla="*/ 351 h 654"/>
                <a:gd name="T28" fmla="*/ 164 w 1046"/>
                <a:gd name="T29" fmla="*/ 526 h 654"/>
                <a:gd name="T30" fmla="*/ 164 w 1046"/>
                <a:gd name="T31" fmla="*/ 526 h 654"/>
                <a:gd name="T32" fmla="*/ 243 w 1046"/>
                <a:gd name="T33" fmla="*/ 570 h 654"/>
                <a:gd name="T34" fmla="*/ 243 w 1046"/>
                <a:gd name="T35" fmla="*/ 570 h 654"/>
                <a:gd name="T36" fmla="*/ 458 w 1046"/>
                <a:gd name="T37" fmla="*/ 552 h 654"/>
                <a:gd name="T38" fmla="*/ 458 w 1046"/>
                <a:gd name="T39" fmla="*/ 552 h 654"/>
                <a:gd name="T40" fmla="*/ 632 w 1046"/>
                <a:gd name="T41" fmla="*/ 600 h 654"/>
                <a:gd name="T42" fmla="*/ 632 w 1046"/>
                <a:gd name="T43" fmla="*/ 600 h 654"/>
                <a:gd name="T44" fmla="*/ 715 w 1046"/>
                <a:gd name="T45" fmla="*/ 643 h 654"/>
                <a:gd name="T46" fmla="*/ 1045 w 1046"/>
                <a:gd name="T47" fmla="*/ 383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6" h="654">
                  <a:moveTo>
                    <a:pt x="1045" y="383"/>
                  </a:moveTo>
                  <a:lnTo>
                    <a:pt x="1045" y="383"/>
                  </a:lnTo>
                  <a:cubicBezTo>
                    <a:pt x="1045" y="383"/>
                    <a:pt x="869" y="45"/>
                    <a:pt x="852" y="23"/>
                  </a:cubicBezTo>
                  <a:lnTo>
                    <a:pt x="852" y="23"/>
                  </a:lnTo>
                  <a:cubicBezTo>
                    <a:pt x="835" y="0"/>
                    <a:pt x="454" y="50"/>
                    <a:pt x="392" y="50"/>
                  </a:cubicBezTo>
                  <a:lnTo>
                    <a:pt x="392" y="50"/>
                  </a:lnTo>
                  <a:cubicBezTo>
                    <a:pt x="330" y="50"/>
                    <a:pt x="0" y="307"/>
                    <a:pt x="0" y="352"/>
                  </a:cubicBezTo>
                  <a:lnTo>
                    <a:pt x="0" y="352"/>
                  </a:lnTo>
                  <a:cubicBezTo>
                    <a:pt x="0" y="396"/>
                    <a:pt x="102" y="380"/>
                    <a:pt x="129" y="357"/>
                  </a:cubicBezTo>
                  <a:lnTo>
                    <a:pt x="129" y="357"/>
                  </a:lnTo>
                  <a:cubicBezTo>
                    <a:pt x="157" y="335"/>
                    <a:pt x="424" y="252"/>
                    <a:pt x="424" y="252"/>
                  </a:cubicBezTo>
                  <a:lnTo>
                    <a:pt x="424" y="252"/>
                  </a:lnTo>
                  <a:cubicBezTo>
                    <a:pt x="424" y="252"/>
                    <a:pt x="524" y="334"/>
                    <a:pt x="491" y="351"/>
                  </a:cubicBezTo>
                  <a:lnTo>
                    <a:pt x="491" y="351"/>
                  </a:lnTo>
                  <a:cubicBezTo>
                    <a:pt x="457" y="368"/>
                    <a:pt x="130" y="464"/>
                    <a:pt x="164" y="526"/>
                  </a:cubicBezTo>
                  <a:lnTo>
                    <a:pt x="164" y="526"/>
                  </a:lnTo>
                  <a:cubicBezTo>
                    <a:pt x="171" y="539"/>
                    <a:pt x="199" y="572"/>
                    <a:pt x="243" y="570"/>
                  </a:cubicBezTo>
                  <a:lnTo>
                    <a:pt x="243" y="570"/>
                  </a:lnTo>
                  <a:cubicBezTo>
                    <a:pt x="353" y="567"/>
                    <a:pt x="379" y="568"/>
                    <a:pt x="458" y="552"/>
                  </a:cubicBezTo>
                  <a:lnTo>
                    <a:pt x="458" y="552"/>
                  </a:lnTo>
                  <a:cubicBezTo>
                    <a:pt x="521" y="540"/>
                    <a:pt x="586" y="557"/>
                    <a:pt x="632" y="600"/>
                  </a:cubicBezTo>
                  <a:lnTo>
                    <a:pt x="632" y="600"/>
                  </a:lnTo>
                  <a:cubicBezTo>
                    <a:pt x="689" y="653"/>
                    <a:pt x="715" y="643"/>
                    <a:pt x="715" y="643"/>
                  </a:cubicBezTo>
                  <a:lnTo>
                    <a:pt x="1045" y="383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0" rIns="0" anchor="ctr"/>
            <a:lstStyle/>
            <a:p>
              <a:endParaRPr lang="en-US" sz="3266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943D77E-B1D4-A343-949B-9151921F2BE8}"/>
              </a:ext>
            </a:extLst>
          </p:cNvPr>
          <p:cNvGrpSpPr/>
          <p:nvPr/>
        </p:nvGrpSpPr>
        <p:grpSpPr>
          <a:xfrm>
            <a:off x="6552000" y="1440000"/>
            <a:ext cx="5175101" cy="4738559"/>
            <a:chOff x="6512028" y="1084702"/>
            <a:chExt cx="5175101" cy="4738559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544915" y="1084702"/>
              <a:ext cx="1229824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rocessor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1473619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PU performance and number of processor cores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1143558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20261" y="1345772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544915" y="4982709"/>
              <a:ext cx="107273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Network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5371625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twork latency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5036877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58426" y="5218296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544915" y="3683373"/>
              <a:ext cx="63511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Disk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4072290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isk speed and size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3737542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46527" y="3921150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544915" y="2384038"/>
              <a:ext cx="106792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Memory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544915" y="2772954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mory requirement for your workload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12028" y="2454045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07676" y="2737607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6ADB9A61-FBF7-6348-ACA1-5F9CE8058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Hardware</a:t>
            </a:r>
          </a:p>
        </p:txBody>
      </p:sp>
    </p:spTree>
    <p:extLst>
      <p:ext uri="{BB962C8B-B14F-4D97-AF65-F5344CB8AC3E}">
        <p14:creationId xmlns:p14="http://schemas.microsoft.com/office/powerpoint/2010/main" val="262476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B908C628-66C5-5F40-B53F-9E490CCB595D}"/>
              </a:ext>
            </a:extLst>
          </p:cNvPr>
          <p:cNvGrpSpPr/>
          <p:nvPr/>
        </p:nvGrpSpPr>
        <p:grpSpPr>
          <a:xfrm>
            <a:off x="6552000" y="1440000"/>
            <a:ext cx="5175101" cy="4738559"/>
            <a:chOff x="6254899" y="1234875"/>
            <a:chExt cx="5175101" cy="4738559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287786" y="1234875"/>
              <a:ext cx="1545616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Environment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1623792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perating system environment according to your database and application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1293731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63132" y="1495945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287786" y="5132882"/>
              <a:ext cx="103105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upport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5521798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ow good is your support for operating system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5187050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1297" y="5368469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287786" y="3833546"/>
              <a:ext cx="1566454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Performance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4222463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perating system performance which suites your database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3887715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89398" y="4071323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287786" y="2534211"/>
              <a:ext cx="1649811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Compatibility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287786" y="2923127"/>
              <a:ext cx="4142214" cy="482889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perating system compatibility with your database and application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4899" y="2604218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50547" y="2887780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72CE9A3-9488-4043-9010-09E7314E7F96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762000" y="1573429"/>
            <a:chExt cx="4875997" cy="4554613"/>
          </a:xfrm>
        </p:grpSpPr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38482942-9CD4-AE45-B3C1-9682A63659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762000" y="1573429"/>
              <a:ext cx="4875997" cy="24075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7" name="Picture 136" descr="A close up of a building&#10;&#10;Description automatically generated">
              <a:extLst>
                <a:ext uri="{FF2B5EF4-FFF2-40B4-BE49-F238E27FC236}">
                  <a16:creationId xmlns:a16="http://schemas.microsoft.com/office/drawing/2014/main" id="{6B479D55-766E-9A45-AF13-D15008F4E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762000" y="3832699"/>
              <a:ext cx="4578679" cy="229534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34" name="Title 133">
            <a:extLst>
              <a:ext uri="{FF2B5EF4-FFF2-40B4-BE49-F238E27FC236}">
                <a16:creationId xmlns:a16="http://schemas.microsoft.com/office/drawing/2014/main" id="{085717BB-370D-AA49-A5E6-90E8C49F5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Operating System</a:t>
            </a:r>
          </a:p>
        </p:txBody>
      </p:sp>
    </p:spTree>
    <p:extLst>
      <p:ext uri="{BB962C8B-B14F-4D97-AF65-F5344CB8AC3E}">
        <p14:creationId xmlns:p14="http://schemas.microsoft.com/office/powerpoint/2010/main" val="18865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A89A926-90E0-3849-A48E-E2402DAA9338}"/>
              </a:ext>
            </a:extLst>
          </p:cNvPr>
          <p:cNvGrpSpPr/>
          <p:nvPr/>
        </p:nvGrpSpPr>
        <p:grpSpPr>
          <a:xfrm>
            <a:off x="6552000" y="1440000"/>
            <a:ext cx="5175101" cy="4738559"/>
            <a:chOff x="6197428" y="1231340"/>
            <a:chExt cx="5175101" cy="4738559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CF70C40-2AAA-C348-9206-F692D575D720}"/>
                </a:ext>
              </a:extLst>
            </p:cNvPr>
            <p:cNvSpPr txBox="1"/>
            <p:nvPr/>
          </p:nvSpPr>
          <p:spPr>
            <a:xfrm>
              <a:off x="7230315" y="1231340"/>
              <a:ext cx="1452642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QL / NOSQL</a:t>
              </a:r>
            </a:p>
          </p:txBody>
        </p:sp>
        <p:sp>
          <p:nvSpPr>
            <p:cNvPr id="125" name="Subtitle 2">
              <a:extLst>
                <a:ext uri="{FF2B5EF4-FFF2-40B4-BE49-F238E27FC236}">
                  <a16:creationId xmlns:a16="http://schemas.microsoft.com/office/drawing/2014/main" id="{19CB6716-A672-C84D-8A6B-006AE2FBAA56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1620257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s your workload best suited for SQL or NOSQL?</a:t>
              </a: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F458D90-CDE4-EB46-A452-A513F4FE52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1290196"/>
              <a:ext cx="786384" cy="7863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630">
              <a:extLst>
                <a:ext uri="{FF2B5EF4-FFF2-40B4-BE49-F238E27FC236}">
                  <a16:creationId xmlns:a16="http://schemas.microsoft.com/office/drawing/2014/main" id="{A5DBA610-8C53-7E43-80F1-06DE144405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5661" y="1492410"/>
              <a:ext cx="369919" cy="381957"/>
            </a:xfrm>
            <a:custGeom>
              <a:avLst/>
              <a:gdLst>
                <a:gd name="T0" fmla="*/ 426660 w 158757"/>
                <a:gd name="T1" fmla="*/ 537620 h 164742"/>
                <a:gd name="T2" fmla="*/ 678037 w 158757"/>
                <a:gd name="T3" fmla="*/ 537620 h 164742"/>
                <a:gd name="T4" fmla="*/ 678037 w 158757"/>
                <a:gd name="T5" fmla="*/ 787047 h 164742"/>
                <a:gd name="T6" fmla="*/ 678037 w 158757"/>
                <a:gd name="T7" fmla="*/ 2342653 h 164742"/>
                <a:gd name="T8" fmla="*/ 1465235 w 158757"/>
                <a:gd name="T9" fmla="*/ 2664274 h 164742"/>
                <a:gd name="T10" fmla="*/ 2245823 w 158757"/>
                <a:gd name="T11" fmla="*/ 2342653 h 164742"/>
                <a:gd name="T12" fmla="*/ 2245823 w 158757"/>
                <a:gd name="T13" fmla="*/ 787047 h 164742"/>
                <a:gd name="T14" fmla="*/ 2245823 w 158757"/>
                <a:gd name="T15" fmla="*/ 537620 h 164742"/>
                <a:gd name="T16" fmla="*/ 2497206 w 158757"/>
                <a:gd name="T17" fmla="*/ 537620 h 164742"/>
                <a:gd name="T18" fmla="*/ 2497206 w 158757"/>
                <a:gd name="T19" fmla="*/ 2592080 h 164742"/>
                <a:gd name="T20" fmla="*/ 1465235 w 158757"/>
                <a:gd name="T21" fmla="*/ 3018713 h 164742"/>
                <a:gd name="T22" fmla="*/ 426660 w 158757"/>
                <a:gd name="T23" fmla="*/ 2592080 h 164742"/>
                <a:gd name="T24" fmla="*/ 426660 w 158757"/>
                <a:gd name="T25" fmla="*/ 537620 h 164742"/>
                <a:gd name="T26" fmla="*/ 1465359 w 158757"/>
                <a:gd name="T27" fmla="*/ 0 h 164742"/>
                <a:gd name="T28" fmla="*/ 1637890 w 158757"/>
                <a:gd name="T29" fmla="*/ 178346 h 164742"/>
                <a:gd name="T30" fmla="*/ 1637890 w 158757"/>
                <a:gd name="T31" fmla="*/ 1327693 h 164742"/>
                <a:gd name="T32" fmla="*/ 1465359 w 158757"/>
                <a:gd name="T33" fmla="*/ 1506039 h 164742"/>
                <a:gd name="T34" fmla="*/ 1292829 w 158757"/>
                <a:gd name="T35" fmla="*/ 1327693 h 164742"/>
                <a:gd name="T36" fmla="*/ 1292829 w 158757"/>
                <a:gd name="T37" fmla="*/ 178346 h 164742"/>
                <a:gd name="T38" fmla="*/ 1465359 w 158757"/>
                <a:gd name="T39" fmla="*/ 0 h 1647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8757" h="164742">
                  <a:moveTo>
                    <a:pt x="23127" y="29340"/>
                  </a:moveTo>
                  <a:cubicBezTo>
                    <a:pt x="27072" y="25400"/>
                    <a:pt x="33167" y="25400"/>
                    <a:pt x="36753" y="29340"/>
                  </a:cubicBezTo>
                  <a:cubicBezTo>
                    <a:pt x="40697" y="32922"/>
                    <a:pt x="40697" y="39012"/>
                    <a:pt x="36753" y="42952"/>
                  </a:cubicBezTo>
                  <a:cubicBezTo>
                    <a:pt x="13446" y="66235"/>
                    <a:pt x="13446" y="104205"/>
                    <a:pt x="36753" y="127847"/>
                  </a:cubicBezTo>
                  <a:cubicBezTo>
                    <a:pt x="48227" y="138951"/>
                    <a:pt x="63287" y="145399"/>
                    <a:pt x="79423" y="145399"/>
                  </a:cubicBezTo>
                  <a:cubicBezTo>
                    <a:pt x="95559" y="145399"/>
                    <a:pt x="110619" y="138951"/>
                    <a:pt x="121735" y="127847"/>
                  </a:cubicBezTo>
                  <a:cubicBezTo>
                    <a:pt x="145401" y="104205"/>
                    <a:pt x="145401" y="66235"/>
                    <a:pt x="121735" y="42952"/>
                  </a:cubicBezTo>
                  <a:cubicBezTo>
                    <a:pt x="118149" y="39012"/>
                    <a:pt x="118149" y="32922"/>
                    <a:pt x="121735" y="29340"/>
                  </a:cubicBezTo>
                  <a:cubicBezTo>
                    <a:pt x="125321" y="25400"/>
                    <a:pt x="131775" y="25400"/>
                    <a:pt x="135361" y="29340"/>
                  </a:cubicBezTo>
                  <a:cubicBezTo>
                    <a:pt x="166556" y="60146"/>
                    <a:pt x="166556" y="110653"/>
                    <a:pt x="135361" y="141459"/>
                  </a:cubicBezTo>
                  <a:cubicBezTo>
                    <a:pt x="119942" y="156861"/>
                    <a:pt x="99503" y="164742"/>
                    <a:pt x="79423" y="164742"/>
                  </a:cubicBezTo>
                  <a:cubicBezTo>
                    <a:pt x="58984" y="164742"/>
                    <a:pt x="38904" y="156861"/>
                    <a:pt x="23127" y="141459"/>
                  </a:cubicBezTo>
                  <a:cubicBezTo>
                    <a:pt x="-7710" y="110653"/>
                    <a:pt x="-7710" y="60146"/>
                    <a:pt x="23127" y="29340"/>
                  </a:cubicBezTo>
                  <a:close/>
                  <a:moveTo>
                    <a:pt x="79430" y="0"/>
                  </a:moveTo>
                  <a:cubicBezTo>
                    <a:pt x="84625" y="0"/>
                    <a:pt x="88782" y="4686"/>
                    <a:pt x="88782" y="9733"/>
                  </a:cubicBezTo>
                  <a:lnTo>
                    <a:pt x="88782" y="72457"/>
                  </a:lnTo>
                  <a:cubicBezTo>
                    <a:pt x="88782" y="77864"/>
                    <a:pt x="84625" y="82190"/>
                    <a:pt x="79430" y="82190"/>
                  </a:cubicBezTo>
                  <a:cubicBezTo>
                    <a:pt x="74234" y="82190"/>
                    <a:pt x="70078" y="77864"/>
                    <a:pt x="70078" y="72457"/>
                  </a:cubicBezTo>
                  <a:lnTo>
                    <a:pt x="70078" y="9733"/>
                  </a:lnTo>
                  <a:cubicBezTo>
                    <a:pt x="70078" y="4686"/>
                    <a:pt x="74234" y="0"/>
                    <a:pt x="794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C2C5121-A19C-8446-A92E-513D92C3C26F}"/>
                </a:ext>
              </a:extLst>
            </p:cNvPr>
            <p:cNvSpPr txBox="1"/>
            <p:nvPr/>
          </p:nvSpPr>
          <p:spPr>
            <a:xfrm>
              <a:off x="7230315" y="5129347"/>
              <a:ext cx="2497800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Read / Write Intensive</a:t>
              </a:r>
            </a:p>
          </p:txBody>
        </p:sp>
        <p:sp>
          <p:nvSpPr>
            <p:cNvPr id="122" name="Subtitle 2">
              <a:extLst>
                <a:ext uri="{FF2B5EF4-FFF2-40B4-BE49-F238E27FC236}">
                  <a16:creationId xmlns:a16="http://schemas.microsoft.com/office/drawing/2014/main" id="{41A81221-1CE5-4C4F-91C7-1E74DD869FBE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5518263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s your workload Read or Write intensive?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9AA78FB-C71A-0C4C-9DC6-346D169BD5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5183515"/>
              <a:ext cx="786384" cy="7863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631">
              <a:extLst>
                <a:ext uri="{FF2B5EF4-FFF2-40B4-BE49-F238E27FC236}">
                  <a16:creationId xmlns:a16="http://schemas.microsoft.com/office/drawing/2014/main" id="{AB7EE719-748F-BC43-A511-499FE6D3F6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43826" y="5364934"/>
              <a:ext cx="493588" cy="423546"/>
            </a:xfrm>
            <a:custGeom>
              <a:avLst/>
              <a:gdLst>
                <a:gd name="T0" fmla="*/ 502583 w 212659"/>
                <a:gd name="T1" fmla="*/ 401651 h 182199"/>
                <a:gd name="T2" fmla="*/ 471075 w 212659"/>
                <a:gd name="T3" fmla="*/ 570713 h 182199"/>
                <a:gd name="T4" fmla="*/ 439567 w 212659"/>
                <a:gd name="T5" fmla="*/ 401651 h 182199"/>
                <a:gd name="T6" fmla="*/ 337348 w 212659"/>
                <a:gd name="T7" fmla="*/ 331399 h 182199"/>
                <a:gd name="T8" fmla="*/ 411627 w 212659"/>
                <a:gd name="T9" fmla="*/ 580501 h 182199"/>
                <a:gd name="T10" fmla="*/ 346933 w 212659"/>
                <a:gd name="T11" fmla="*/ 580501 h 182199"/>
                <a:gd name="T12" fmla="*/ 337348 w 212659"/>
                <a:gd name="T13" fmla="*/ 397338 h 182199"/>
                <a:gd name="T14" fmla="*/ 326566 w 212659"/>
                <a:gd name="T15" fmla="*/ 459611 h 182199"/>
                <a:gd name="T16" fmla="*/ 263068 w 212659"/>
                <a:gd name="T17" fmla="*/ 459611 h 182199"/>
                <a:gd name="T18" fmla="*/ 337348 w 212659"/>
                <a:gd name="T19" fmla="*/ 331399 h 182199"/>
                <a:gd name="T20" fmla="*/ 482096 w 212659"/>
                <a:gd name="T21" fmla="*/ 289988 h 182199"/>
                <a:gd name="T22" fmla="*/ 426097 w 212659"/>
                <a:gd name="T23" fmla="*/ 326264 h 182199"/>
                <a:gd name="T24" fmla="*/ 232534 w 212659"/>
                <a:gd name="T25" fmla="*/ 383096 h 182199"/>
                <a:gd name="T26" fmla="*/ 199665 w 212659"/>
                <a:gd name="T27" fmla="*/ 581410 h 182199"/>
                <a:gd name="T28" fmla="*/ 166796 w 212659"/>
                <a:gd name="T29" fmla="*/ 383096 h 182199"/>
                <a:gd name="T30" fmla="*/ 67170 w 212659"/>
                <a:gd name="T31" fmla="*/ 155007 h 182199"/>
                <a:gd name="T32" fmla="*/ 61109 w 212659"/>
                <a:gd name="T33" fmla="*/ 222711 h 182199"/>
                <a:gd name="T34" fmla="*/ 16253 w 212659"/>
                <a:gd name="T35" fmla="*/ 234590 h 182199"/>
                <a:gd name="T36" fmla="*/ 21101 w 212659"/>
                <a:gd name="T37" fmla="*/ 163320 h 182199"/>
                <a:gd name="T38" fmla="*/ 214428 w 212659"/>
                <a:gd name="T39" fmla="*/ 131405 h 182199"/>
                <a:gd name="T40" fmla="*/ 242648 w 212659"/>
                <a:gd name="T41" fmla="*/ 190674 h 182199"/>
                <a:gd name="T42" fmla="*/ 126083 w 212659"/>
                <a:gd name="T43" fmla="*/ 484608 h 182199"/>
                <a:gd name="T44" fmla="*/ 59826 w 212659"/>
                <a:gd name="T45" fmla="*/ 484608 h 182199"/>
                <a:gd name="T46" fmla="*/ 214428 w 212659"/>
                <a:gd name="T47" fmla="*/ 131405 h 182199"/>
                <a:gd name="T48" fmla="*/ 609499 w 212659"/>
                <a:gd name="T49" fmla="*/ 382254 h 182199"/>
                <a:gd name="T50" fmla="*/ 576522 w 212659"/>
                <a:gd name="T51" fmla="*/ 602780 h 182199"/>
                <a:gd name="T52" fmla="*/ 543549 w 212659"/>
                <a:gd name="T53" fmla="*/ 382254 h 182199"/>
                <a:gd name="T54" fmla="*/ 300506 w 212659"/>
                <a:gd name="T55" fmla="*/ 139799 h 182199"/>
                <a:gd name="T56" fmla="*/ 334464 w 212659"/>
                <a:gd name="T57" fmla="*/ 0 h 182199"/>
                <a:gd name="T58" fmla="*/ 683731 w 212659"/>
                <a:gd name="T59" fmla="*/ 415705 h 182199"/>
                <a:gd name="T60" fmla="*/ 334464 w 212659"/>
                <a:gd name="T61" fmla="*/ 65637 h 182199"/>
                <a:gd name="T62" fmla="*/ 102833 w 212659"/>
                <a:gd name="T63" fmla="*/ 119122 h 182199"/>
                <a:gd name="T64" fmla="*/ 334464 w 212659"/>
                <a:gd name="T65" fmla="*/ 0 h 18219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2659" h="182199">
                  <a:moveTo>
                    <a:pt x="139821" y="109537"/>
                  </a:moveTo>
                  <a:cubicBezTo>
                    <a:pt x="144670" y="109537"/>
                    <a:pt x="149173" y="113872"/>
                    <a:pt x="149173" y="119290"/>
                  </a:cubicBezTo>
                  <a:lnTo>
                    <a:pt x="149173" y="159748"/>
                  </a:lnTo>
                  <a:cubicBezTo>
                    <a:pt x="149173" y="165166"/>
                    <a:pt x="144670" y="169501"/>
                    <a:pt x="139821" y="169501"/>
                  </a:cubicBezTo>
                  <a:cubicBezTo>
                    <a:pt x="134625" y="169501"/>
                    <a:pt x="130469" y="165166"/>
                    <a:pt x="130469" y="159748"/>
                  </a:cubicBezTo>
                  <a:lnTo>
                    <a:pt x="130469" y="119290"/>
                  </a:lnTo>
                  <a:cubicBezTo>
                    <a:pt x="130469" y="113872"/>
                    <a:pt x="134625" y="109537"/>
                    <a:pt x="139821" y="109537"/>
                  </a:cubicBezTo>
                  <a:close/>
                  <a:moveTo>
                    <a:pt x="100129" y="98425"/>
                  </a:moveTo>
                  <a:cubicBezTo>
                    <a:pt x="112219" y="98425"/>
                    <a:pt x="122176" y="108579"/>
                    <a:pt x="122176" y="120910"/>
                  </a:cubicBezTo>
                  <a:lnTo>
                    <a:pt x="122176" y="172408"/>
                  </a:lnTo>
                  <a:cubicBezTo>
                    <a:pt x="122176" y="177847"/>
                    <a:pt x="117909" y="182199"/>
                    <a:pt x="112575" y="182199"/>
                  </a:cubicBezTo>
                  <a:cubicBezTo>
                    <a:pt x="107241" y="182199"/>
                    <a:pt x="102974" y="177847"/>
                    <a:pt x="102974" y="172408"/>
                  </a:cubicBezTo>
                  <a:lnTo>
                    <a:pt x="102974" y="120910"/>
                  </a:lnTo>
                  <a:cubicBezTo>
                    <a:pt x="102974" y="119459"/>
                    <a:pt x="101551" y="118009"/>
                    <a:pt x="100129" y="118009"/>
                  </a:cubicBezTo>
                  <a:cubicBezTo>
                    <a:pt x="98351" y="118009"/>
                    <a:pt x="96929" y="119459"/>
                    <a:pt x="96929" y="120910"/>
                  </a:cubicBezTo>
                  <a:lnTo>
                    <a:pt x="96929" y="136504"/>
                  </a:lnTo>
                  <a:cubicBezTo>
                    <a:pt x="96929" y="141582"/>
                    <a:pt x="93017" y="146296"/>
                    <a:pt x="87327" y="146296"/>
                  </a:cubicBezTo>
                  <a:cubicBezTo>
                    <a:pt x="82349" y="146296"/>
                    <a:pt x="78082" y="141582"/>
                    <a:pt x="78082" y="136504"/>
                  </a:cubicBezTo>
                  <a:lnTo>
                    <a:pt x="78082" y="120910"/>
                  </a:lnTo>
                  <a:cubicBezTo>
                    <a:pt x="78082" y="108579"/>
                    <a:pt x="88039" y="98425"/>
                    <a:pt x="100129" y="98425"/>
                  </a:cubicBezTo>
                  <a:close/>
                  <a:moveTo>
                    <a:pt x="100455" y="63500"/>
                  </a:moveTo>
                  <a:cubicBezTo>
                    <a:pt x="117437" y="63500"/>
                    <a:pt x="133336" y="71760"/>
                    <a:pt x="143092" y="86126"/>
                  </a:cubicBezTo>
                  <a:cubicBezTo>
                    <a:pt x="145983" y="90435"/>
                    <a:pt x="144537" y="96541"/>
                    <a:pt x="140201" y="99773"/>
                  </a:cubicBezTo>
                  <a:cubicBezTo>
                    <a:pt x="135504" y="102646"/>
                    <a:pt x="129723" y="101209"/>
                    <a:pt x="126471" y="96900"/>
                  </a:cubicBezTo>
                  <a:cubicBezTo>
                    <a:pt x="121051" y="87921"/>
                    <a:pt x="110933" y="82893"/>
                    <a:pt x="100455" y="82893"/>
                  </a:cubicBezTo>
                  <a:cubicBezTo>
                    <a:pt x="83111" y="82893"/>
                    <a:pt x="69019" y="96541"/>
                    <a:pt x="69019" y="113779"/>
                  </a:cubicBezTo>
                  <a:lnTo>
                    <a:pt x="69019" y="162981"/>
                  </a:lnTo>
                  <a:cubicBezTo>
                    <a:pt x="69019" y="168368"/>
                    <a:pt x="64683" y="172678"/>
                    <a:pt x="59263" y="172678"/>
                  </a:cubicBezTo>
                  <a:cubicBezTo>
                    <a:pt x="53843" y="172678"/>
                    <a:pt x="49507" y="168368"/>
                    <a:pt x="49507" y="162981"/>
                  </a:cubicBezTo>
                  <a:lnTo>
                    <a:pt x="49507" y="113779"/>
                  </a:lnTo>
                  <a:cubicBezTo>
                    <a:pt x="49507" y="85766"/>
                    <a:pt x="72271" y="63500"/>
                    <a:pt x="100455" y="63500"/>
                  </a:cubicBezTo>
                  <a:close/>
                  <a:moveTo>
                    <a:pt x="19937" y="46037"/>
                  </a:moveTo>
                  <a:cubicBezTo>
                    <a:pt x="24255" y="49212"/>
                    <a:pt x="25334" y="54856"/>
                    <a:pt x="22455" y="59090"/>
                  </a:cubicBezTo>
                  <a:cubicBezTo>
                    <a:pt x="20656" y="61559"/>
                    <a:pt x="19577" y="63676"/>
                    <a:pt x="18138" y="66145"/>
                  </a:cubicBezTo>
                  <a:cubicBezTo>
                    <a:pt x="16338" y="68967"/>
                    <a:pt x="13100" y="71084"/>
                    <a:pt x="9502" y="71084"/>
                  </a:cubicBezTo>
                  <a:cubicBezTo>
                    <a:pt x="8062" y="71084"/>
                    <a:pt x="6263" y="70731"/>
                    <a:pt x="4824" y="69673"/>
                  </a:cubicBezTo>
                  <a:cubicBezTo>
                    <a:pt x="146" y="67204"/>
                    <a:pt x="-1293" y="61206"/>
                    <a:pt x="1226" y="56620"/>
                  </a:cubicBezTo>
                  <a:cubicBezTo>
                    <a:pt x="2665" y="54151"/>
                    <a:pt x="4464" y="50976"/>
                    <a:pt x="6263" y="48506"/>
                  </a:cubicBezTo>
                  <a:cubicBezTo>
                    <a:pt x="9502" y="43920"/>
                    <a:pt x="15619" y="42862"/>
                    <a:pt x="19937" y="46037"/>
                  </a:cubicBezTo>
                  <a:close/>
                  <a:moveTo>
                    <a:pt x="63645" y="39027"/>
                  </a:moveTo>
                  <a:cubicBezTo>
                    <a:pt x="68379" y="36512"/>
                    <a:pt x="74206" y="38667"/>
                    <a:pt x="76755" y="43338"/>
                  </a:cubicBezTo>
                  <a:cubicBezTo>
                    <a:pt x="79305" y="48367"/>
                    <a:pt x="77120" y="54115"/>
                    <a:pt x="72021" y="56630"/>
                  </a:cubicBezTo>
                  <a:cubicBezTo>
                    <a:pt x="50898" y="67048"/>
                    <a:pt x="37423" y="88244"/>
                    <a:pt x="37423" y="111955"/>
                  </a:cubicBezTo>
                  <a:lnTo>
                    <a:pt x="37423" y="143928"/>
                  </a:lnTo>
                  <a:cubicBezTo>
                    <a:pt x="37423" y="149317"/>
                    <a:pt x="32689" y="153628"/>
                    <a:pt x="27226" y="153628"/>
                  </a:cubicBezTo>
                  <a:cubicBezTo>
                    <a:pt x="22127" y="153628"/>
                    <a:pt x="17757" y="149317"/>
                    <a:pt x="17757" y="143928"/>
                  </a:cubicBezTo>
                  <a:lnTo>
                    <a:pt x="17757" y="111955"/>
                  </a:lnTo>
                  <a:cubicBezTo>
                    <a:pt x="17757" y="80700"/>
                    <a:pt x="35238" y="53037"/>
                    <a:pt x="63645" y="39027"/>
                  </a:cubicBezTo>
                  <a:close/>
                  <a:moveTo>
                    <a:pt x="98981" y="31750"/>
                  </a:moveTo>
                  <a:cubicBezTo>
                    <a:pt x="143932" y="31750"/>
                    <a:pt x="180907" y="68297"/>
                    <a:pt x="180907" y="113529"/>
                  </a:cubicBezTo>
                  <a:lnTo>
                    <a:pt x="180907" y="169255"/>
                  </a:lnTo>
                  <a:cubicBezTo>
                    <a:pt x="180907" y="174683"/>
                    <a:pt x="176557" y="179025"/>
                    <a:pt x="171119" y="179025"/>
                  </a:cubicBezTo>
                  <a:cubicBezTo>
                    <a:pt x="165682" y="179025"/>
                    <a:pt x="161332" y="174683"/>
                    <a:pt x="161332" y="169255"/>
                  </a:cubicBezTo>
                  <a:lnTo>
                    <a:pt x="161332" y="113529"/>
                  </a:lnTo>
                  <a:cubicBezTo>
                    <a:pt x="161332" y="79153"/>
                    <a:pt x="133419" y="51290"/>
                    <a:pt x="98981" y="51290"/>
                  </a:cubicBezTo>
                  <a:cubicBezTo>
                    <a:pt x="93544" y="51290"/>
                    <a:pt x="89194" y="46948"/>
                    <a:pt x="89194" y="41520"/>
                  </a:cubicBezTo>
                  <a:cubicBezTo>
                    <a:pt x="89194" y="36092"/>
                    <a:pt x="93544" y="31750"/>
                    <a:pt x="98981" y="31750"/>
                  </a:cubicBezTo>
                  <a:close/>
                  <a:moveTo>
                    <a:pt x="99273" y="0"/>
                  </a:moveTo>
                  <a:cubicBezTo>
                    <a:pt x="161546" y="0"/>
                    <a:pt x="212659" y="50902"/>
                    <a:pt x="212659" y="113717"/>
                  </a:cubicBezTo>
                  <a:cubicBezTo>
                    <a:pt x="212659" y="119132"/>
                    <a:pt x="208340" y="123464"/>
                    <a:pt x="202940" y="123464"/>
                  </a:cubicBezTo>
                  <a:cubicBezTo>
                    <a:pt x="197541" y="123464"/>
                    <a:pt x="193222" y="119132"/>
                    <a:pt x="193222" y="113717"/>
                  </a:cubicBezTo>
                  <a:cubicBezTo>
                    <a:pt x="193222" y="61732"/>
                    <a:pt x="151107" y="19494"/>
                    <a:pt x="99273" y="19494"/>
                  </a:cubicBezTo>
                  <a:cubicBezTo>
                    <a:pt x="79475" y="19494"/>
                    <a:pt x="60038" y="25631"/>
                    <a:pt x="44200" y="37184"/>
                  </a:cubicBezTo>
                  <a:cubicBezTo>
                    <a:pt x="39880" y="40433"/>
                    <a:pt x="33761" y="39350"/>
                    <a:pt x="30522" y="35379"/>
                  </a:cubicBezTo>
                  <a:cubicBezTo>
                    <a:pt x="27282" y="30685"/>
                    <a:pt x="28362" y="24548"/>
                    <a:pt x="32681" y="21660"/>
                  </a:cubicBezTo>
                  <a:cubicBezTo>
                    <a:pt x="52119" y="7220"/>
                    <a:pt x="75156" y="0"/>
                    <a:pt x="992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C320BE6-6A07-344C-BB2E-39695B399C24}"/>
                </a:ext>
              </a:extLst>
            </p:cNvPr>
            <p:cNvSpPr txBox="1"/>
            <p:nvPr/>
          </p:nvSpPr>
          <p:spPr>
            <a:xfrm>
              <a:off x="7230315" y="3830011"/>
              <a:ext cx="1412566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OLTP / OLAP</a:t>
              </a: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2241A218-3863-AF4F-BE7E-3270AEB08073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4218928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ype of workload, is it OLAP or OLTP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06FD9CF-CB62-A648-8C1A-3C7641DC99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3884180"/>
              <a:ext cx="786384" cy="7863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621">
              <a:extLst>
                <a:ext uri="{FF2B5EF4-FFF2-40B4-BE49-F238E27FC236}">
                  <a16:creationId xmlns:a16="http://schemas.microsoft.com/office/drawing/2014/main" id="{9B25615C-C9F7-C947-B0CA-1CE8D9ADA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31927" y="4067788"/>
              <a:ext cx="317386" cy="419168"/>
            </a:xfrm>
            <a:custGeom>
              <a:avLst/>
              <a:gdLst>
                <a:gd name="T0" fmla="*/ 179020 w 136167"/>
                <a:gd name="T1" fmla="*/ 1334949 h 180612"/>
                <a:gd name="T2" fmla="*/ 358033 w 136167"/>
                <a:gd name="T3" fmla="*/ 1504540 h 180612"/>
                <a:gd name="T4" fmla="*/ 1259759 w 136167"/>
                <a:gd name="T5" fmla="*/ 2398191 h 180612"/>
                <a:gd name="T6" fmla="*/ 2161468 w 136167"/>
                <a:gd name="T7" fmla="*/ 1504540 h 180612"/>
                <a:gd name="T8" fmla="*/ 2340481 w 136167"/>
                <a:gd name="T9" fmla="*/ 1334949 h 180612"/>
                <a:gd name="T10" fmla="*/ 2519501 w 136167"/>
                <a:gd name="T11" fmla="*/ 1504540 h 180612"/>
                <a:gd name="T12" fmla="*/ 1750291 w 136167"/>
                <a:gd name="T13" fmla="*/ 2652983 h 180612"/>
                <a:gd name="T14" fmla="*/ 1432910 w 136167"/>
                <a:gd name="T15" fmla="*/ 2716037 h 180612"/>
                <a:gd name="T16" fmla="*/ 1432910 w 136167"/>
                <a:gd name="T17" fmla="*/ 3122271 h 180612"/>
                <a:gd name="T18" fmla="*/ 1259871 w 136167"/>
                <a:gd name="T19" fmla="*/ 3301713 h 180612"/>
                <a:gd name="T20" fmla="*/ 1086828 w 136167"/>
                <a:gd name="T21" fmla="*/ 3122271 h 180612"/>
                <a:gd name="T22" fmla="*/ 1086828 w 136167"/>
                <a:gd name="T23" fmla="*/ 2715886 h 180612"/>
                <a:gd name="T24" fmla="*/ 772005 w 136167"/>
                <a:gd name="T25" fmla="*/ 2652983 h 180612"/>
                <a:gd name="T26" fmla="*/ 0 w 136167"/>
                <a:gd name="T27" fmla="*/ 1504540 h 180612"/>
                <a:gd name="T28" fmla="*/ 179020 w 136167"/>
                <a:gd name="T29" fmla="*/ 1334949 h 180612"/>
                <a:gd name="T30" fmla="*/ 1245088 w 136167"/>
                <a:gd name="T31" fmla="*/ 355271 h 180612"/>
                <a:gd name="T32" fmla="*/ 973948 w 136167"/>
                <a:gd name="T33" fmla="*/ 625018 h 180612"/>
                <a:gd name="T34" fmla="*/ 973948 w 136167"/>
                <a:gd name="T35" fmla="*/ 1486901 h 180612"/>
                <a:gd name="T36" fmla="*/ 1245088 w 136167"/>
                <a:gd name="T37" fmla="*/ 1756649 h 180612"/>
                <a:gd name="T38" fmla="*/ 1516211 w 136167"/>
                <a:gd name="T39" fmla="*/ 1486901 h 180612"/>
                <a:gd name="T40" fmla="*/ 1516211 w 136167"/>
                <a:gd name="T41" fmla="*/ 625018 h 180612"/>
                <a:gd name="T42" fmla="*/ 1245088 w 136167"/>
                <a:gd name="T43" fmla="*/ 355271 h 180612"/>
                <a:gd name="T44" fmla="*/ 1245088 w 136167"/>
                <a:gd name="T45" fmla="*/ 0 h 180612"/>
                <a:gd name="T46" fmla="*/ 1873298 w 136167"/>
                <a:gd name="T47" fmla="*/ 625018 h 180612"/>
                <a:gd name="T48" fmla="*/ 1873298 w 136167"/>
                <a:gd name="T49" fmla="*/ 1486901 h 180612"/>
                <a:gd name="T50" fmla="*/ 1245088 w 136167"/>
                <a:gd name="T51" fmla="*/ 2111913 h 180612"/>
                <a:gd name="T52" fmla="*/ 616850 w 136167"/>
                <a:gd name="T53" fmla="*/ 1486901 h 180612"/>
                <a:gd name="T54" fmla="*/ 616850 w 136167"/>
                <a:gd name="T55" fmla="*/ 625018 h 180612"/>
                <a:gd name="T56" fmla="*/ 1245088 w 136167"/>
                <a:gd name="T57" fmla="*/ 0 h 18061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6167" h="180612">
                  <a:moveTo>
                    <a:pt x="9675" y="73025"/>
                  </a:moveTo>
                  <a:cubicBezTo>
                    <a:pt x="15050" y="73025"/>
                    <a:pt x="19350" y="77307"/>
                    <a:pt x="19350" y="82302"/>
                  </a:cubicBezTo>
                  <a:cubicBezTo>
                    <a:pt x="19350" y="109421"/>
                    <a:pt x="41208" y="131187"/>
                    <a:pt x="68084" y="131187"/>
                  </a:cubicBezTo>
                  <a:cubicBezTo>
                    <a:pt x="94959" y="131187"/>
                    <a:pt x="116817" y="109421"/>
                    <a:pt x="116817" y="82302"/>
                  </a:cubicBezTo>
                  <a:cubicBezTo>
                    <a:pt x="116817" y="77307"/>
                    <a:pt x="121117" y="73025"/>
                    <a:pt x="126492" y="73025"/>
                  </a:cubicBezTo>
                  <a:cubicBezTo>
                    <a:pt x="131867" y="73025"/>
                    <a:pt x="136167" y="77307"/>
                    <a:pt x="136167" y="82302"/>
                  </a:cubicBezTo>
                  <a:cubicBezTo>
                    <a:pt x="136167" y="110670"/>
                    <a:pt x="119034" y="134822"/>
                    <a:pt x="94595" y="145125"/>
                  </a:cubicBezTo>
                  <a:lnTo>
                    <a:pt x="77442" y="148574"/>
                  </a:lnTo>
                  <a:lnTo>
                    <a:pt x="77442" y="170796"/>
                  </a:lnTo>
                  <a:cubicBezTo>
                    <a:pt x="77442" y="176249"/>
                    <a:pt x="73286" y="180612"/>
                    <a:pt x="68090" y="180612"/>
                  </a:cubicBezTo>
                  <a:cubicBezTo>
                    <a:pt x="62895" y="180612"/>
                    <a:pt x="58738" y="176249"/>
                    <a:pt x="58738" y="170796"/>
                  </a:cubicBezTo>
                  <a:lnTo>
                    <a:pt x="58738" y="148566"/>
                  </a:lnTo>
                  <a:lnTo>
                    <a:pt x="41723" y="145125"/>
                  </a:lnTo>
                  <a:cubicBezTo>
                    <a:pt x="17334" y="134822"/>
                    <a:pt x="0" y="110670"/>
                    <a:pt x="0" y="82302"/>
                  </a:cubicBezTo>
                  <a:cubicBezTo>
                    <a:pt x="0" y="77307"/>
                    <a:pt x="4300" y="73025"/>
                    <a:pt x="9675" y="73025"/>
                  </a:cubicBezTo>
                  <a:close/>
                  <a:moveTo>
                    <a:pt x="67291" y="19434"/>
                  </a:moveTo>
                  <a:cubicBezTo>
                    <a:pt x="59428" y="19434"/>
                    <a:pt x="52637" y="25913"/>
                    <a:pt x="52637" y="34190"/>
                  </a:cubicBezTo>
                  <a:lnTo>
                    <a:pt x="52637" y="81337"/>
                  </a:lnTo>
                  <a:cubicBezTo>
                    <a:pt x="52637" y="89255"/>
                    <a:pt x="59428" y="96093"/>
                    <a:pt x="67291" y="96093"/>
                  </a:cubicBezTo>
                  <a:cubicBezTo>
                    <a:pt x="75511" y="96093"/>
                    <a:pt x="81944" y="89255"/>
                    <a:pt x="81944" y="81337"/>
                  </a:cubicBezTo>
                  <a:lnTo>
                    <a:pt x="81944" y="34190"/>
                  </a:lnTo>
                  <a:cubicBezTo>
                    <a:pt x="81944" y="25913"/>
                    <a:pt x="75511" y="19434"/>
                    <a:pt x="67291" y="19434"/>
                  </a:cubicBezTo>
                  <a:close/>
                  <a:moveTo>
                    <a:pt x="67291" y="0"/>
                  </a:moveTo>
                  <a:cubicBezTo>
                    <a:pt x="86232" y="0"/>
                    <a:pt x="101243" y="15476"/>
                    <a:pt x="101243" y="34190"/>
                  </a:cubicBezTo>
                  <a:lnTo>
                    <a:pt x="101243" y="81337"/>
                  </a:lnTo>
                  <a:cubicBezTo>
                    <a:pt x="101243" y="100051"/>
                    <a:pt x="86232" y="115527"/>
                    <a:pt x="67291" y="115527"/>
                  </a:cubicBezTo>
                  <a:cubicBezTo>
                    <a:pt x="48706" y="115527"/>
                    <a:pt x="33338" y="100051"/>
                    <a:pt x="33338" y="81337"/>
                  </a:cubicBezTo>
                  <a:lnTo>
                    <a:pt x="33338" y="34190"/>
                  </a:lnTo>
                  <a:cubicBezTo>
                    <a:pt x="33338" y="15476"/>
                    <a:pt x="48706" y="0"/>
                    <a:pt x="6729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D32B404-243A-3944-88EB-C50D14EE647C}"/>
                </a:ext>
              </a:extLst>
            </p:cNvPr>
            <p:cNvSpPr txBox="1"/>
            <p:nvPr/>
          </p:nvSpPr>
          <p:spPr>
            <a:xfrm>
              <a:off x="7230315" y="2530676"/>
              <a:ext cx="1925527" cy="338554"/>
            </a:xfrm>
            <a:prstGeom prst="rect">
              <a:avLst/>
            </a:prstGeom>
            <a:noFill/>
          </p:spPr>
          <p:txBody>
            <a:bodyPr wrap="none" rtlCol="0" anchor="b" anchorCtr="0">
              <a:sp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  <a:latin typeface="Poppins" pitchFamily="2" charset="77"/>
                  <a:ea typeface="League Spartan" charset="0"/>
                  <a:cs typeface="Poppins" pitchFamily="2" charset="77"/>
                </a:rPr>
                <a:t>Size of Workload</a:t>
              </a:r>
            </a:p>
          </p:txBody>
        </p:sp>
        <p:sp>
          <p:nvSpPr>
            <p:cNvPr id="119" name="Subtitle 2">
              <a:extLst>
                <a:ext uri="{FF2B5EF4-FFF2-40B4-BE49-F238E27FC236}">
                  <a16:creationId xmlns:a16="http://schemas.microsoft.com/office/drawing/2014/main" id="{10E45C4C-AB79-5E4F-814A-6CC5B18335D9}"/>
                </a:ext>
              </a:extLst>
            </p:cNvPr>
            <p:cNvSpPr txBox="1">
              <a:spLocks/>
            </p:cNvSpPr>
            <p:nvPr/>
          </p:nvSpPr>
          <p:spPr>
            <a:xfrm>
              <a:off x="7230315" y="2919592"/>
              <a:ext cx="4142214" cy="252057"/>
            </a:xfrm>
            <a:prstGeom prst="rect">
              <a:avLst/>
            </a:prstGeom>
          </p:spPr>
          <p:txBody>
            <a:bodyPr vert="horz" wrap="square" lIns="45720" tIns="22860" rIns="45720" bIns="2286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1750"/>
                </a:lnSpc>
              </a:pPr>
              <a:r>
                <a:rPr lang="en-US" sz="1200" dirty="0">
                  <a:solidFill>
                    <a:schemeClr val="tx1"/>
                  </a:solidFill>
                  <a:latin typeface="Lato Light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ize of workload is important for tunning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C96222B-54F7-AD45-A3F0-D3896B44B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7428" y="2600683"/>
              <a:ext cx="786384" cy="78638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624">
              <a:extLst>
                <a:ext uri="{FF2B5EF4-FFF2-40B4-BE49-F238E27FC236}">
                  <a16:creationId xmlns:a16="http://schemas.microsoft.com/office/drawing/2014/main" id="{DC775D82-B21D-4F4A-A07F-4A604FC3C3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93076" y="2884245"/>
              <a:ext cx="395089" cy="241869"/>
            </a:xfrm>
            <a:custGeom>
              <a:avLst/>
              <a:gdLst>
                <a:gd name="T0" fmla="*/ 1228470 w 169501"/>
                <a:gd name="T1" fmla="*/ 434138 h 104417"/>
                <a:gd name="T2" fmla="*/ 1401228 w 169501"/>
                <a:gd name="T3" fmla="*/ 608950 h 104417"/>
                <a:gd name="T4" fmla="*/ 1401228 w 169501"/>
                <a:gd name="T5" fmla="*/ 1236931 h 104417"/>
                <a:gd name="T6" fmla="*/ 1228470 w 169501"/>
                <a:gd name="T7" fmla="*/ 1411734 h 104417"/>
                <a:gd name="T8" fmla="*/ 1055715 w 169501"/>
                <a:gd name="T9" fmla="*/ 1236931 h 104417"/>
                <a:gd name="T10" fmla="*/ 1055715 w 169501"/>
                <a:gd name="T11" fmla="*/ 608950 h 104417"/>
                <a:gd name="T12" fmla="*/ 1228470 w 169501"/>
                <a:gd name="T13" fmla="*/ 434138 h 104417"/>
                <a:gd name="T14" fmla="*/ 682327 w 169501"/>
                <a:gd name="T15" fmla="*/ 434138 h 104417"/>
                <a:gd name="T16" fmla="*/ 872942 w 169501"/>
                <a:gd name="T17" fmla="*/ 608950 h 104417"/>
                <a:gd name="T18" fmla="*/ 872942 w 169501"/>
                <a:gd name="T19" fmla="*/ 1236931 h 104417"/>
                <a:gd name="T20" fmla="*/ 682327 w 169501"/>
                <a:gd name="T21" fmla="*/ 1411734 h 104417"/>
                <a:gd name="T22" fmla="*/ 498525 w 169501"/>
                <a:gd name="T23" fmla="*/ 1236931 h 104417"/>
                <a:gd name="T24" fmla="*/ 498525 w 169501"/>
                <a:gd name="T25" fmla="*/ 608950 h 104417"/>
                <a:gd name="T26" fmla="*/ 682327 w 169501"/>
                <a:gd name="T27" fmla="*/ 434138 h 104417"/>
                <a:gd name="T28" fmla="*/ 367182 w 169501"/>
                <a:gd name="T29" fmla="*/ 352060 h 104417"/>
                <a:gd name="T30" fmla="*/ 367182 w 169501"/>
                <a:gd name="T31" fmla="*/ 1551663 h 104417"/>
                <a:gd name="T32" fmla="*/ 2536941 w 169501"/>
                <a:gd name="T33" fmla="*/ 1551663 h 104417"/>
                <a:gd name="T34" fmla="*/ 2536941 w 169501"/>
                <a:gd name="T35" fmla="*/ 1290896 h 104417"/>
                <a:gd name="T36" fmla="*/ 2683818 w 169501"/>
                <a:gd name="T37" fmla="*/ 1108335 h 104417"/>
                <a:gd name="T38" fmla="*/ 2763934 w 169501"/>
                <a:gd name="T39" fmla="*/ 1108335 h 104417"/>
                <a:gd name="T40" fmla="*/ 2763934 w 169501"/>
                <a:gd name="T41" fmla="*/ 749755 h 104417"/>
                <a:gd name="T42" fmla="*/ 2683818 w 169501"/>
                <a:gd name="T43" fmla="*/ 749755 h 104417"/>
                <a:gd name="T44" fmla="*/ 2536941 w 169501"/>
                <a:gd name="T45" fmla="*/ 586776 h 104417"/>
                <a:gd name="T46" fmla="*/ 2536941 w 169501"/>
                <a:gd name="T47" fmla="*/ 352060 h 104417"/>
                <a:gd name="T48" fmla="*/ 166901 w 169501"/>
                <a:gd name="T49" fmla="*/ 0 h 104417"/>
                <a:gd name="T50" fmla="*/ 2683818 w 169501"/>
                <a:gd name="T51" fmla="*/ 0 h 104417"/>
                <a:gd name="T52" fmla="*/ 2904140 w 169501"/>
                <a:gd name="T53" fmla="*/ 169499 h 104417"/>
                <a:gd name="T54" fmla="*/ 2904140 w 169501"/>
                <a:gd name="T55" fmla="*/ 397696 h 104417"/>
                <a:gd name="T56" fmla="*/ 2897475 w 169501"/>
                <a:gd name="T57" fmla="*/ 397696 h 104417"/>
                <a:gd name="T58" fmla="*/ 3131133 w 169501"/>
                <a:gd name="T59" fmla="*/ 586776 h 104417"/>
                <a:gd name="T60" fmla="*/ 3131133 w 169501"/>
                <a:gd name="T61" fmla="*/ 1290896 h 104417"/>
                <a:gd name="T62" fmla="*/ 2897475 w 169501"/>
                <a:gd name="T63" fmla="*/ 1460395 h 104417"/>
                <a:gd name="T64" fmla="*/ 2904140 w 169501"/>
                <a:gd name="T65" fmla="*/ 1460395 h 104417"/>
                <a:gd name="T66" fmla="*/ 2904140 w 169501"/>
                <a:gd name="T67" fmla="*/ 1714659 h 104417"/>
                <a:gd name="T68" fmla="*/ 2683818 w 169501"/>
                <a:gd name="T69" fmla="*/ 1903723 h 104417"/>
                <a:gd name="T70" fmla="*/ 166901 w 169501"/>
                <a:gd name="T71" fmla="*/ 1903723 h 104417"/>
                <a:gd name="T72" fmla="*/ 0 w 169501"/>
                <a:gd name="T73" fmla="*/ 1714659 h 104417"/>
                <a:gd name="T74" fmla="*/ 0 w 169501"/>
                <a:gd name="T75" fmla="*/ 169499 h 104417"/>
                <a:gd name="T76" fmla="*/ 166901 w 169501"/>
                <a:gd name="T77" fmla="*/ 0 h 1044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9501" h="104417">
                  <a:moveTo>
                    <a:pt x="66502" y="23812"/>
                  </a:moveTo>
                  <a:cubicBezTo>
                    <a:pt x="71351" y="23812"/>
                    <a:pt x="75854" y="28073"/>
                    <a:pt x="75854" y="33400"/>
                  </a:cubicBezTo>
                  <a:lnTo>
                    <a:pt x="75854" y="67844"/>
                  </a:lnTo>
                  <a:cubicBezTo>
                    <a:pt x="75854" y="73171"/>
                    <a:pt x="71351" y="77432"/>
                    <a:pt x="66502" y="77432"/>
                  </a:cubicBezTo>
                  <a:cubicBezTo>
                    <a:pt x="61307" y="77432"/>
                    <a:pt x="57150" y="73171"/>
                    <a:pt x="57150" y="67844"/>
                  </a:cubicBezTo>
                  <a:lnTo>
                    <a:pt x="57150" y="33400"/>
                  </a:lnTo>
                  <a:cubicBezTo>
                    <a:pt x="57150" y="28073"/>
                    <a:pt x="61307" y="23812"/>
                    <a:pt x="66502" y="23812"/>
                  </a:cubicBezTo>
                  <a:close/>
                  <a:moveTo>
                    <a:pt x="36937" y="23812"/>
                  </a:moveTo>
                  <a:cubicBezTo>
                    <a:pt x="42465" y="23812"/>
                    <a:pt x="47256" y="28073"/>
                    <a:pt x="47256" y="33400"/>
                  </a:cubicBezTo>
                  <a:lnTo>
                    <a:pt x="47256" y="67844"/>
                  </a:lnTo>
                  <a:cubicBezTo>
                    <a:pt x="47256" y="73171"/>
                    <a:pt x="42465" y="77432"/>
                    <a:pt x="36937" y="77432"/>
                  </a:cubicBezTo>
                  <a:cubicBezTo>
                    <a:pt x="31409" y="77432"/>
                    <a:pt x="26987" y="73171"/>
                    <a:pt x="26987" y="67844"/>
                  </a:cubicBezTo>
                  <a:lnTo>
                    <a:pt x="26987" y="33400"/>
                  </a:lnTo>
                  <a:cubicBezTo>
                    <a:pt x="26987" y="28073"/>
                    <a:pt x="31409" y="23812"/>
                    <a:pt x="36937" y="23812"/>
                  </a:cubicBezTo>
                  <a:close/>
                  <a:moveTo>
                    <a:pt x="19877" y="19310"/>
                  </a:moveTo>
                  <a:lnTo>
                    <a:pt x="19877" y="85107"/>
                  </a:lnTo>
                  <a:lnTo>
                    <a:pt x="137335" y="85107"/>
                  </a:lnTo>
                  <a:lnTo>
                    <a:pt x="137335" y="70804"/>
                  </a:lnTo>
                  <a:cubicBezTo>
                    <a:pt x="137335" y="65797"/>
                    <a:pt x="140227" y="60791"/>
                    <a:pt x="145286" y="60791"/>
                  </a:cubicBezTo>
                  <a:lnTo>
                    <a:pt x="149623" y="60791"/>
                  </a:lnTo>
                  <a:lnTo>
                    <a:pt x="149623" y="41123"/>
                  </a:lnTo>
                  <a:lnTo>
                    <a:pt x="145286" y="41123"/>
                  </a:lnTo>
                  <a:cubicBezTo>
                    <a:pt x="140227" y="41123"/>
                    <a:pt x="137335" y="37547"/>
                    <a:pt x="137335" y="32184"/>
                  </a:cubicBezTo>
                  <a:lnTo>
                    <a:pt x="137335" y="19310"/>
                  </a:lnTo>
                  <a:lnTo>
                    <a:pt x="19877" y="19310"/>
                  </a:lnTo>
                  <a:close/>
                  <a:moveTo>
                    <a:pt x="9035" y="0"/>
                  </a:moveTo>
                  <a:lnTo>
                    <a:pt x="145286" y="0"/>
                  </a:lnTo>
                  <a:cubicBezTo>
                    <a:pt x="150708" y="0"/>
                    <a:pt x="157213" y="3933"/>
                    <a:pt x="157213" y="9297"/>
                  </a:cubicBezTo>
                  <a:lnTo>
                    <a:pt x="157213" y="21813"/>
                  </a:lnTo>
                  <a:lnTo>
                    <a:pt x="156852" y="21813"/>
                  </a:lnTo>
                  <a:cubicBezTo>
                    <a:pt x="162634" y="21813"/>
                    <a:pt x="169501" y="27177"/>
                    <a:pt x="169501" y="32184"/>
                  </a:cubicBezTo>
                  <a:lnTo>
                    <a:pt x="169501" y="70804"/>
                  </a:lnTo>
                  <a:cubicBezTo>
                    <a:pt x="169501" y="76168"/>
                    <a:pt x="162634" y="80101"/>
                    <a:pt x="156852" y="80101"/>
                  </a:cubicBezTo>
                  <a:lnTo>
                    <a:pt x="157213" y="80101"/>
                  </a:lnTo>
                  <a:lnTo>
                    <a:pt x="157213" y="94047"/>
                  </a:lnTo>
                  <a:cubicBezTo>
                    <a:pt x="157213" y="99411"/>
                    <a:pt x="150708" y="104417"/>
                    <a:pt x="145286" y="104417"/>
                  </a:cubicBezTo>
                  <a:lnTo>
                    <a:pt x="9035" y="104417"/>
                  </a:lnTo>
                  <a:cubicBezTo>
                    <a:pt x="3252" y="104417"/>
                    <a:pt x="0" y="99411"/>
                    <a:pt x="0" y="94047"/>
                  </a:cubicBezTo>
                  <a:lnTo>
                    <a:pt x="0" y="9297"/>
                  </a:lnTo>
                  <a:cubicBezTo>
                    <a:pt x="0" y="3933"/>
                    <a:pt x="3252" y="0"/>
                    <a:pt x="90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9FEC83C-FB7B-E840-91D3-91F27FCB1190}"/>
              </a:ext>
            </a:extLst>
          </p:cNvPr>
          <p:cNvGrpSpPr/>
          <p:nvPr/>
        </p:nvGrpSpPr>
        <p:grpSpPr>
          <a:xfrm>
            <a:off x="432000" y="1440000"/>
            <a:ext cx="5040000" cy="4320000"/>
            <a:chOff x="1484788" y="2873431"/>
            <a:chExt cx="13116267" cy="10080569"/>
          </a:xfrm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DCD6F016-7068-4644-BC59-43B7F82E5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788" y="3827908"/>
              <a:ext cx="11602745" cy="8530323"/>
            </a:xfrm>
            <a:custGeom>
              <a:avLst/>
              <a:gdLst>
                <a:gd name="connsiteX0" fmla="*/ 9801527 w 10714073"/>
                <a:gd name="connsiteY0" fmla="*/ 0 h 7876973"/>
                <a:gd name="connsiteX1" fmla="*/ 10714073 w 10714073"/>
                <a:gd name="connsiteY1" fmla="*/ 911795 h 7876973"/>
                <a:gd name="connsiteX2" fmla="*/ 5730676 w 10714073"/>
                <a:gd name="connsiteY2" fmla="*/ 5894014 h 7876973"/>
                <a:gd name="connsiteX3" fmla="*/ 5485719 w 10714073"/>
                <a:gd name="connsiteY3" fmla="*/ 6139598 h 7876973"/>
                <a:gd name="connsiteX4" fmla="*/ 4961839 w 10714073"/>
                <a:gd name="connsiteY4" fmla="*/ 6662770 h 7876973"/>
                <a:gd name="connsiteX5" fmla="*/ 3748161 w 10714073"/>
                <a:gd name="connsiteY5" fmla="*/ 7876973 h 7876973"/>
                <a:gd name="connsiteX6" fmla="*/ 0 w 10714073"/>
                <a:gd name="connsiteY6" fmla="*/ 4128553 h 7876973"/>
                <a:gd name="connsiteX7" fmla="*/ 911238 w 10714073"/>
                <a:gd name="connsiteY7" fmla="*/ 3217410 h 7876973"/>
                <a:gd name="connsiteX8" fmla="*/ 2027587 w 10714073"/>
                <a:gd name="connsiteY8" fmla="*/ 4332988 h 7876973"/>
                <a:gd name="connsiteX9" fmla="*/ 3100170 w 10714073"/>
                <a:gd name="connsiteY9" fmla="*/ 5405458 h 7876973"/>
                <a:gd name="connsiteX10" fmla="*/ 3748161 w 10714073"/>
                <a:gd name="connsiteY10" fmla="*/ 6053382 h 7876973"/>
                <a:gd name="connsiteX11" fmla="*/ 4396153 w 10714073"/>
                <a:gd name="connsiteY11" fmla="*/ 5405458 h 7876973"/>
                <a:gd name="connsiteX12" fmla="*/ 8343546 w 10714073"/>
                <a:gd name="connsiteY12" fmla="*/ 1457828 h 787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14073" h="7876973">
                  <a:moveTo>
                    <a:pt x="9801527" y="0"/>
                  </a:moveTo>
                  <a:lnTo>
                    <a:pt x="10714073" y="911795"/>
                  </a:lnTo>
                  <a:lnTo>
                    <a:pt x="5730676" y="5894014"/>
                  </a:lnTo>
                  <a:lnTo>
                    <a:pt x="5485719" y="6139598"/>
                  </a:lnTo>
                  <a:lnTo>
                    <a:pt x="4961839" y="6662770"/>
                  </a:lnTo>
                  <a:lnTo>
                    <a:pt x="3748161" y="7876973"/>
                  </a:lnTo>
                  <a:lnTo>
                    <a:pt x="0" y="4128553"/>
                  </a:lnTo>
                  <a:lnTo>
                    <a:pt x="911238" y="3217410"/>
                  </a:lnTo>
                  <a:lnTo>
                    <a:pt x="2027587" y="4332988"/>
                  </a:lnTo>
                  <a:lnTo>
                    <a:pt x="3100170" y="5405458"/>
                  </a:lnTo>
                  <a:lnTo>
                    <a:pt x="3748161" y="6053382"/>
                  </a:lnTo>
                  <a:lnTo>
                    <a:pt x="4396153" y="5405458"/>
                  </a:lnTo>
                  <a:lnTo>
                    <a:pt x="8343546" y="145782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4A68C7-6DC4-4C41-8216-A89557BB3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0710" y="5406227"/>
              <a:ext cx="7186654" cy="5071831"/>
            </a:xfrm>
            <a:custGeom>
              <a:avLst/>
              <a:gdLst>
                <a:gd name="T0" fmla="*/ 10161 w 10162"/>
                <a:gd name="T1" fmla="*/ 516 h 7169"/>
                <a:gd name="T2" fmla="*/ 10161 w 10162"/>
                <a:gd name="T3" fmla="*/ 2301 h 7169"/>
                <a:gd name="T4" fmla="*/ 5294 w 10162"/>
                <a:gd name="T5" fmla="*/ 7168 h 7169"/>
                <a:gd name="T6" fmla="*/ 517 w 10162"/>
                <a:gd name="T7" fmla="*/ 7168 h 7169"/>
                <a:gd name="T8" fmla="*/ 517 w 10162"/>
                <a:gd name="T9" fmla="*/ 7168 h 7169"/>
                <a:gd name="T10" fmla="*/ 0 w 10162"/>
                <a:gd name="T11" fmla="*/ 6651 h 7169"/>
                <a:gd name="T12" fmla="*/ 0 w 10162"/>
                <a:gd name="T13" fmla="*/ 516 h 7169"/>
                <a:gd name="T14" fmla="*/ 0 w 10162"/>
                <a:gd name="T15" fmla="*/ 516 h 7169"/>
                <a:gd name="T16" fmla="*/ 517 w 10162"/>
                <a:gd name="T17" fmla="*/ 0 h 7169"/>
                <a:gd name="T18" fmla="*/ 9644 w 10162"/>
                <a:gd name="T19" fmla="*/ 0 h 7169"/>
                <a:gd name="T20" fmla="*/ 9644 w 10162"/>
                <a:gd name="T21" fmla="*/ 0 h 7169"/>
                <a:gd name="T22" fmla="*/ 9669 w 10162"/>
                <a:gd name="T23" fmla="*/ 0 h 7169"/>
                <a:gd name="T24" fmla="*/ 9669 w 10162"/>
                <a:gd name="T25" fmla="*/ 0 h 7169"/>
                <a:gd name="T26" fmla="*/ 10161 w 10162"/>
                <a:gd name="T27" fmla="*/ 516 h 7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62" h="7169">
                  <a:moveTo>
                    <a:pt x="10161" y="516"/>
                  </a:moveTo>
                  <a:lnTo>
                    <a:pt x="10161" y="2301"/>
                  </a:lnTo>
                  <a:lnTo>
                    <a:pt x="5294" y="7168"/>
                  </a:lnTo>
                  <a:lnTo>
                    <a:pt x="517" y="7168"/>
                  </a:lnTo>
                  <a:lnTo>
                    <a:pt x="517" y="7168"/>
                  </a:lnTo>
                  <a:cubicBezTo>
                    <a:pt x="231" y="7168"/>
                    <a:pt x="0" y="6936"/>
                    <a:pt x="0" y="6651"/>
                  </a:cubicBezTo>
                  <a:lnTo>
                    <a:pt x="0" y="516"/>
                  </a:lnTo>
                  <a:lnTo>
                    <a:pt x="0" y="516"/>
                  </a:lnTo>
                  <a:cubicBezTo>
                    <a:pt x="0" y="231"/>
                    <a:pt x="231" y="0"/>
                    <a:pt x="517" y="0"/>
                  </a:cubicBezTo>
                  <a:lnTo>
                    <a:pt x="9644" y="0"/>
                  </a:lnTo>
                  <a:lnTo>
                    <a:pt x="9644" y="0"/>
                  </a:lnTo>
                  <a:cubicBezTo>
                    <a:pt x="9653" y="0"/>
                    <a:pt x="9661" y="0"/>
                    <a:pt x="9669" y="0"/>
                  </a:cubicBezTo>
                  <a:lnTo>
                    <a:pt x="9669" y="0"/>
                  </a:lnTo>
                  <a:cubicBezTo>
                    <a:pt x="9944" y="13"/>
                    <a:pt x="10161" y="239"/>
                    <a:pt x="10161" y="51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A76E31E-6B9C-F041-BFD6-504FF5F8E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440" y="4866602"/>
              <a:ext cx="6625196" cy="4816056"/>
            </a:xfrm>
            <a:custGeom>
              <a:avLst/>
              <a:gdLst>
                <a:gd name="T0" fmla="*/ 9365 w 9366"/>
                <a:gd name="T1" fmla="*/ 0 h 6808"/>
                <a:gd name="T2" fmla="*/ 9365 w 9366"/>
                <a:gd name="T3" fmla="*/ 3462 h 6808"/>
                <a:gd name="T4" fmla="*/ 6018 w 9366"/>
                <a:gd name="T5" fmla="*/ 6807 h 6808"/>
                <a:gd name="T6" fmla="*/ 0 w 9366"/>
                <a:gd name="T7" fmla="*/ 6807 h 6808"/>
                <a:gd name="T8" fmla="*/ 0 w 9366"/>
                <a:gd name="T9" fmla="*/ 0 h 6808"/>
                <a:gd name="T10" fmla="*/ 9365 w 9366"/>
                <a:gd name="T11" fmla="*/ 0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66" h="6808">
                  <a:moveTo>
                    <a:pt x="9365" y="0"/>
                  </a:moveTo>
                  <a:lnTo>
                    <a:pt x="9365" y="3462"/>
                  </a:lnTo>
                  <a:lnTo>
                    <a:pt x="6018" y="6807"/>
                  </a:lnTo>
                  <a:lnTo>
                    <a:pt x="0" y="6807"/>
                  </a:lnTo>
                  <a:lnTo>
                    <a:pt x="0" y="0"/>
                  </a:lnTo>
                  <a:lnTo>
                    <a:pt x="9365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7862E081-1CC6-2C43-9ACB-5456671A9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440" y="4866604"/>
              <a:ext cx="6625196" cy="583292"/>
            </a:xfrm>
            <a:custGeom>
              <a:avLst/>
              <a:gdLst>
                <a:gd name="T0" fmla="*/ 0 w 9366"/>
                <a:gd name="T1" fmla="*/ 822 h 823"/>
                <a:gd name="T2" fmla="*/ 9365 w 9366"/>
                <a:gd name="T3" fmla="*/ 822 h 823"/>
                <a:gd name="T4" fmla="*/ 9365 w 9366"/>
                <a:gd name="T5" fmla="*/ 0 h 823"/>
                <a:gd name="T6" fmla="*/ 0 w 9366"/>
                <a:gd name="T7" fmla="*/ 0 h 823"/>
                <a:gd name="T8" fmla="*/ 0 w 9366"/>
                <a:gd name="T9" fmla="*/ 822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66" h="823">
                  <a:moveTo>
                    <a:pt x="0" y="822"/>
                  </a:moveTo>
                  <a:lnTo>
                    <a:pt x="9365" y="822"/>
                  </a:lnTo>
                  <a:lnTo>
                    <a:pt x="9365" y="0"/>
                  </a:lnTo>
                  <a:lnTo>
                    <a:pt x="0" y="0"/>
                  </a:lnTo>
                  <a:lnTo>
                    <a:pt x="0" y="82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7C35580-8ADD-D949-A744-9953C8E01F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9048" y="5047518"/>
              <a:ext cx="945121" cy="221464"/>
            </a:xfrm>
            <a:custGeom>
              <a:avLst/>
              <a:gdLst>
                <a:gd name="T0" fmla="*/ 1195 w 1337"/>
                <a:gd name="T1" fmla="*/ 311 h 312"/>
                <a:gd name="T2" fmla="*/ 140 w 1337"/>
                <a:gd name="T3" fmla="*/ 311 h 312"/>
                <a:gd name="T4" fmla="*/ 140 w 1337"/>
                <a:gd name="T5" fmla="*/ 311 h 312"/>
                <a:gd name="T6" fmla="*/ 0 w 1337"/>
                <a:gd name="T7" fmla="*/ 170 h 312"/>
                <a:gd name="T8" fmla="*/ 0 w 1337"/>
                <a:gd name="T9" fmla="*/ 140 h 312"/>
                <a:gd name="T10" fmla="*/ 0 w 1337"/>
                <a:gd name="T11" fmla="*/ 140 h 312"/>
                <a:gd name="T12" fmla="*/ 140 w 1337"/>
                <a:gd name="T13" fmla="*/ 0 h 312"/>
                <a:gd name="T14" fmla="*/ 1195 w 1337"/>
                <a:gd name="T15" fmla="*/ 0 h 312"/>
                <a:gd name="T16" fmla="*/ 1195 w 1337"/>
                <a:gd name="T17" fmla="*/ 0 h 312"/>
                <a:gd name="T18" fmla="*/ 1336 w 1337"/>
                <a:gd name="T19" fmla="*/ 140 h 312"/>
                <a:gd name="T20" fmla="*/ 1336 w 1337"/>
                <a:gd name="T21" fmla="*/ 170 h 312"/>
                <a:gd name="T22" fmla="*/ 1336 w 1337"/>
                <a:gd name="T23" fmla="*/ 170 h 312"/>
                <a:gd name="T24" fmla="*/ 1195 w 1337"/>
                <a:gd name="T25" fmla="*/ 311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7" h="312">
                  <a:moveTo>
                    <a:pt x="1195" y="311"/>
                  </a:moveTo>
                  <a:lnTo>
                    <a:pt x="140" y="311"/>
                  </a:lnTo>
                  <a:lnTo>
                    <a:pt x="140" y="311"/>
                  </a:lnTo>
                  <a:cubicBezTo>
                    <a:pt x="63" y="311"/>
                    <a:pt x="0" y="248"/>
                    <a:pt x="0" y="170"/>
                  </a:cubicBezTo>
                  <a:lnTo>
                    <a:pt x="0" y="140"/>
                  </a:lnTo>
                  <a:lnTo>
                    <a:pt x="0" y="140"/>
                  </a:lnTo>
                  <a:cubicBezTo>
                    <a:pt x="0" y="63"/>
                    <a:pt x="63" y="0"/>
                    <a:pt x="140" y="0"/>
                  </a:cubicBezTo>
                  <a:lnTo>
                    <a:pt x="1195" y="0"/>
                  </a:lnTo>
                  <a:lnTo>
                    <a:pt x="1195" y="0"/>
                  </a:lnTo>
                  <a:cubicBezTo>
                    <a:pt x="1273" y="0"/>
                    <a:pt x="1336" y="63"/>
                    <a:pt x="1336" y="140"/>
                  </a:cubicBezTo>
                  <a:lnTo>
                    <a:pt x="1336" y="170"/>
                  </a:lnTo>
                  <a:lnTo>
                    <a:pt x="1336" y="170"/>
                  </a:lnTo>
                  <a:cubicBezTo>
                    <a:pt x="1336" y="248"/>
                    <a:pt x="1273" y="311"/>
                    <a:pt x="1195" y="311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E5CC529-5FE5-C24D-851C-F8F9A1489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3604" y="10019533"/>
              <a:ext cx="3118" cy="3120"/>
            </a:xfrm>
            <a:custGeom>
              <a:avLst/>
              <a:gdLst>
                <a:gd name="T0" fmla="*/ 1 w 3"/>
                <a:gd name="T1" fmla="*/ 0 h 2"/>
                <a:gd name="T2" fmla="*/ 1 w 3"/>
                <a:gd name="T3" fmla="*/ 0 h 2"/>
                <a:gd name="T4" fmla="*/ 2 w 3"/>
                <a:gd name="T5" fmla="*/ 0 h 2"/>
                <a:gd name="T6" fmla="*/ 2 w 3"/>
                <a:gd name="T7" fmla="*/ 0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1" y="0"/>
                  </a:lnTo>
                  <a:cubicBezTo>
                    <a:pt x="2" y="0"/>
                    <a:pt x="2" y="0"/>
                    <a:pt x="2" y="0"/>
                  </a:cubicBezTo>
                  <a:lnTo>
                    <a:pt x="2" y="0"/>
                  </a:lnTo>
                  <a:cubicBezTo>
                    <a:pt x="0" y="1"/>
                    <a:pt x="0" y="1"/>
                    <a:pt x="1" y="0"/>
                  </a:cubicBezTo>
                </a:path>
              </a:pathLst>
            </a:custGeom>
            <a:solidFill>
              <a:srgbClr val="32365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A711A8B-F6E1-344E-9EC8-C20987F7C053}"/>
                </a:ext>
              </a:extLst>
            </p:cNvPr>
            <p:cNvGrpSpPr/>
            <p:nvPr/>
          </p:nvGrpSpPr>
          <p:grpSpPr>
            <a:xfrm>
              <a:off x="9884204" y="8423199"/>
              <a:ext cx="1786124" cy="1044712"/>
              <a:chOff x="11022943" y="7663677"/>
              <a:chExt cx="610625" cy="357157"/>
            </a:xfrm>
          </p:grpSpPr>
          <p:sp>
            <p:nvSpPr>
              <p:cNvPr id="101" name="Freeform 100">
                <a:extLst>
                  <a:ext uri="{FF2B5EF4-FFF2-40B4-BE49-F238E27FC236}">
                    <a16:creationId xmlns:a16="http://schemas.microsoft.com/office/drawing/2014/main" id="{324D626A-04B4-5C48-9720-5789E68947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4" y="7663677"/>
                <a:ext cx="610624" cy="357157"/>
              </a:xfrm>
              <a:custGeom>
                <a:avLst/>
                <a:gdLst>
                  <a:gd name="T0" fmla="*/ 0 w 936"/>
                  <a:gd name="T1" fmla="*/ 544 h 545"/>
                  <a:gd name="T2" fmla="*/ 935 w 936"/>
                  <a:gd name="T3" fmla="*/ 21 h 545"/>
                  <a:gd name="T4" fmla="*/ 613 w 936"/>
                  <a:gd name="T5" fmla="*/ 0 h 545"/>
                  <a:gd name="T6" fmla="*/ 0 w 936"/>
                  <a:gd name="T7" fmla="*/ 544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6" h="545">
                    <a:moveTo>
                      <a:pt x="0" y="544"/>
                    </a:moveTo>
                    <a:lnTo>
                      <a:pt x="935" y="21"/>
                    </a:lnTo>
                    <a:lnTo>
                      <a:pt x="613" y="0"/>
                    </a:lnTo>
                    <a:lnTo>
                      <a:pt x="0" y="544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6CDE04A1-27CA-FB4E-B550-FC55BDEB53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4" y="7712643"/>
                <a:ext cx="345636" cy="308191"/>
              </a:xfrm>
              <a:custGeom>
                <a:avLst/>
                <a:gdLst>
                  <a:gd name="T0" fmla="*/ 0 w 530"/>
                  <a:gd name="T1" fmla="*/ 469 h 470"/>
                  <a:gd name="T2" fmla="*/ 287 w 530"/>
                  <a:gd name="T3" fmla="*/ 6 h 470"/>
                  <a:gd name="T4" fmla="*/ 529 w 530"/>
                  <a:gd name="T5" fmla="*/ 0 h 470"/>
                  <a:gd name="T6" fmla="*/ 0 w 530"/>
                  <a:gd name="T7" fmla="*/ 469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0" h="470">
                    <a:moveTo>
                      <a:pt x="0" y="469"/>
                    </a:moveTo>
                    <a:lnTo>
                      <a:pt x="287" y="6"/>
                    </a:lnTo>
                    <a:lnTo>
                      <a:pt x="529" y="0"/>
                    </a:lnTo>
                    <a:lnTo>
                      <a:pt x="0" y="469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B0A57255-1564-CD46-A8C8-F2256A5E21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22943" y="7755848"/>
                <a:ext cx="483891" cy="262108"/>
              </a:xfrm>
              <a:custGeom>
                <a:avLst/>
                <a:gdLst>
                  <a:gd name="T0" fmla="*/ 720 w 740"/>
                  <a:gd name="T1" fmla="*/ 0 h 403"/>
                  <a:gd name="T2" fmla="*/ 739 w 740"/>
                  <a:gd name="T3" fmla="*/ 117 h 403"/>
                  <a:gd name="T4" fmla="*/ 0 w 740"/>
                  <a:gd name="T5" fmla="*/ 402 h 403"/>
                  <a:gd name="T6" fmla="*/ 720 w 740"/>
                  <a:gd name="T7" fmla="*/ 0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0" h="403">
                    <a:moveTo>
                      <a:pt x="720" y="0"/>
                    </a:moveTo>
                    <a:lnTo>
                      <a:pt x="739" y="117"/>
                    </a:lnTo>
                    <a:lnTo>
                      <a:pt x="0" y="402"/>
                    </a:lnTo>
                    <a:lnTo>
                      <a:pt x="72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48641605-040D-DB48-B1F1-4120071A9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63842" y="5259623"/>
              <a:ext cx="1232086" cy="1197775"/>
            </a:xfrm>
            <a:custGeom>
              <a:avLst/>
              <a:gdLst>
                <a:gd name="T0" fmla="*/ 1370 w 1740"/>
                <a:gd name="T1" fmla="*/ 1127 h 1693"/>
                <a:gd name="T2" fmla="*/ 1370 w 1740"/>
                <a:gd name="T3" fmla="*/ 1127 h 1693"/>
                <a:gd name="T4" fmla="*/ 782 w 1740"/>
                <a:gd name="T5" fmla="*/ 1467 h 1693"/>
                <a:gd name="T6" fmla="*/ 782 w 1740"/>
                <a:gd name="T7" fmla="*/ 1467 h 1693"/>
                <a:gd name="T8" fmla="*/ 612 w 1740"/>
                <a:gd name="T9" fmla="*/ 1427 h 1693"/>
                <a:gd name="T10" fmla="*/ 612 w 1740"/>
                <a:gd name="T11" fmla="*/ 1427 h 1693"/>
                <a:gd name="T12" fmla="*/ 575 w 1740"/>
                <a:gd name="T13" fmla="*/ 1411 h 1693"/>
                <a:gd name="T14" fmla="*/ 575 w 1740"/>
                <a:gd name="T15" fmla="*/ 1411 h 1693"/>
                <a:gd name="T16" fmla="*/ 301 w 1740"/>
                <a:gd name="T17" fmla="*/ 1149 h 1693"/>
                <a:gd name="T18" fmla="*/ 301 w 1740"/>
                <a:gd name="T19" fmla="*/ 1149 h 1693"/>
                <a:gd name="T20" fmla="*/ 291 w 1740"/>
                <a:gd name="T21" fmla="*/ 616 h 1693"/>
                <a:gd name="T22" fmla="*/ 291 w 1740"/>
                <a:gd name="T23" fmla="*/ 616 h 1693"/>
                <a:gd name="T24" fmla="*/ 396 w 1740"/>
                <a:gd name="T25" fmla="*/ 462 h 1693"/>
                <a:gd name="T26" fmla="*/ 396 w 1740"/>
                <a:gd name="T27" fmla="*/ 462 h 1693"/>
                <a:gd name="T28" fmla="*/ 1086 w 1740"/>
                <a:gd name="T29" fmla="*/ 331 h 1693"/>
                <a:gd name="T30" fmla="*/ 1086 w 1740"/>
                <a:gd name="T31" fmla="*/ 331 h 1693"/>
                <a:gd name="T32" fmla="*/ 1370 w 1740"/>
                <a:gd name="T33" fmla="*/ 1127 h 1693"/>
                <a:gd name="T34" fmla="*/ 1171 w 1740"/>
                <a:gd name="T35" fmla="*/ 152 h 1693"/>
                <a:gd name="T36" fmla="*/ 1171 w 1740"/>
                <a:gd name="T37" fmla="*/ 152 h 1693"/>
                <a:gd name="T38" fmla="*/ 250 w 1740"/>
                <a:gd name="T39" fmla="*/ 325 h 1693"/>
                <a:gd name="T40" fmla="*/ 250 w 1740"/>
                <a:gd name="T41" fmla="*/ 325 h 1693"/>
                <a:gd name="T42" fmla="*/ 111 w 1740"/>
                <a:gd name="T43" fmla="*/ 531 h 1693"/>
                <a:gd name="T44" fmla="*/ 111 w 1740"/>
                <a:gd name="T45" fmla="*/ 531 h 1693"/>
                <a:gd name="T46" fmla="*/ 125 w 1740"/>
                <a:gd name="T47" fmla="*/ 1241 h 1693"/>
                <a:gd name="T48" fmla="*/ 125 w 1740"/>
                <a:gd name="T49" fmla="*/ 1241 h 1693"/>
                <a:gd name="T50" fmla="*/ 490 w 1740"/>
                <a:gd name="T51" fmla="*/ 1592 h 1693"/>
                <a:gd name="T52" fmla="*/ 490 w 1740"/>
                <a:gd name="T53" fmla="*/ 1592 h 1693"/>
                <a:gd name="T54" fmla="*/ 539 w 1740"/>
                <a:gd name="T55" fmla="*/ 1613 h 1693"/>
                <a:gd name="T56" fmla="*/ 539 w 1740"/>
                <a:gd name="T57" fmla="*/ 1613 h 1693"/>
                <a:gd name="T58" fmla="*/ 767 w 1740"/>
                <a:gd name="T59" fmla="*/ 1666 h 1693"/>
                <a:gd name="T60" fmla="*/ 767 w 1740"/>
                <a:gd name="T61" fmla="*/ 1666 h 1693"/>
                <a:gd name="T62" fmla="*/ 1551 w 1740"/>
                <a:gd name="T63" fmla="*/ 1212 h 1693"/>
                <a:gd name="T64" fmla="*/ 1551 w 1740"/>
                <a:gd name="T65" fmla="*/ 1212 h 1693"/>
                <a:gd name="T66" fmla="*/ 1171 w 1740"/>
                <a:gd name="T67" fmla="*/ 152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40" h="1693">
                  <a:moveTo>
                    <a:pt x="1370" y="1127"/>
                  </a:moveTo>
                  <a:lnTo>
                    <a:pt x="1370" y="1127"/>
                  </a:lnTo>
                  <a:cubicBezTo>
                    <a:pt x="1261" y="1358"/>
                    <a:pt x="1023" y="1487"/>
                    <a:pt x="782" y="1467"/>
                  </a:cubicBezTo>
                  <a:lnTo>
                    <a:pt x="782" y="1467"/>
                  </a:lnTo>
                  <a:cubicBezTo>
                    <a:pt x="725" y="1463"/>
                    <a:pt x="668" y="1450"/>
                    <a:pt x="612" y="1427"/>
                  </a:cubicBezTo>
                  <a:lnTo>
                    <a:pt x="612" y="1427"/>
                  </a:lnTo>
                  <a:cubicBezTo>
                    <a:pt x="600" y="1423"/>
                    <a:pt x="587" y="1417"/>
                    <a:pt x="575" y="1411"/>
                  </a:cubicBezTo>
                  <a:lnTo>
                    <a:pt x="575" y="1411"/>
                  </a:lnTo>
                  <a:cubicBezTo>
                    <a:pt x="453" y="1354"/>
                    <a:pt x="359" y="1260"/>
                    <a:pt x="301" y="1149"/>
                  </a:cubicBezTo>
                  <a:lnTo>
                    <a:pt x="301" y="1149"/>
                  </a:lnTo>
                  <a:cubicBezTo>
                    <a:pt x="217" y="989"/>
                    <a:pt x="207" y="792"/>
                    <a:pt x="291" y="616"/>
                  </a:cubicBezTo>
                  <a:lnTo>
                    <a:pt x="291" y="616"/>
                  </a:lnTo>
                  <a:cubicBezTo>
                    <a:pt x="318" y="558"/>
                    <a:pt x="354" y="506"/>
                    <a:pt x="396" y="462"/>
                  </a:cubicBezTo>
                  <a:lnTo>
                    <a:pt x="396" y="462"/>
                  </a:lnTo>
                  <a:cubicBezTo>
                    <a:pt x="569" y="279"/>
                    <a:pt x="846" y="218"/>
                    <a:pt x="1086" y="331"/>
                  </a:cubicBezTo>
                  <a:lnTo>
                    <a:pt x="1086" y="331"/>
                  </a:lnTo>
                  <a:cubicBezTo>
                    <a:pt x="1384" y="473"/>
                    <a:pt x="1512" y="829"/>
                    <a:pt x="1370" y="1127"/>
                  </a:cubicBezTo>
                  <a:close/>
                  <a:moveTo>
                    <a:pt x="1171" y="152"/>
                  </a:moveTo>
                  <a:lnTo>
                    <a:pt x="1171" y="152"/>
                  </a:lnTo>
                  <a:cubicBezTo>
                    <a:pt x="851" y="0"/>
                    <a:pt x="481" y="81"/>
                    <a:pt x="250" y="325"/>
                  </a:cubicBezTo>
                  <a:lnTo>
                    <a:pt x="250" y="325"/>
                  </a:lnTo>
                  <a:cubicBezTo>
                    <a:pt x="194" y="384"/>
                    <a:pt x="147" y="453"/>
                    <a:pt x="111" y="531"/>
                  </a:cubicBezTo>
                  <a:lnTo>
                    <a:pt x="111" y="531"/>
                  </a:lnTo>
                  <a:cubicBezTo>
                    <a:pt x="0" y="765"/>
                    <a:pt x="13" y="1027"/>
                    <a:pt x="125" y="1241"/>
                  </a:cubicBezTo>
                  <a:lnTo>
                    <a:pt x="125" y="1241"/>
                  </a:lnTo>
                  <a:cubicBezTo>
                    <a:pt x="203" y="1390"/>
                    <a:pt x="327" y="1515"/>
                    <a:pt x="490" y="1592"/>
                  </a:cubicBezTo>
                  <a:lnTo>
                    <a:pt x="490" y="1592"/>
                  </a:lnTo>
                  <a:cubicBezTo>
                    <a:pt x="506" y="1599"/>
                    <a:pt x="522" y="1607"/>
                    <a:pt x="539" y="1613"/>
                  </a:cubicBezTo>
                  <a:lnTo>
                    <a:pt x="539" y="1613"/>
                  </a:lnTo>
                  <a:cubicBezTo>
                    <a:pt x="613" y="1642"/>
                    <a:pt x="690" y="1660"/>
                    <a:pt x="767" y="1666"/>
                  </a:cubicBezTo>
                  <a:lnTo>
                    <a:pt x="767" y="1666"/>
                  </a:lnTo>
                  <a:cubicBezTo>
                    <a:pt x="1087" y="1692"/>
                    <a:pt x="1405" y="1520"/>
                    <a:pt x="1551" y="1212"/>
                  </a:cubicBezTo>
                  <a:lnTo>
                    <a:pt x="1551" y="1212"/>
                  </a:lnTo>
                  <a:cubicBezTo>
                    <a:pt x="1739" y="815"/>
                    <a:pt x="1569" y="340"/>
                    <a:pt x="1171" y="1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DFC2EE05-8EC4-424D-86D9-982DCCF97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63843" y="5490444"/>
              <a:ext cx="280728" cy="648795"/>
            </a:xfrm>
            <a:custGeom>
              <a:avLst/>
              <a:gdLst>
                <a:gd name="T0" fmla="*/ 301 w 397"/>
                <a:gd name="T1" fmla="*/ 824 h 917"/>
                <a:gd name="T2" fmla="*/ 125 w 397"/>
                <a:gd name="T3" fmla="*/ 916 h 917"/>
                <a:gd name="T4" fmla="*/ 125 w 397"/>
                <a:gd name="T5" fmla="*/ 916 h 917"/>
                <a:gd name="T6" fmla="*/ 111 w 397"/>
                <a:gd name="T7" fmla="*/ 206 h 917"/>
                <a:gd name="T8" fmla="*/ 111 w 397"/>
                <a:gd name="T9" fmla="*/ 206 h 917"/>
                <a:gd name="T10" fmla="*/ 250 w 397"/>
                <a:gd name="T11" fmla="*/ 0 h 917"/>
                <a:gd name="T12" fmla="*/ 396 w 397"/>
                <a:gd name="T13" fmla="*/ 137 h 917"/>
                <a:gd name="T14" fmla="*/ 396 w 397"/>
                <a:gd name="T15" fmla="*/ 137 h 917"/>
                <a:gd name="T16" fmla="*/ 291 w 397"/>
                <a:gd name="T17" fmla="*/ 291 h 917"/>
                <a:gd name="T18" fmla="*/ 291 w 397"/>
                <a:gd name="T19" fmla="*/ 291 h 917"/>
                <a:gd name="T20" fmla="*/ 301 w 397"/>
                <a:gd name="T21" fmla="*/ 824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7" h="917">
                  <a:moveTo>
                    <a:pt x="301" y="824"/>
                  </a:moveTo>
                  <a:lnTo>
                    <a:pt x="125" y="916"/>
                  </a:lnTo>
                  <a:lnTo>
                    <a:pt x="125" y="916"/>
                  </a:lnTo>
                  <a:cubicBezTo>
                    <a:pt x="13" y="702"/>
                    <a:pt x="0" y="440"/>
                    <a:pt x="111" y="206"/>
                  </a:cubicBezTo>
                  <a:lnTo>
                    <a:pt x="111" y="206"/>
                  </a:lnTo>
                  <a:cubicBezTo>
                    <a:pt x="147" y="128"/>
                    <a:pt x="194" y="59"/>
                    <a:pt x="250" y="0"/>
                  </a:cubicBezTo>
                  <a:lnTo>
                    <a:pt x="396" y="137"/>
                  </a:lnTo>
                  <a:lnTo>
                    <a:pt x="396" y="137"/>
                  </a:lnTo>
                  <a:cubicBezTo>
                    <a:pt x="354" y="181"/>
                    <a:pt x="318" y="233"/>
                    <a:pt x="291" y="291"/>
                  </a:cubicBezTo>
                  <a:lnTo>
                    <a:pt x="291" y="291"/>
                  </a:lnTo>
                  <a:cubicBezTo>
                    <a:pt x="207" y="467"/>
                    <a:pt x="217" y="664"/>
                    <a:pt x="301" y="82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6CBD367-8A20-434B-B0F4-E1583AC5A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51178" y="6073737"/>
              <a:ext cx="464059" cy="364245"/>
            </a:xfrm>
            <a:custGeom>
              <a:avLst/>
              <a:gdLst>
                <a:gd name="connsiteX0" fmla="*/ 115308 w 428516"/>
                <a:gd name="connsiteY0" fmla="*/ 0 h 336347"/>
                <a:gd name="connsiteX1" fmla="*/ 294818 w 428516"/>
                <a:gd name="connsiteY1" fmla="*/ 170402 h 336347"/>
                <a:gd name="connsiteX2" fmla="*/ 319058 w 428516"/>
                <a:gd name="connsiteY2" fmla="*/ 180808 h 336347"/>
                <a:gd name="connsiteX3" fmla="*/ 318726 w 428516"/>
                <a:gd name="connsiteY3" fmla="*/ 181646 h 336347"/>
                <a:gd name="connsiteX4" fmla="*/ 373086 w 428516"/>
                <a:gd name="connsiteY4" fmla="*/ 199038 h 336347"/>
                <a:gd name="connsiteX5" fmla="*/ 428516 w 428516"/>
                <a:gd name="connsiteY5" fmla="*/ 207382 h 336347"/>
                <a:gd name="connsiteX6" fmla="*/ 418778 w 428516"/>
                <a:gd name="connsiteY6" fmla="*/ 336347 h 336347"/>
                <a:gd name="connsiteX7" fmla="*/ 270750 w 428516"/>
                <a:gd name="connsiteY7" fmla="*/ 302000 h 336347"/>
                <a:gd name="connsiteX8" fmla="*/ 270892 w 428516"/>
                <a:gd name="connsiteY8" fmla="*/ 301636 h 336347"/>
                <a:gd name="connsiteX9" fmla="*/ 239130 w 428516"/>
                <a:gd name="connsiteY9" fmla="*/ 288123 h 336347"/>
                <a:gd name="connsiteX10" fmla="*/ 0 w 428516"/>
                <a:gd name="connsiteY10" fmla="*/ 59836 h 33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8516" h="336347">
                  <a:moveTo>
                    <a:pt x="115308" y="0"/>
                  </a:moveTo>
                  <a:cubicBezTo>
                    <a:pt x="153306" y="72193"/>
                    <a:pt x="214890" y="133330"/>
                    <a:pt x="294818" y="170402"/>
                  </a:cubicBezTo>
                  <a:cubicBezTo>
                    <a:pt x="302680" y="174304"/>
                    <a:pt x="311198" y="178206"/>
                    <a:pt x="319058" y="180808"/>
                  </a:cubicBezTo>
                  <a:lnTo>
                    <a:pt x="318726" y="181646"/>
                  </a:lnTo>
                  <a:lnTo>
                    <a:pt x="373086" y="199038"/>
                  </a:lnTo>
                  <a:cubicBezTo>
                    <a:pt x="391510" y="203331"/>
                    <a:pt x="410012" y="206086"/>
                    <a:pt x="428516" y="207382"/>
                  </a:cubicBezTo>
                  <a:lnTo>
                    <a:pt x="418778" y="336347"/>
                  </a:lnTo>
                  <a:cubicBezTo>
                    <a:pt x="368786" y="332459"/>
                    <a:pt x="318794" y="320794"/>
                    <a:pt x="270750" y="302000"/>
                  </a:cubicBezTo>
                  <a:lnTo>
                    <a:pt x="270892" y="301636"/>
                  </a:lnTo>
                  <a:lnTo>
                    <a:pt x="239130" y="288123"/>
                  </a:lnTo>
                  <a:cubicBezTo>
                    <a:pt x="132342" y="238043"/>
                    <a:pt x="51102" y="156744"/>
                    <a:pt x="0" y="598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EC919495-FF95-CF4E-AB62-F968AFF29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24405" y="6341990"/>
              <a:ext cx="1054292" cy="467881"/>
            </a:xfrm>
            <a:custGeom>
              <a:avLst/>
              <a:gdLst>
                <a:gd name="T0" fmla="*/ 1488 w 1489"/>
                <a:gd name="T1" fmla="*/ 660 h 661"/>
                <a:gd name="T2" fmla="*/ 0 w 1489"/>
                <a:gd name="T3" fmla="*/ 660 h 661"/>
                <a:gd name="T4" fmla="*/ 0 w 1489"/>
                <a:gd name="T5" fmla="*/ 630 h 661"/>
                <a:gd name="T6" fmla="*/ 1458 w 1489"/>
                <a:gd name="T7" fmla="*/ 630 h 661"/>
                <a:gd name="T8" fmla="*/ 1458 w 1489"/>
                <a:gd name="T9" fmla="*/ 0 h 661"/>
                <a:gd name="T10" fmla="*/ 1488 w 1489"/>
                <a:gd name="T11" fmla="*/ 0 h 661"/>
                <a:gd name="T12" fmla="*/ 1488 w 1489"/>
                <a:gd name="T13" fmla="*/ 66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9" h="661">
                  <a:moveTo>
                    <a:pt x="1488" y="660"/>
                  </a:moveTo>
                  <a:lnTo>
                    <a:pt x="0" y="660"/>
                  </a:lnTo>
                  <a:lnTo>
                    <a:pt x="0" y="630"/>
                  </a:lnTo>
                  <a:lnTo>
                    <a:pt x="1458" y="630"/>
                  </a:lnTo>
                  <a:lnTo>
                    <a:pt x="1458" y="0"/>
                  </a:lnTo>
                  <a:lnTo>
                    <a:pt x="1488" y="0"/>
                  </a:lnTo>
                  <a:lnTo>
                    <a:pt x="1488" y="66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AC35B1A9-0C34-F74B-A5FF-577CBCACF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24405" y="6572810"/>
              <a:ext cx="555219" cy="124768"/>
            </a:xfrm>
            <a:custGeom>
              <a:avLst/>
              <a:gdLst>
                <a:gd name="T0" fmla="*/ 783 w 784"/>
                <a:gd name="T1" fmla="*/ 177 h 178"/>
                <a:gd name="T2" fmla="*/ 0 w 784"/>
                <a:gd name="T3" fmla="*/ 177 h 178"/>
                <a:gd name="T4" fmla="*/ 0 w 784"/>
                <a:gd name="T5" fmla="*/ 0 h 178"/>
                <a:gd name="T6" fmla="*/ 783 w 784"/>
                <a:gd name="T7" fmla="*/ 0 h 178"/>
                <a:gd name="T8" fmla="*/ 783 w 784"/>
                <a:gd name="T9" fmla="*/ 17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178">
                  <a:moveTo>
                    <a:pt x="783" y="177"/>
                  </a:moveTo>
                  <a:lnTo>
                    <a:pt x="0" y="177"/>
                  </a:lnTo>
                  <a:lnTo>
                    <a:pt x="0" y="0"/>
                  </a:lnTo>
                  <a:lnTo>
                    <a:pt x="783" y="0"/>
                  </a:lnTo>
                  <a:lnTo>
                    <a:pt x="783" y="17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3E398860-BA2C-BD48-B7F2-4082A085E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49" y="4741835"/>
              <a:ext cx="112292" cy="729895"/>
            </a:xfrm>
            <a:custGeom>
              <a:avLst/>
              <a:gdLst>
                <a:gd name="T0" fmla="*/ 156 w 157"/>
                <a:gd name="T1" fmla="*/ 0 h 1032"/>
                <a:gd name="T2" fmla="*/ 0 w 157"/>
                <a:gd name="T3" fmla="*/ 0 h 1032"/>
                <a:gd name="T4" fmla="*/ 0 w 157"/>
                <a:gd name="T5" fmla="*/ 1031 h 1032"/>
                <a:gd name="T6" fmla="*/ 156 w 157"/>
                <a:gd name="T7" fmla="*/ 1031 h 1032"/>
                <a:gd name="T8" fmla="*/ 156 w 157"/>
                <a:gd name="T9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032">
                  <a:moveTo>
                    <a:pt x="156" y="0"/>
                  </a:moveTo>
                  <a:lnTo>
                    <a:pt x="0" y="0"/>
                  </a:lnTo>
                  <a:lnTo>
                    <a:pt x="0" y="1031"/>
                  </a:lnTo>
                  <a:lnTo>
                    <a:pt x="156" y="1031"/>
                  </a:lnTo>
                  <a:lnTo>
                    <a:pt x="15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id="{68A73316-B3CA-8243-8031-7E559EA3B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0741" y="4888437"/>
              <a:ext cx="109173" cy="583291"/>
            </a:xfrm>
            <a:custGeom>
              <a:avLst/>
              <a:gdLst>
                <a:gd name="T0" fmla="*/ 155 w 156"/>
                <a:gd name="T1" fmla="*/ 0 h 823"/>
                <a:gd name="T2" fmla="*/ 0 w 156"/>
                <a:gd name="T3" fmla="*/ 0 h 823"/>
                <a:gd name="T4" fmla="*/ 0 w 156"/>
                <a:gd name="T5" fmla="*/ 822 h 823"/>
                <a:gd name="T6" fmla="*/ 155 w 156"/>
                <a:gd name="T7" fmla="*/ 822 h 823"/>
                <a:gd name="T8" fmla="*/ 155 w 156"/>
                <a:gd name="T9" fmla="*/ 0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823">
                  <a:moveTo>
                    <a:pt x="155" y="0"/>
                  </a:moveTo>
                  <a:lnTo>
                    <a:pt x="0" y="0"/>
                  </a:lnTo>
                  <a:lnTo>
                    <a:pt x="0" y="822"/>
                  </a:lnTo>
                  <a:lnTo>
                    <a:pt x="155" y="822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9E839893-D149-0945-B605-10E4D8BC41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2112" y="4779265"/>
              <a:ext cx="109172" cy="689346"/>
            </a:xfrm>
            <a:custGeom>
              <a:avLst/>
              <a:gdLst>
                <a:gd name="T0" fmla="*/ 155 w 156"/>
                <a:gd name="T1" fmla="*/ 0 h 976"/>
                <a:gd name="T2" fmla="*/ 0 w 156"/>
                <a:gd name="T3" fmla="*/ 0 h 976"/>
                <a:gd name="T4" fmla="*/ 0 w 156"/>
                <a:gd name="T5" fmla="*/ 975 h 976"/>
                <a:gd name="T6" fmla="*/ 155 w 156"/>
                <a:gd name="T7" fmla="*/ 975 h 976"/>
                <a:gd name="T8" fmla="*/ 155 w 156"/>
                <a:gd name="T9" fmla="*/ 0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976">
                  <a:moveTo>
                    <a:pt x="155" y="0"/>
                  </a:moveTo>
                  <a:lnTo>
                    <a:pt x="0" y="0"/>
                  </a:lnTo>
                  <a:lnTo>
                    <a:pt x="0" y="975"/>
                  </a:lnTo>
                  <a:lnTo>
                    <a:pt x="155" y="975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8" name="Freeform 21">
              <a:extLst>
                <a:ext uri="{FF2B5EF4-FFF2-40B4-BE49-F238E27FC236}">
                  <a16:creationId xmlns:a16="http://schemas.microsoft.com/office/drawing/2014/main" id="{AF2C63CF-2DD2-7E46-8002-6327DA210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601" y="4994491"/>
              <a:ext cx="109172" cy="474120"/>
            </a:xfrm>
            <a:custGeom>
              <a:avLst/>
              <a:gdLst>
                <a:gd name="T0" fmla="*/ 155 w 156"/>
                <a:gd name="T1" fmla="*/ 0 h 672"/>
                <a:gd name="T2" fmla="*/ 0 w 156"/>
                <a:gd name="T3" fmla="*/ 0 h 672"/>
                <a:gd name="T4" fmla="*/ 0 w 156"/>
                <a:gd name="T5" fmla="*/ 671 h 672"/>
                <a:gd name="T6" fmla="*/ 155 w 156"/>
                <a:gd name="T7" fmla="*/ 671 h 672"/>
                <a:gd name="T8" fmla="*/ 155 w 156"/>
                <a:gd name="T9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72">
                  <a:moveTo>
                    <a:pt x="155" y="0"/>
                  </a:moveTo>
                  <a:lnTo>
                    <a:pt x="0" y="0"/>
                  </a:lnTo>
                  <a:lnTo>
                    <a:pt x="0" y="671"/>
                  </a:lnTo>
                  <a:lnTo>
                    <a:pt x="155" y="671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9" name="Freeform 22">
              <a:extLst>
                <a:ext uri="{FF2B5EF4-FFF2-40B4-BE49-F238E27FC236}">
                  <a16:creationId xmlns:a16="http://schemas.microsoft.com/office/drawing/2014/main" id="{D08BB5AD-B66F-0149-B76D-3AC4595F71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973" y="4801101"/>
              <a:ext cx="109173" cy="667511"/>
            </a:xfrm>
            <a:custGeom>
              <a:avLst/>
              <a:gdLst>
                <a:gd name="T0" fmla="*/ 155 w 156"/>
                <a:gd name="T1" fmla="*/ 0 h 945"/>
                <a:gd name="T2" fmla="*/ 0 w 156"/>
                <a:gd name="T3" fmla="*/ 0 h 945"/>
                <a:gd name="T4" fmla="*/ 0 w 156"/>
                <a:gd name="T5" fmla="*/ 944 h 945"/>
                <a:gd name="T6" fmla="*/ 155 w 156"/>
                <a:gd name="T7" fmla="*/ 944 h 945"/>
                <a:gd name="T8" fmla="*/ 155 w 156"/>
                <a:gd name="T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945">
                  <a:moveTo>
                    <a:pt x="155" y="0"/>
                  </a:moveTo>
                  <a:lnTo>
                    <a:pt x="0" y="0"/>
                  </a:lnTo>
                  <a:lnTo>
                    <a:pt x="0" y="944"/>
                  </a:lnTo>
                  <a:lnTo>
                    <a:pt x="155" y="944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0" name="Freeform 23">
              <a:extLst>
                <a:ext uri="{FF2B5EF4-FFF2-40B4-BE49-F238E27FC236}">
                  <a16:creationId xmlns:a16="http://schemas.microsoft.com/office/drawing/2014/main" id="{9BF1EA81-BC99-3241-A014-B6B500C27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2464" y="4701285"/>
              <a:ext cx="109173" cy="770443"/>
            </a:xfrm>
            <a:custGeom>
              <a:avLst/>
              <a:gdLst>
                <a:gd name="T0" fmla="*/ 155 w 156"/>
                <a:gd name="T1" fmla="*/ 0 h 1087"/>
                <a:gd name="T2" fmla="*/ 0 w 156"/>
                <a:gd name="T3" fmla="*/ 0 h 1087"/>
                <a:gd name="T4" fmla="*/ 0 w 156"/>
                <a:gd name="T5" fmla="*/ 1086 h 1087"/>
                <a:gd name="T6" fmla="*/ 155 w 156"/>
                <a:gd name="T7" fmla="*/ 1086 h 1087"/>
                <a:gd name="T8" fmla="*/ 155 w 156"/>
                <a:gd name="T9" fmla="*/ 0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087">
                  <a:moveTo>
                    <a:pt x="155" y="0"/>
                  </a:moveTo>
                  <a:lnTo>
                    <a:pt x="0" y="0"/>
                  </a:lnTo>
                  <a:lnTo>
                    <a:pt x="0" y="1086"/>
                  </a:lnTo>
                  <a:lnTo>
                    <a:pt x="155" y="1086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40126B55-4B6D-FA42-9F56-91C3BF915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835" y="4660734"/>
              <a:ext cx="109172" cy="810994"/>
            </a:xfrm>
            <a:custGeom>
              <a:avLst/>
              <a:gdLst>
                <a:gd name="T0" fmla="*/ 155 w 156"/>
                <a:gd name="T1" fmla="*/ 0 h 1146"/>
                <a:gd name="T2" fmla="*/ 0 w 156"/>
                <a:gd name="T3" fmla="*/ 0 h 1146"/>
                <a:gd name="T4" fmla="*/ 0 w 156"/>
                <a:gd name="T5" fmla="*/ 1145 h 1146"/>
                <a:gd name="T6" fmla="*/ 155 w 156"/>
                <a:gd name="T7" fmla="*/ 1145 h 1146"/>
                <a:gd name="T8" fmla="*/ 155 w 156"/>
                <a:gd name="T9" fmla="*/ 0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146">
                  <a:moveTo>
                    <a:pt x="155" y="0"/>
                  </a:moveTo>
                  <a:lnTo>
                    <a:pt x="0" y="0"/>
                  </a:lnTo>
                  <a:lnTo>
                    <a:pt x="0" y="1145"/>
                  </a:lnTo>
                  <a:lnTo>
                    <a:pt x="155" y="1145"/>
                  </a:lnTo>
                  <a:lnTo>
                    <a:pt x="15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25">
              <a:extLst>
                <a:ext uri="{FF2B5EF4-FFF2-40B4-BE49-F238E27FC236}">
                  <a16:creationId xmlns:a16="http://schemas.microsoft.com/office/drawing/2014/main" id="{D298112E-CA57-2E4D-906A-87F1AC04A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49" y="5013206"/>
              <a:ext cx="112292" cy="458523"/>
            </a:xfrm>
            <a:custGeom>
              <a:avLst/>
              <a:gdLst>
                <a:gd name="T0" fmla="*/ 156 w 157"/>
                <a:gd name="T1" fmla="*/ 0 h 648"/>
                <a:gd name="T2" fmla="*/ 0 w 157"/>
                <a:gd name="T3" fmla="*/ 0 h 648"/>
                <a:gd name="T4" fmla="*/ 0 w 157"/>
                <a:gd name="T5" fmla="*/ 647 h 648"/>
                <a:gd name="T6" fmla="*/ 156 w 157"/>
                <a:gd name="T7" fmla="*/ 647 h 648"/>
                <a:gd name="T8" fmla="*/ 156 w 157"/>
                <a:gd name="T9" fmla="*/ 0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648">
                  <a:moveTo>
                    <a:pt x="156" y="0"/>
                  </a:moveTo>
                  <a:lnTo>
                    <a:pt x="0" y="0"/>
                  </a:lnTo>
                  <a:lnTo>
                    <a:pt x="0" y="647"/>
                  </a:lnTo>
                  <a:lnTo>
                    <a:pt x="156" y="647"/>
                  </a:lnTo>
                  <a:lnTo>
                    <a:pt x="156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9E2604D3-5C71-1746-BA58-C3BD5EE6A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0741" y="5103663"/>
              <a:ext cx="109173" cy="364948"/>
            </a:xfrm>
            <a:custGeom>
              <a:avLst/>
              <a:gdLst>
                <a:gd name="T0" fmla="*/ 155 w 156"/>
                <a:gd name="T1" fmla="*/ 0 h 517"/>
                <a:gd name="T2" fmla="*/ 0 w 156"/>
                <a:gd name="T3" fmla="*/ 0 h 517"/>
                <a:gd name="T4" fmla="*/ 0 w 156"/>
                <a:gd name="T5" fmla="*/ 516 h 517"/>
                <a:gd name="T6" fmla="*/ 155 w 156"/>
                <a:gd name="T7" fmla="*/ 516 h 517"/>
                <a:gd name="T8" fmla="*/ 155 w 156"/>
                <a:gd name="T9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517">
                  <a:moveTo>
                    <a:pt x="155" y="0"/>
                  </a:moveTo>
                  <a:lnTo>
                    <a:pt x="0" y="0"/>
                  </a:lnTo>
                  <a:lnTo>
                    <a:pt x="0" y="516"/>
                  </a:lnTo>
                  <a:lnTo>
                    <a:pt x="155" y="516"/>
                  </a:lnTo>
                  <a:lnTo>
                    <a:pt x="155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4" name="Freeform 27">
              <a:extLst>
                <a:ext uri="{FF2B5EF4-FFF2-40B4-BE49-F238E27FC236}">
                  <a16:creationId xmlns:a16="http://schemas.microsoft.com/office/drawing/2014/main" id="{39FE5B5A-8562-A940-89CF-5E7F635ED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2112" y="5038160"/>
              <a:ext cx="109172" cy="433569"/>
            </a:xfrm>
            <a:custGeom>
              <a:avLst/>
              <a:gdLst>
                <a:gd name="T0" fmla="*/ 155 w 156"/>
                <a:gd name="T1" fmla="*/ 0 h 613"/>
                <a:gd name="T2" fmla="*/ 0 w 156"/>
                <a:gd name="T3" fmla="*/ 0 h 613"/>
                <a:gd name="T4" fmla="*/ 0 w 156"/>
                <a:gd name="T5" fmla="*/ 612 h 613"/>
                <a:gd name="T6" fmla="*/ 155 w 156"/>
                <a:gd name="T7" fmla="*/ 612 h 613"/>
                <a:gd name="T8" fmla="*/ 155 w 156"/>
                <a:gd name="T9" fmla="*/ 0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13">
                  <a:moveTo>
                    <a:pt x="155" y="0"/>
                  </a:moveTo>
                  <a:lnTo>
                    <a:pt x="0" y="0"/>
                  </a:lnTo>
                  <a:lnTo>
                    <a:pt x="0" y="612"/>
                  </a:lnTo>
                  <a:lnTo>
                    <a:pt x="155" y="612"/>
                  </a:lnTo>
                  <a:lnTo>
                    <a:pt x="155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5" name="Freeform 28">
              <a:extLst>
                <a:ext uri="{FF2B5EF4-FFF2-40B4-BE49-F238E27FC236}">
                  <a16:creationId xmlns:a16="http://schemas.microsoft.com/office/drawing/2014/main" id="{700B3C49-552D-1945-A3A2-41901AF10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601" y="5172285"/>
              <a:ext cx="109172" cy="299444"/>
            </a:xfrm>
            <a:custGeom>
              <a:avLst/>
              <a:gdLst>
                <a:gd name="T0" fmla="*/ 155 w 156"/>
                <a:gd name="T1" fmla="*/ 0 h 422"/>
                <a:gd name="T2" fmla="*/ 0 w 156"/>
                <a:gd name="T3" fmla="*/ 0 h 422"/>
                <a:gd name="T4" fmla="*/ 0 w 156"/>
                <a:gd name="T5" fmla="*/ 421 h 422"/>
                <a:gd name="T6" fmla="*/ 155 w 156"/>
                <a:gd name="T7" fmla="*/ 421 h 422"/>
                <a:gd name="T8" fmla="*/ 155 w 156"/>
                <a:gd name="T9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22">
                  <a:moveTo>
                    <a:pt x="155" y="0"/>
                  </a:moveTo>
                  <a:lnTo>
                    <a:pt x="0" y="0"/>
                  </a:lnTo>
                  <a:lnTo>
                    <a:pt x="0" y="421"/>
                  </a:lnTo>
                  <a:lnTo>
                    <a:pt x="155" y="421"/>
                  </a:lnTo>
                  <a:lnTo>
                    <a:pt x="15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6" name="Freeform 29">
              <a:extLst>
                <a:ext uri="{FF2B5EF4-FFF2-40B4-BE49-F238E27FC236}">
                  <a16:creationId xmlns:a16="http://schemas.microsoft.com/office/drawing/2014/main" id="{EB079E70-D45A-C44B-83BB-9BFA384CA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7973" y="5050638"/>
              <a:ext cx="109173" cy="417974"/>
            </a:xfrm>
            <a:custGeom>
              <a:avLst/>
              <a:gdLst>
                <a:gd name="T0" fmla="*/ 155 w 156"/>
                <a:gd name="T1" fmla="*/ 0 h 593"/>
                <a:gd name="T2" fmla="*/ 0 w 156"/>
                <a:gd name="T3" fmla="*/ 0 h 593"/>
                <a:gd name="T4" fmla="*/ 0 w 156"/>
                <a:gd name="T5" fmla="*/ 592 h 593"/>
                <a:gd name="T6" fmla="*/ 155 w 156"/>
                <a:gd name="T7" fmla="*/ 592 h 593"/>
                <a:gd name="T8" fmla="*/ 155 w 156"/>
                <a:gd name="T9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593">
                  <a:moveTo>
                    <a:pt x="155" y="0"/>
                  </a:moveTo>
                  <a:lnTo>
                    <a:pt x="0" y="0"/>
                  </a:lnTo>
                  <a:lnTo>
                    <a:pt x="0" y="592"/>
                  </a:lnTo>
                  <a:lnTo>
                    <a:pt x="155" y="592"/>
                  </a:lnTo>
                  <a:lnTo>
                    <a:pt x="155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30">
              <a:extLst>
                <a:ext uri="{FF2B5EF4-FFF2-40B4-BE49-F238E27FC236}">
                  <a16:creationId xmlns:a16="http://schemas.microsoft.com/office/drawing/2014/main" id="{D9B71B67-9FB8-2D41-86E0-05A3FF5E2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2464" y="4988252"/>
              <a:ext cx="109173" cy="483476"/>
            </a:xfrm>
            <a:custGeom>
              <a:avLst/>
              <a:gdLst>
                <a:gd name="T0" fmla="*/ 155 w 156"/>
                <a:gd name="T1" fmla="*/ 0 h 682"/>
                <a:gd name="T2" fmla="*/ 0 w 156"/>
                <a:gd name="T3" fmla="*/ 0 h 682"/>
                <a:gd name="T4" fmla="*/ 0 w 156"/>
                <a:gd name="T5" fmla="*/ 681 h 682"/>
                <a:gd name="T6" fmla="*/ 155 w 156"/>
                <a:gd name="T7" fmla="*/ 681 h 682"/>
                <a:gd name="T8" fmla="*/ 155 w 156"/>
                <a:gd name="T9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82">
                  <a:moveTo>
                    <a:pt x="155" y="0"/>
                  </a:moveTo>
                  <a:lnTo>
                    <a:pt x="0" y="0"/>
                  </a:lnTo>
                  <a:lnTo>
                    <a:pt x="0" y="681"/>
                  </a:lnTo>
                  <a:lnTo>
                    <a:pt x="155" y="681"/>
                  </a:lnTo>
                  <a:lnTo>
                    <a:pt x="155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8" name="Freeform 31">
              <a:extLst>
                <a:ext uri="{FF2B5EF4-FFF2-40B4-BE49-F238E27FC236}">
                  <a16:creationId xmlns:a16="http://schemas.microsoft.com/office/drawing/2014/main" id="{E29A9072-B0CC-CB47-9992-58FEF5051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835" y="4960180"/>
              <a:ext cx="109172" cy="508432"/>
            </a:xfrm>
            <a:custGeom>
              <a:avLst/>
              <a:gdLst>
                <a:gd name="T0" fmla="*/ 155 w 156"/>
                <a:gd name="T1" fmla="*/ 0 h 720"/>
                <a:gd name="T2" fmla="*/ 0 w 156"/>
                <a:gd name="T3" fmla="*/ 0 h 720"/>
                <a:gd name="T4" fmla="*/ 0 w 156"/>
                <a:gd name="T5" fmla="*/ 719 h 720"/>
                <a:gd name="T6" fmla="*/ 155 w 156"/>
                <a:gd name="T7" fmla="*/ 719 h 720"/>
                <a:gd name="T8" fmla="*/ 155 w 156"/>
                <a:gd name="T9" fmla="*/ 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720">
                  <a:moveTo>
                    <a:pt x="155" y="0"/>
                  </a:moveTo>
                  <a:lnTo>
                    <a:pt x="0" y="0"/>
                  </a:lnTo>
                  <a:lnTo>
                    <a:pt x="0" y="719"/>
                  </a:lnTo>
                  <a:lnTo>
                    <a:pt x="155" y="719"/>
                  </a:lnTo>
                  <a:lnTo>
                    <a:pt x="15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4F19C318-31ED-5249-ADD5-0057EE56B2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656" y="3603325"/>
              <a:ext cx="900745" cy="261299"/>
            </a:xfrm>
            <a:custGeom>
              <a:avLst/>
              <a:gdLst>
                <a:gd name="connsiteX0" fmla="*/ 1 w 831756"/>
                <a:gd name="connsiteY0" fmla="*/ 155536 h 241286"/>
                <a:gd name="connsiteX1" fmla="*/ 831756 w 831756"/>
                <a:gd name="connsiteY1" fmla="*/ 155536 h 241286"/>
                <a:gd name="connsiteX2" fmla="*/ 831756 w 831756"/>
                <a:gd name="connsiteY2" fmla="*/ 241286 h 241286"/>
                <a:gd name="connsiteX3" fmla="*/ 1 w 831756"/>
                <a:gd name="connsiteY3" fmla="*/ 241286 h 241286"/>
                <a:gd name="connsiteX4" fmla="*/ 0 w 831756"/>
                <a:gd name="connsiteY4" fmla="*/ 0 h 241286"/>
                <a:gd name="connsiteX5" fmla="*/ 586928 w 831756"/>
                <a:gd name="connsiteY5" fmla="*/ 0 h 241286"/>
                <a:gd name="connsiteX6" fmla="*/ 586928 w 831756"/>
                <a:gd name="connsiteY6" fmla="*/ 85749 h 241286"/>
                <a:gd name="connsiteX7" fmla="*/ 0 w 831756"/>
                <a:gd name="connsiteY7" fmla="*/ 85749 h 24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1756" h="241286">
                  <a:moveTo>
                    <a:pt x="1" y="155536"/>
                  </a:moveTo>
                  <a:lnTo>
                    <a:pt x="831756" y="155536"/>
                  </a:lnTo>
                  <a:lnTo>
                    <a:pt x="831756" y="241286"/>
                  </a:lnTo>
                  <a:lnTo>
                    <a:pt x="1" y="241286"/>
                  </a:lnTo>
                  <a:close/>
                  <a:moveTo>
                    <a:pt x="0" y="0"/>
                  </a:moveTo>
                  <a:lnTo>
                    <a:pt x="586928" y="0"/>
                  </a:lnTo>
                  <a:lnTo>
                    <a:pt x="586928" y="85749"/>
                  </a:lnTo>
                  <a:lnTo>
                    <a:pt x="0" y="8574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0" name="Freeform 34">
              <a:extLst>
                <a:ext uri="{FF2B5EF4-FFF2-40B4-BE49-F238E27FC236}">
                  <a16:creationId xmlns:a16="http://schemas.microsoft.com/office/drawing/2014/main" id="{BC5535A7-6841-6448-B928-D9A8A03D8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4008" y="4514133"/>
              <a:ext cx="917047" cy="898332"/>
            </a:xfrm>
            <a:custGeom>
              <a:avLst/>
              <a:gdLst>
                <a:gd name="T0" fmla="*/ 767 w 1296"/>
                <a:gd name="T1" fmla="*/ 1038 h 1268"/>
                <a:gd name="T2" fmla="*/ 767 w 1296"/>
                <a:gd name="T3" fmla="*/ 1038 h 1268"/>
                <a:gd name="T4" fmla="*/ 270 w 1296"/>
                <a:gd name="T5" fmla="*/ 905 h 1268"/>
                <a:gd name="T6" fmla="*/ 270 w 1296"/>
                <a:gd name="T7" fmla="*/ 905 h 1268"/>
                <a:gd name="T8" fmla="*/ 199 w 1296"/>
                <a:gd name="T9" fmla="*/ 792 h 1268"/>
                <a:gd name="T10" fmla="*/ 199 w 1296"/>
                <a:gd name="T11" fmla="*/ 792 h 1268"/>
                <a:gd name="T12" fmla="*/ 188 w 1296"/>
                <a:gd name="T13" fmla="*/ 764 h 1268"/>
                <a:gd name="T14" fmla="*/ 188 w 1296"/>
                <a:gd name="T15" fmla="*/ 764 h 1268"/>
                <a:gd name="T16" fmla="*/ 182 w 1296"/>
                <a:gd name="T17" fmla="*/ 476 h 1268"/>
                <a:gd name="T18" fmla="*/ 182 w 1296"/>
                <a:gd name="T19" fmla="*/ 476 h 1268"/>
                <a:gd name="T20" fmla="*/ 462 w 1296"/>
                <a:gd name="T21" fmla="*/ 185 h 1268"/>
                <a:gd name="T22" fmla="*/ 462 w 1296"/>
                <a:gd name="T23" fmla="*/ 185 h 1268"/>
                <a:gd name="T24" fmla="*/ 601 w 1296"/>
                <a:gd name="T25" fmla="*/ 159 h 1268"/>
                <a:gd name="T26" fmla="*/ 601 w 1296"/>
                <a:gd name="T27" fmla="*/ 159 h 1268"/>
                <a:gd name="T28" fmla="*/ 1041 w 1296"/>
                <a:gd name="T29" fmla="*/ 459 h 1268"/>
                <a:gd name="T30" fmla="*/ 1041 w 1296"/>
                <a:gd name="T31" fmla="*/ 459 h 1268"/>
                <a:gd name="T32" fmla="*/ 767 w 1296"/>
                <a:gd name="T33" fmla="*/ 1038 h 1268"/>
                <a:gd name="T34" fmla="*/ 1183 w 1296"/>
                <a:gd name="T35" fmla="*/ 408 h 1268"/>
                <a:gd name="T36" fmla="*/ 1183 w 1296"/>
                <a:gd name="T37" fmla="*/ 408 h 1268"/>
                <a:gd name="T38" fmla="*/ 596 w 1296"/>
                <a:gd name="T39" fmla="*/ 8 h 1268"/>
                <a:gd name="T40" fmla="*/ 596 w 1296"/>
                <a:gd name="T41" fmla="*/ 8 h 1268"/>
                <a:gd name="T42" fmla="*/ 411 w 1296"/>
                <a:gd name="T43" fmla="*/ 43 h 1268"/>
                <a:gd name="T44" fmla="*/ 411 w 1296"/>
                <a:gd name="T45" fmla="*/ 43 h 1268"/>
                <a:gd name="T46" fmla="*/ 38 w 1296"/>
                <a:gd name="T47" fmla="*/ 432 h 1268"/>
                <a:gd name="T48" fmla="*/ 38 w 1296"/>
                <a:gd name="T49" fmla="*/ 432 h 1268"/>
                <a:gd name="T50" fmla="*/ 46 w 1296"/>
                <a:gd name="T51" fmla="*/ 815 h 1268"/>
                <a:gd name="T52" fmla="*/ 46 w 1296"/>
                <a:gd name="T53" fmla="*/ 815 h 1268"/>
                <a:gd name="T54" fmla="*/ 61 w 1296"/>
                <a:gd name="T55" fmla="*/ 852 h 1268"/>
                <a:gd name="T56" fmla="*/ 61 w 1296"/>
                <a:gd name="T57" fmla="*/ 852 h 1268"/>
                <a:gd name="T58" fmla="*/ 155 w 1296"/>
                <a:gd name="T59" fmla="*/ 1003 h 1268"/>
                <a:gd name="T60" fmla="*/ 155 w 1296"/>
                <a:gd name="T61" fmla="*/ 1003 h 1268"/>
                <a:gd name="T62" fmla="*/ 818 w 1296"/>
                <a:gd name="T63" fmla="*/ 1180 h 1268"/>
                <a:gd name="T64" fmla="*/ 818 w 1296"/>
                <a:gd name="T65" fmla="*/ 1180 h 1268"/>
                <a:gd name="T66" fmla="*/ 1183 w 1296"/>
                <a:gd name="T67" fmla="*/ 408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96" h="1268">
                  <a:moveTo>
                    <a:pt x="767" y="1038"/>
                  </a:moveTo>
                  <a:lnTo>
                    <a:pt x="767" y="1038"/>
                  </a:lnTo>
                  <a:cubicBezTo>
                    <a:pt x="585" y="1103"/>
                    <a:pt x="388" y="1044"/>
                    <a:pt x="270" y="905"/>
                  </a:cubicBezTo>
                  <a:lnTo>
                    <a:pt x="270" y="905"/>
                  </a:lnTo>
                  <a:cubicBezTo>
                    <a:pt x="242" y="871"/>
                    <a:pt x="218" y="834"/>
                    <a:pt x="199" y="792"/>
                  </a:cubicBezTo>
                  <a:lnTo>
                    <a:pt x="199" y="792"/>
                  </a:lnTo>
                  <a:cubicBezTo>
                    <a:pt x="195" y="783"/>
                    <a:pt x="192" y="774"/>
                    <a:pt x="188" y="764"/>
                  </a:cubicBezTo>
                  <a:lnTo>
                    <a:pt x="188" y="764"/>
                  </a:lnTo>
                  <a:cubicBezTo>
                    <a:pt x="154" y="668"/>
                    <a:pt x="154" y="567"/>
                    <a:pt x="182" y="476"/>
                  </a:cubicBezTo>
                  <a:lnTo>
                    <a:pt x="182" y="476"/>
                  </a:lnTo>
                  <a:cubicBezTo>
                    <a:pt x="224" y="346"/>
                    <a:pt x="323" y="235"/>
                    <a:pt x="462" y="185"/>
                  </a:cubicBezTo>
                  <a:lnTo>
                    <a:pt x="462" y="185"/>
                  </a:lnTo>
                  <a:cubicBezTo>
                    <a:pt x="508" y="169"/>
                    <a:pt x="555" y="160"/>
                    <a:pt x="601" y="159"/>
                  </a:cubicBezTo>
                  <a:lnTo>
                    <a:pt x="601" y="159"/>
                  </a:lnTo>
                  <a:cubicBezTo>
                    <a:pt x="792" y="153"/>
                    <a:pt x="973" y="270"/>
                    <a:pt x="1041" y="459"/>
                  </a:cubicBezTo>
                  <a:lnTo>
                    <a:pt x="1041" y="459"/>
                  </a:lnTo>
                  <a:cubicBezTo>
                    <a:pt x="1125" y="694"/>
                    <a:pt x="1003" y="954"/>
                    <a:pt x="767" y="1038"/>
                  </a:cubicBezTo>
                  <a:close/>
                  <a:moveTo>
                    <a:pt x="1183" y="408"/>
                  </a:moveTo>
                  <a:lnTo>
                    <a:pt x="1183" y="408"/>
                  </a:lnTo>
                  <a:cubicBezTo>
                    <a:pt x="1093" y="156"/>
                    <a:pt x="851" y="0"/>
                    <a:pt x="596" y="8"/>
                  </a:cubicBezTo>
                  <a:lnTo>
                    <a:pt x="596" y="8"/>
                  </a:lnTo>
                  <a:cubicBezTo>
                    <a:pt x="535" y="9"/>
                    <a:pt x="472" y="21"/>
                    <a:pt x="411" y="43"/>
                  </a:cubicBezTo>
                  <a:lnTo>
                    <a:pt x="411" y="43"/>
                  </a:lnTo>
                  <a:cubicBezTo>
                    <a:pt x="226" y="109"/>
                    <a:pt x="93" y="257"/>
                    <a:pt x="38" y="432"/>
                  </a:cubicBezTo>
                  <a:lnTo>
                    <a:pt x="38" y="432"/>
                  </a:lnTo>
                  <a:cubicBezTo>
                    <a:pt x="0" y="553"/>
                    <a:pt x="0" y="687"/>
                    <a:pt x="46" y="815"/>
                  </a:cubicBezTo>
                  <a:lnTo>
                    <a:pt x="46" y="815"/>
                  </a:lnTo>
                  <a:cubicBezTo>
                    <a:pt x="51" y="828"/>
                    <a:pt x="56" y="840"/>
                    <a:pt x="61" y="852"/>
                  </a:cubicBezTo>
                  <a:lnTo>
                    <a:pt x="61" y="852"/>
                  </a:lnTo>
                  <a:cubicBezTo>
                    <a:pt x="85" y="908"/>
                    <a:pt x="117" y="959"/>
                    <a:pt x="155" y="1003"/>
                  </a:cubicBezTo>
                  <a:lnTo>
                    <a:pt x="155" y="1003"/>
                  </a:lnTo>
                  <a:cubicBezTo>
                    <a:pt x="313" y="1189"/>
                    <a:pt x="575" y="1267"/>
                    <a:pt x="818" y="1180"/>
                  </a:cubicBezTo>
                  <a:lnTo>
                    <a:pt x="818" y="1180"/>
                  </a:lnTo>
                  <a:cubicBezTo>
                    <a:pt x="1132" y="1068"/>
                    <a:pt x="1295" y="722"/>
                    <a:pt x="1183" y="40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1" name="Freeform 35">
              <a:extLst>
                <a:ext uri="{FF2B5EF4-FFF2-40B4-BE49-F238E27FC236}">
                  <a16:creationId xmlns:a16="http://schemas.microsoft.com/office/drawing/2014/main" id="{B7DD0045-6F1D-6640-9D1E-5F09E2EC9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12081" y="4520373"/>
              <a:ext cx="399259" cy="330636"/>
            </a:xfrm>
            <a:custGeom>
              <a:avLst/>
              <a:gdLst>
                <a:gd name="T0" fmla="*/ 144 w 564"/>
                <a:gd name="T1" fmla="*/ 468 h 469"/>
                <a:gd name="T2" fmla="*/ 0 w 564"/>
                <a:gd name="T3" fmla="*/ 424 h 469"/>
                <a:gd name="T4" fmla="*/ 0 w 564"/>
                <a:gd name="T5" fmla="*/ 424 h 469"/>
                <a:gd name="T6" fmla="*/ 373 w 564"/>
                <a:gd name="T7" fmla="*/ 35 h 469"/>
                <a:gd name="T8" fmla="*/ 373 w 564"/>
                <a:gd name="T9" fmla="*/ 35 h 469"/>
                <a:gd name="T10" fmla="*/ 558 w 564"/>
                <a:gd name="T11" fmla="*/ 0 h 469"/>
                <a:gd name="T12" fmla="*/ 563 w 564"/>
                <a:gd name="T13" fmla="*/ 151 h 469"/>
                <a:gd name="T14" fmla="*/ 563 w 564"/>
                <a:gd name="T15" fmla="*/ 151 h 469"/>
                <a:gd name="T16" fmla="*/ 424 w 564"/>
                <a:gd name="T17" fmla="*/ 177 h 469"/>
                <a:gd name="T18" fmla="*/ 424 w 564"/>
                <a:gd name="T19" fmla="*/ 177 h 469"/>
                <a:gd name="T20" fmla="*/ 144 w 564"/>
                <a:gd name="T21" fmla="*/ 46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4" h="469">
                  <a:moveTo>
                    <a:pt x="144" y="468"/>
                  </a:moveTo>
                  <a:lnTo>
                    <a:pt x="0" y="424"/>
                  </a:lnTo>
                  <a:lnTo>
                    <a:pt x="0" y="424"/>
                  </a:lnTo>
                  <a:cubicBezTo>
                    <a:pt x="55" y="249"/>
                    <a:pt x="188" y="101"/>
                    <a:pt x="373" y="35"/>
                  </a:cubicBezTo>
                  <a:lnTo>
                    <a:pt x="373" y="35"/>
                  </a:lnTo>
                  <a:cubicBezTo>
                    <a:pt x="434" y="13"/>
                    <a:pt x="497" y="1"/>
                    <a:pt x="558" y="0"/>
                  </a:cubicBezTo>
                  <a:lnTo>
                    <a:pt x="563" y="151"/>
                  </a:lnTo>
                  <a:lnTo>
                    <a:pt x="563" y="151"/>
                  </a:lnTo>
                  <a:cubicBezTo>
                    <a:pt x="517" y="152"/>
                    <a:pt x="470" y="161"/>
                    <a:pt x="424" y="177"/>
                  </a:cubicBezTo>
                  <a:lnTo>
                    <a:pt x="424" y="177"/>
                  </a:lnTo>
                  <a:cubicBezTo>
                    <a:pt x="285" y="227"/>
                    <a:pt x="186" y="338"/>
                    <a:pt x="144" y="46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36">
              <a:extLst>
                <a:ext uri="{FF2B5EF4-FFF2-40B4-BE49-F238E27FC236}">
                  <a16:creationId xmlns:a16="http://schemas.microsoft.com/office/drawing/2014/main" id="{DCB2AA26-E813-3846-92D1-BD31918BA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4007" y="4819816"/>
              <a:ext cx="140366" cy="299444"/>
            </a:xfrm>
            <a:custGeom>
              <a:avLst/>
              <a:gdLst>
                <a:gd name="T0" fmla="*/ 199 w 200"/>
                <a:gd name="T1" fmla="*/ 360 h 422"/>
                <a:gd name="T2" fmla="*/ 61 w 200"/>
                <a:gd name="T3" fmla="*/ 421 h 422"/>
                <a:gd name="T4" fmla="*/ 61 w 200"/>
                <a:gd name="T5" fmla="*/ 421 h 422"/>
                <a:gd name="T6" fmla="*/ 46 w 200"/>
                <a:gd name="T7" fmla="*/ 383 h 422"/>
                <a:gd name="T8" fmla="*/ 46 w 200"/>
                <a:gd name="T9" fmla="*/ 383 h 422"/>
                <a:gd name="T10" fmla="*/ 38 w 200"/>
                <a:gd name="T11" fmla="*/ 0 h 422"/>
                <a:gd name="T12" fmla="*/ 182 w 200"/>
                <a:gd name="T13" fmla="*/ 44 h 422"/>
                <a:gd name="T14" fmla="*/ 182 w 200"/>
                <a:gd name="T15" fmla="*/ 44 h 422"/>
                <a:gd name="T16" fmla="*/ 188 w 200"/>
                <a:gd name="T17" fmla="*/ 332 h 422"/>
                <a:gd name="T18" fmla="*/ 188 w 200"/>
                <a:gd name="T19" fmla="*/ 332 h 422"/>
                <a:gd name="T20" fmla="*/ 199 w 200"/>
                <a:gd name="T21" fmla="*/ 3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0" h="422">
                  <a:moveTo>
                    <a:pt x="199" y="360"/>
                  </a:moveTo>
                  <a:lnTo>
                    <a:pt x="61" y="421"/>
                  </a:lnTo>
                  <a:lnTo>
                    <a:pt x="61" y="421"/>
                  </a:lnTo>
                  <a:cubicBezTo>
                    <a:pt x="56" y="408"/>
                    <a:pt x="51" y="396"/>
                    <a:pt x="46" y="383"/>
                  </a:cubicBezTo>
                  <a:lnTo>
                    <a:pt x="46" y="383"/>
                  </a:lnTo>
                  <a:cubicBezTo>
                    <a:pt x="0" y="255"/>
                    <a:pt x="0" y="121"/>
                    <a:pt x="38" y="0"/>
                  </a:cubicBezTo>
                  <a:lnTo>
                    <a:pt x="182" y="44"/>
                  </a:lnTo>
                  <a:lnTo>
                    <a:pt x="182" y="44"/>
                  </a:lnTo>
                  <a:cubicBezTo>
                    <a:pt x="154" y="135"/>
                    <a:pt x="154" y="236"/>
                    <a:pt x="188" y="332"/>
                  </a:cubicBezTo>
                  <a:lnTo>
                    <a:pt x="188" y="332"/>
                  </a:lnTo>
                  <a:cubicBezTo>
                    <a:pt x="192" y="342"/>
                    <a:pt x="195" y="351"/>
                    <a:pt x="199" y="36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3" name="Freeform 37">
              <a:extLst>
                <a:ext uri="{FF2B5EF4-FFF2-40B4-BE49-F238E27FC236}">
                  <a16:creationId xmlns:a16="http://schemas.microsoft.com/office/drawing/2014/main" id="{FC87D727-1531-7D49-99C0-28EC1E72B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7676" y="5075590"/>
              <a:ext cx="149722" cy="149722"/>
            </a:xfrm>
            <a:custGeom>
              <a:avLst/>
              <a:gdLst>
                <a:gd name="T0" fmla="*/ 94 w 210"/>
                <a:gd name="T1" fmla="*/ 211 h 212"/>
                <a:gd name="T2" fmla="*/ 94 w 210"/>
                <a:gd name="T3" fmla="*/ 211 h 212"/>
                <a:gd name="T4" fmla="*/ 0 w 210"/>
                <a:gd name="T5" fmla="*/ 60 h 212"/>
                <a:gd name="T6" fmla="*/ 138 w 210"/>
                <a:gd name="T7" fmla="*/ 0 h 212"/>
                <a:gd name="T8" fmla="*/ 138 w 210"/>
                <a:gd name="T9" fmla="*/ 0 h 212"/>
                <a:gd name="T10" fmla="*/ 209 w 210"/>
                <a:gd name="T11" fmla="*/ 113 h 212"/>
                <a:gd name="T12" fmla="*/ 94 w 210"/>
                <a:gd name="T13" fmla="*/ 21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2">
                  <a:moveTo>
                    <a:pt x="94" y="211"/>
                  </a:moveTo>
                  <a:lnTo>
                    <a:pt x="94" y="211"/>
                  </a:lnTo>
                  <a:cubicBezTo>
                    <a:pt x="56" y="167"/>
                    <a:pt x="24" y="116"/>
                    <a:pt x="0" y="60"/>
                  </a:cubicBezTo>
                  <a:lnTo>
                    <a:pt x="138" y="0"/>
                  </a:lnTo>
                  <a:lnTo>
                    <a:pt x="138" y="0"/>
                  </a:lnTo>
                  <a:cubicBezTo>
                    <a:pt x="157" y="42"/>
                    <a:pt x="181" y="79"/>
                    <a:pt x="209" y="113"/>
                  </a:cubicBezTo>
                  <a:lnTo>
                    <a:pt x="94" y="211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30FE9C05-584E-0848-8575-DBA6C536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3526" y="6232815"/>
              <a:ext cx="3339964" cy="2787872"/>
            </a:xfrm>
            <a:custGeom>
              <a:avLst/>
              <a:gdLst>
                <a:gd name="connsiteX0" fmla="*/ 0 w 3084151"/>
                <a:gd name="connsiteY0" fmla="*/ 2468421 h 2574345"/>
                <a:gd name="connsiteX1" fmla="*/ 3084151 w 3084151"/>
                <a:gd name="connsiteY1" fmla="*/ 2468421 h 2574345"/>
                <a:gd name="connsiteX2" fmla="*/ 3084151 w 3084151"/>
                <a:gd name="connsiteY2" fmla="*/ 2574345 h 2574345"/>
                <a:gd name="connsiteX3" fmla="*/ 0 w 3084151"/>
                <a:gd name="connsiteY3" fmla="*/ 2574345 h 2574345"/>
                <a:gd name="connsiteX4" fmla="*/ 0 w 3084151"/>
                <a:gd name="connsiteY4" fmla="*/ 2117024 h 2574345"/>
                <a:gd name="connsiteX5" fmla="*/ 3084151 w 3084151"/>
                <a:gd name="connsiteY5" fmla="*/ 2117024 h 2574345"/>
                <a:gd name="connsiteX6" fmla="*/ 3084151 w 3084151"/>
                <a:gd name="connsiteY6" fmla="*/ 2222948 h 2574345"/>
                <a:gd name="connsiteX7" fmla="*/ 0 w 3084151"/>
                <a:gd name="connsiteY7" fmla="*/ 2222948 h 2574345"/>
                <a:gd name="connsiteX8" fmla="*/ 0 w 3084151"/>
                <a:gd name="connsiteY8" fmla="*/ 1780027 h 2574345"/>
                <a:gd name="connsiteX9" fmla="*/ 3084151 w 3084151"/>
                <a:gd name="connsiteY9" fmla="*/ 1780027 h 2574345"/>
                <a:gd name="connsiteX10" fmla="*/ 3084151 w 3084151"/>
                <a:gd name="connsiteY10" fmla="*/ 1885953 h 2574345"/>
                <a:gd name="connsiteX11" fmla="*/ 0 w 3084151"/>
                <a:gd name="connsiteY11" fmla="*/ 1885953 h 2574345"/>
                <a:gd name="connsiteX12" fmla="*/ 0 w 3084151"/>
                <a:gd name="connsiteY12" fmla="*/ 1431512 h 2574345"/>
                <a:gd name="connsiteX13" fmla="*/ 3084151 w 3084151"/>
                <a:gd name="connsiteY13" fmla="*/ 1431512 h 2574345"/>
                <a:gd name="connsiteX14" fmla="*/ 3084151 w 3084151"/>
                <a:gd name="connsiteY14" fmla="*/ 1540304 h 2574345"/>
                <a:gd name="connsiteX15" fmla="*/ 0 w 3084151"/>
                <a:gd name="connsiteY15" fmla="*/ 1540304 h 2574345"/>
                <a:gd name="connsiteX16" fmla="*/ 0 w 3084151"/>
                <a:gd name="connsiteY16" fmla="*/ 1036910 h 2574345"/>
                <a:gd name="connsiteX17" fmla="*/ 3084151 w 3084151"/>
                <a:gd name="connsiteY17" fmla="*/ 1036910 h 2574345"/>
                <a:gd name="connsiteX18" fmla="*/ 3084151 w 3084151"/>
                <a:gd name="connsiteY18" fmla="*/ 1145702 h 2574345"/>
                <a:gd name="connsiteX19" fmla="*/ 0 w 3084151"/>
                <a:gd name="connsiteY19" fmla="*/ 1145702 h 2574345"/>
                <a:gd name="connsiteX20" fmla="*/ 0 w 3084151"/>
                <a:gd name="connsiteY20" fmla="*/ 688394 h 2574345"/>
                <a:gd name="connsiteX21" fmla="*/ 3084151 w 3084151"/>
                <a:gd name="connsiteY21" fmla="*/ 688394 h 2574345"/>
                <a:gd name="connsiteX22" fmla="*/ 3084151 w 3084151"/>
                <a:gd name="connsiteY22" fmla="*/ 794318 h 2574345"/>
                <a:gd name="connsiteX23" fmla="*/ 0 w 3084151"/>
                <a:gd name="connsiteY23" fmla="*/ 794318 h 2574345"/>
                <a:gd name="connsiteX24" fmla="*/ 0 w 3084151"/>
                <a:gd name="connsiteY24" fmla="*/ 351398 h 2574345"/>
                <a:gd name="connsiteX25" fmla="*/ 3084151 w 3084151"/>
                <a:gd name="connsiteY25" fmla="*/ 351398 h 2574345"/>
                <a:gd name="connsiteX26" fmla="*/ 3084151 w 3084151"/>
                <a:gd name="connsiteY26" fmla="*/ 460190 h 2574345"/>
                <a:gd name="connsiteX27" fmla="*/ 0 w 3084151"/>
                <a:gd name="connsiteY27" fmla="*/ 460190 h 2574345"/>
                <a:gd name="connsiteX28" fmla="*/ 0 w 3084151"/>
                <a:gd name="connsiteY28" fmla="*/ 0 h 2574345"/>
                <a:gd name="connsiteX29" fmla="*/ 3084151 w 3084151"/>
                <a:gd name="connsiteY29" fmla="*/ 0 h 2574345"/>
                <a:gd name="connsiteX30" fmla="*/ 3084151 w 3084151"/>
                <a:gd name="connsiteY30" fmla="*/ 105926 h 2574345"/>
                <a:gd name="connsiteX31" fmla="*/ 0 w 3084151"/>
                <a:gd name="connsiteY31" fmla="*/ 105926 h 2574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084151" h="2574345">
                  <a:moveTo>
                    <a:pt x="0" y="2468421"/>
                  </a:moveTo>
                  <a:lnTo>
                    <a:pt x="3084151" y="2468421"/>
                  </a:lnTo>
                  <a:lnTo>
                    <a:pt x="3084151" y="2574345"/>
                  </a:lnTo>
                  <a:lnTo>
                    <a:pt x="0" y="2574345"/>
                  </a:lnTo>
                  <a:close/>
                  <a:moveTo>
                    <a:pt x="0" y="2117024"/>
                  </a:moveTo>
                  <a:lnTo>
                    <a:pt x="3084151" y="2117024"/>
                  </a:lnTo>
                  <a:lnTo>
                    <a:pt x="3084151" y="2222948"/>
                  </a:lnTo>
                  <a:lnTo>
                    <a:pt x="0" y="2222948"/>
                  </a:lnTo>
                  <a:close/>
                  <a:moveTo>
                    <a:pt x="0" y="1780027"/>
                  </a:moveTo>
                  <a:lnTo>
                    <a:pt x="3084151" y="1780027"/>
                  </a:lnTo>
                  <a:lnTo>
                    <a:pt x="3084151" y="1885953"/>
                  </a:lnTo>
                  <a:lnTo>
                    <a:pt x="0" y="1885953"/>
                  </a:lnTo>
                  <a:close/>
                  <a:moveTo>
                    <a:pt x="0" y="1431512"/>
                  </a:moveTo>
                  <a:lnTo>
                    <a:pt x="3084151" y="1431512"/>
                  </a:lnTo>
                  <a:lnTo>
                    <a:pt x="3084151" y="1540304"/>
                  </a:lnTo>
                  <a:lnTo>
                    <a:pt x="0" y="1540304"/>
                  </a:lnTo>
                  <a:close/>
                  <a:moveTo>
                    <a:pt x="0" y="1036910"/>
                  </a:moveTo>
                  <a:lnTo>
                    <a:pt x="3084151" y="1036910"/>
                  </a:lnTo>
                  <a:lnTo>
                    <a:pt x="3084151" y="1145702"/>
                  </a:lnTo>
                  <a:lnTo>
                    <a:pt x="0" y="1145702"/>
                  </a:lnTo>
                  <a:close/>
                  <a:moveTo>
                    <a:pt x="0" y="688394"/>
                  </a:moveTo>
                  <a:lnTo>
                    <a:pt x="3084151" y="688394"/>
                  </a:lnTo>
                  <a:lnTo>
                    <a:pt x="3084151" y="794318"/>
                  </a:lnTo>
                  <a:lnTo>
                    <a:pt x="0" y="794318"/>
                  </a:lnTo>
                  <a:close/>
                  <a:moveTo>
                    <a:pt x="0" y="351398"/>
                  </a:moveTo>
                  <a:lnTo>
                    <a:pt x="3084151" y="351398"/>
                  </a:lnTo>
                  <a:lnTo>
                    <a:pt x="3084151" y="460190"/>
                  </a:lnTo>
                  <a:lnTo>
                    <a:pt x="0" y="460190"/>
                  </a:lnTo>
                  <a:close/>
                  <a:moveTo>
                    <a:pt x="0" y="0"/>
                  </a:moveTo>
                  <a:lnTo>
                    <a:pt x="3084151" y="0"/>
                  </a:lnTo>
                  <a:lnTo>
                    <a:pt x="3084151" y="105926"/>
                  </a:lnTo>
                  <a:lnTo>
                    <a:pt x="0" y="1059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6259B903-8F76-1F43-A471-EE83E3557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6157165"/>
              <a:ext cx="605124" cy="605124"/>
            </a:xfrm>
            <a:custGeom>
              <a:avLst/>
              <a:gdLst>
                <a:gd name="T0" fmla="*/ 167 w 671"/>
                <a:gd name="T1" fmla="*/ 670 h 671"/>
                <a:gd name="T2" fmla="*/ 503 w 671"/>
                <a:gd name="T3" fmla="*/ 670 h 671"/>
                <a:gd name="T4" fmla="*/ 503 w 671"/>
                <a:gd name="T5" fmla="*/ 670 h 671"/>
                <a:gd name="T6" fmla="*/ 670 w 671"/>
                <a:gd name="T7" fmla="*/ 503 h 671"/>
                <a:gd name="T8" fmla="*/ 670 w 671"/>
                <a:gd name="T9" fmla="*/ 166 h 671"/>
                <a:gd name="T10" fmla="*/ 670 w 671"/>
                <a:gd name="T11" fmla="*/ 166 h 671"/>
                <a:gd name="T12" fmla="*/ 503 w 671"/>
                <a:gd name="T13" fmla="*/ 0 h 671"/>
                <a:gd name="T14" fmla="*/ 167 w 671"/>
                <a:gd name="T15" fmla="*/ 0 h 671"/>
                <a:gd name="T16" fmla="*/ 167 w 671"/>
                <a:gd name="T17" fmla="*/ 0 h 671"/>
                <a:gd name="T18" fmla="*/ 0 w 671"/>
                <a:gd name="T19" fmla="*/ 166 h 671"/>
                <a:gd name="T20" fmla="*/ 0 w 671"/>
                <a:gd name="T21" fmla="*/ 503 h 671"/>
                <a:gd name="T22" fmla="*/ 0 w 671"/>
                <a:gd name="T23" fmla="*/ 503 h 671"/>
                <a:gd name="T24" fmla="*/ 167 w 671"/>
                <a:gd name="T25" fmla="*/ 67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1">
                  <a:moveTo>
                    <a:pt x="167" y="670"/>
                  </a:moveTo>
                  <a:lnTo>
                    <a:pt x="503" y="670"/>
                  </a:lnTo>
                  <a:lnTo>
                    <a:pt x="503" y="670"/>
                  </a:lnTo>
                  <a:cubicBezTo>
                    <a:pt x="595" y="670"/>
                    <a:pt x="670" y="595"/>
                    <a:pt x="670" y="503"/>
                  </a:cubicBezTo>
                  <a:lnTo>
                    <a:pt x="670" y="166"/>
                  </a:lnTo>
                  <a:lnTo>
                    <a:pt x="670" y="166"/>
                  </a:lnTo>
                  <a:cubicBezTo>
                    <a:pt x="670" y="74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4"/>
                    <a:pt x="0" y="166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70"/>
                    <a:pt x="167" y="6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0E8FAE5B-57FC-E940-BEBC-006540748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7697069"/>
              <a:ext cx="605124" cy="605124"/>
            </a:xfrm>
            <a:custGeom>
              <a:avLst/>
              <a:gdLst>
                <a:gd name="T0" fmla="*/ 167 w 671"/>
                <a:gd name="T1" fmla="*/ 669 h 670"/>
                <a:gd name="T2" fmla="*/ 503 w 671"/>
                <a:gd name="T3" fmla="*/ 669 h 670"/>
                <a:gd name="T4" fmla="*/ 503 w 671"/>
                <a:gd name="T5" fmla="*/ 669 h 670"/>
                <a:gd name="T6" fmla="*/ 670 w 671"/>
                <a:gd name="T7" fmla="*/ 502 h 670"/>
                <a:gd name="T8" fmla="*/ 670 w 671"/>
                <a:gd name="T9" fmla="*/ 167 h 670"/>
                <a:gd name="T10" fmla="*/ 670 w 671"/>
                <a:gd name="T11" fmla="*/ 167 h 670"/>
                <a:gd name="T12" fmla="*/ 503 w 671"/>
                <a:gd name="T13" fmla="*/ 0 h 670"/>
                <a:gd name="T14" fmla="*/ 167 w 671"/>
                <a:gd name="T15" fmla="*/ 0 h 670"/>
                <a:gd name="T16" fmla="*/ 167 w 671"/>
                <a:gd name="T17" fmla="*/ 0 h 670"/>
                <a:gd name="T18" fmla="*/ 0 w 671"/>
                <a:gd name="T19" fmla="*/ 167 h 670"/>
                <a:gd name="T20" fmla="*/ 0 w 671"/>
                <a:gd name="T21" fmla="*/ 502 h 670"/>
                <a:gd name="T22" fmla="*/ 0 w 671"/>
                <a:gd name="T23" fmla="*/ 502 h 670"/>
                <a:gd name="T24" fmla="*/ 167 w 671"/>
                <a:gd name="T25" fmla="*/ 669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0">
                  <a:moveTo>
                    <a:pt x="167" y="669"/>
                  </a:moveTo>
                  <a:lnTo>
                    <a:pt x="503" y="669"/>
                  </a:lnTo>
                  <a:lnTo>
                    <a:pt x="503" y="669"/>
                  </a:lnTo>
                  <a:cubicBezTo>
                    <a:pt x="595" y="669"/>
                    <a:pt x="670" y="594"/>
                    <a:pt x="670" y="502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5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lnTo>
                    <a:pt x="0" y="502"/>
                  </a:lnTo>
                  <a:lnTo>
                    <a:pt x="0" y="502"/>
                  </a:lnTo>
                  <a:cubicBezTo>
                    <a:pt x="0" y="594"/>
                    <a:pt x="75" y="669"/>
                    <a:pt x="167" y="66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2381FC0D-7A4F-2749-8EDB-EDAFDFB93E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6927117"/>
              <a:ext cx="605124" cy="605124"/>
            </a:xfrm>
            <a:custGeom>
              <a:avLst/>
              <a:gdLst>
                <a:gd name="T0" fmla="*/ 167 w 671"/>
                <a:gd name="T1" fmla="*/ 669 h 670"/>
                <a:gd name="T2" fmla="*/ 503 w 671"/>
                <a:gd name="T3" fmla="*/ 669 h 670"/>
                <a:gd name="T4" fmla="*/ 503 w 671"/>
                <a:gd name="T5" fmla="*/ 669 h 670"/>
                <a:gd name="T6" fmla="*/ 670 w 671"/>
                <a:gd name="T7" fmla="*/ 503 h 670"/>
                <a:gd name="T8" fmla="*/ 670 w 671"/>
                <a:gd name="T9" fmla="*/ 167 h 670"/>
                <a:gd name="T10" fmla="*/ 670 w 671"/>
                <a:gd name="T11" fmla="*/ 167 h 670"/>
                <a:gd name="T12" fmla="*/ 503 w 671"/>
                <a:gd name="T13" fmla="*/ 0 h 670"/>
                <a:gd name="T14" fmla="*/ 167 w 671"/>
                <a:gd name="T15" fmla="*/ 0 h 670"/>
                <a:gd name="T16" fmla="*/ 167 w 671"/>
                <a:gd name="T17" fmla="*/ 0 h 670"/>
                <a:gd name="T18" fmla="*/ 0 w 671"/>
                <a:gd name="T19" fmla="*/ 167 h 670"/>
                <a:gd name="T20" fmla="*/ 0 w 671"/>
                <a:gd name="T21" fmla="*/ 503 h 670"/>
                <a:gd name="T22" fmla="*/ 0 w 671"/>
                <a:gd name="T23" fmla="*/ 503 h 670"/>
                <a:gd name="T24" fmla="*/ 167 w 671"/>
                <a:gd name="T25" fmla="*/ 669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0">
                  <a:moveTo>
                    <a:pt x="167" y="669"/>
                  </a:moveTo>
                  <a:lnTo>
                    <a:pt x="503" y="669"/>
                  </a:lnTo>
                  <a:lnTo>
                    <a:pt x="503" y="669"/>
                  </a:lnTo>
                  <a:cubicBezTo>
                    <a:pt x="595" y="669"/>
                    <a:pt x="670" y="595"/>
                    <a:pt x="670" y="503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4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4"/>
                    <a:pt x="0" y="167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69"/>
                    <a:pt x="167" y="66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D245EBB9-B9E5-C149-973B-3BD0C0A8F2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698" y="8467020"/>
              <a:ext cx="605124" cy="605124"/>
            </a:xfrm>
            <a:custGeom>
              <a:avLst/>
              <a:gdLst>
                <a:gd name="T0" fmla="*/ 167 w 671"/>
                <a:gd name="T1" fmla="*/ 670 h 671"/>
                <a:gd name="T2" fmla="*/ 503 w 671"/>
                <a:gd name="T3" fmla="*/ 670 h 671"/>
                <a:gd name="T4" fmla="*/ 503 w 671"/>
                <a:gd name="T5" fmla="*/ 670 h 671"/>
                <a:gd name="T6" fmla="*/ 670 w 671"/>
                <a:gd name="T7" fmla="*/ 503 h 671"/>
                <a:gd name="T8" fmla="*/ 670 w 671"/>
                <a:gd name="T9" fmla="*/ 167 h 671"/>
                <a:gd name="T10" fmla="*/ 670 w 671"/>
                <a:gd name="T11" fmla="*/ 167 h 671"/>
                <a:gd name="T12" fmla="*/ 503 w 671"/>
                <a:gd name="T13" fmla="*/ 0 h 671"/>
                <a:gd name="T14" fmla="*/ 167 w 671"/>
                <a:gd name="T15" fmla="*/ 0 h 671"/>
                <a:gd name="T16" fmla="*/ 167 w 671"/>
                <a:gd name="T17" fmla="*/ 0 h 671"/>
                <a:gd name="T18" fmla="*/ 0 w 671"/>
                <a:gd name="T19" fmla="*/ 167 h 671"/>
                <a:gd name="T20" fmla="*/ 0 w 671"/>
                <a:gd name="T21" fmla="*/ 503 h 671"/>
                <a:gd name="T22" fmla="*/ 0 w 671"/>
                <a:gd name="T23" fmla="*/ 503 h 671"/>
                <a:gd name="T24" fmla="*/ 167 w 671"/>
                <a:gd name="T25" fmla="*/ 67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1" h="671">
                  <a:moveTo>
                    <a:pt x="167" y="670"/>
                  </a:moveTo>
                  <a:lnTo>
                    <a:pt x="503" y="670"/>
                  </a:lnTo>
                  <a:lnTo>
                    <a:pt x="503" y="670"/>
                  </a:lnTo>
                  <a:cubicBezTo>
                    <a:pt x="595" y="670"/>
                    <a:pt x="670" y="595"/>
                    <a:pt x="670" y="503"/>
                  </a:cubicBezTo>
                  <a:lnTo>
                    <a:pt x="670" y="167"/>
                  </a:lnTo>
                  <a:lnTo>
                    <a:pt x="670" y="167"/>
                  </a:lnTo>
                  <a:cubicBezTo>
                    <a:pt x="670" y="75"/>
                    <a:pt x="595" y="0"/>
                    <a:pt x="503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lnTo>
                    <a:pt x="0" y="503"/>
                  </a:lnTo>
                  <a:lnTo>
                    <a:pt x="0" y="503"/>
                  </a:lnTo>
                  <a:cubicBezTo>
                    <a:pt x="0" y="595"/>
                    <a:pt x="75" y="670"/>
                    <a:pt x="167" y="67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61A14418-F5E8-6A48-A8F9-04443EA49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4434" y="6036306"/>
              <a:ext cx="430451" cy="324397"/>
            </a:xfrm>
            <a:custGeom>
              <a:avLst/>
              <a:gdLst>
                <a:gd name="T0" fmla="*/ 333 w 607"/>
                <a:gd name="T1" fmla="*/ 3 h 460"/>
                <a:gd name="T2" fmla="*/ 333 w 607"/>
                <a:gd name="T3" fmla="*/ 3 h 460"/>
                <a:gd name="T4" fmla="*/ 216 w 607"/>
                <a:gd name="T5" fmla="*/ 140 h 460"/>
                <a:gd name="T6" fmla="*/ 216 w 607"/>
                <a:gd name="T7" fmla="*/ 140 h 460"/>
                <a:gd name="T8" fmla="*/ 7 w 607"/>
                <a:gd name="T9" fmla="*/ 342 h 460"/>
                <a:gd name="T10" fmla="*/ 7 w 607"/>
                <a:gd name="T11" fmla="*/ 342 h 460"/>
                <a:gd name="T12" fmla="*/ 315 w 607"/>
                <a:gd name="T13" fmla="*/ 422 h 460"/>
                <a:gd name="T14" fmla="*/ 315 w 607"/>
                <a:gd name="T15" fmla="*/ 422 h 460"/>
                <a:gd name="T16" fmla="*/ 506 w 607"/>
                <a:gd name="T17" fmla="*/ 246 h 460"/>
                <a:gd name="T18" fmla="*/ 506 w 607"/>
                <a:gd name="T19" fmla="*/ 246 h 460"/>
                <a:gd name="T20" fmla="*/ 600 w 607"/>
                <a:gd name="T21" fmla="*/ 142 h 460"/>
                <a:gd name="T22" fmla="*/ 600 w 607"/>
                <a:gd name="T23" fmla="*/ 142 h 460"/>
                <a:gd name="T24" fmla="*/ 559 w 607"/>
                <a:gd name="T25" fmla="*/ 0 h 460"/>
                <a:gd name="T26" fmla="*/ 559 w 607"/>
                <a:gd name="T27" fmla="*/ 0 h 460"/>
                <a:gd name="T28" fmla="*/ 495 w 607"/>
                <a:gd name="T29" fmla="*/ 16 h 460"/>
                <a:gd name="T30" fmla="*/ 495 w 607"/>
                <a:gd name="T31" fmla="*/ 16 h 460"/>
                <a:gd name="T32" fmla="*/ 333 w 607"/>
                <a:gd name="T33" fmla="*/ 3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460">
                  <a:moveTo>
                    <a:pt x="333" y="3"/>
                  </a:moveTo>
                  <a:lnTo>
                    <a:pt x="333" y="3"/>
                  </a:lnTo>
                  <a:cubicBezTo>
                    <a:pt x="333" y="3"/>
                    <a:pt x="272" y="57"/>
                    <a:pt x="216" y="140"/>
                  </a:cubicBezTo>
                  <a:lnTo>
                    <a:pt x="216" y="140"/>
                  </a:lnTo>
                  <a:cubicBezTo>
                    <a:pt x="161" y="224"/>
                    <a:pt x="13" y="228"/>
                    <a:pt x="7" y="342"/>
                  </a:cubicBezTo>
                  <a:lnTo>
                    <a:pt x="7" y="342"/>
                  </a:lnTo>
                  <a:cubicBezTo>
                    <a:pt x="0" y="455"/>
                    <a:pt x="207" y="459"/>
                    <a:pt x="315" y="422"/>
                  </a:cubicBezTo>
                  <a:lnTo>
                    <a:pt x="315" y="422"/>
                  </a:lnTo>
                  <a:cubicBezTo>
                    <a:pt x="424" y="385"/>
                    <a:pt x="441" y="274"/>
                    <a:pt x="506" y="246"/>
                  </a:cubicBezTo>
                  <a:lnTo>
                    <a:pt x="506" y="246"/>
                  </a:lnTo>
                  <a:cubicBezTo>
                    <a:pt x="572" y="219"/>
                    <a:pt x="606" y="196"/>
                    <a:pt x="600" y="142"/>
                  </a:cubicBezTo>
                  <a:lnTo>
                    <a:pt x="600" y="142"/>
                  </a:lnTo>
                  <a:cubicBezTo>
                    <a:pt x="596" y="88"/>
                    <a:pt x="559" y="0"/>
                    <a:pt x="559" y="0"/>
                  </a:cubicBezTo>
                  <a:lnTo>
                    <a:pt x="559" y="0"/>
                  </a:lnTo>
                  <a:cubicBezTo>
                    <a:pt x="559" y="0"/>
                    <a:pt x="519" y="13"/>
                    <a:pt x="495" y="16"/>
                  </a:cubicBezTo>
                  <a:lnTo>
                    <a:pt x="495" y="16"/>
                  </a:lnTo>
                  <a:cubicBezTo>
                    <a:pt x="471" y="18"/>
                    <a:pt x="390" y="19"/>
                    <a:pt x="333" y="3"/>
                  </a:cubicBezTo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61000275-1FB9-BF4C-B549-BFA390488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777" y="4277073"/>
              <a:ext cx="336875" cy="386781"/>
            </a:xfrm>
            <a:custGeom>
              <a:avLst/>
              <a:gdLst>
                <a:gd name="T0" fmla="*/ 476 w 477"/>
                <a:gd name="T1" fmla="*/ 159 h 549"/>
                <a:gd name="T2" fmla="*/ 476 w 477"/>
                <a:gd name="T3" fmla="*/ 159 h 549"/>
                <a:gd name="T4" fmla="*/ 86 w 477"/>
                <a:gd name="T5" fmla="*/ 548 h 549"/>
                <a:gd name="T6" fmla="*/ 0 w 477"/>
                <a:gd name="T7" fmla="*/ 385 h 549"/>
                <a:gd name="T8" fmla="*/ 0 w 477"/>
                <a:gd name="T9" fmla="*/ 385 h 549"/>
                <a:gd name="T10" fmla="*/ 330 w 477"/>
                <a:gd name="T11" fmla="*/ 0 h 549"/>
                <a:gd name="T12" fmla="*/ 330 w 477"/>
                <a:gd name="T13" fmla="*/ 0 h 549"/>
                <a:gd name="T14" fmla="*/ 476 w 477"/>
                <a:gd name="T15" fmla="*/ 15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549">
                  <a:moveTo>
                    <a:pt x="476" y="159"/>
                  </a:moveTo>
                  <a:lnTo>
                    <a:pt x="476" y="159"/>
                  </a:lnTo>
                  <a:cubicBezTo>
                    <a:pt x="307" y="331"/>
                    <a:pt x="86" y="548"/>
                    <a:pt x="86" y="548"/>
                  </a:cubicBezTo>
                  <a:lnTo>
                    <a:pt x="0" y="385"/>
                  </a:lnTo>
                  <a:lnTo>
                    <a:pt x="0" y="385"/>
                  </a:lnTo>
                  <a:cubicBezTo>
                    <a:pt x="0" y="385"/>
                    <a:pt x="196" y="154"/>
                    <a:pt x="330" y="0"/>
                  </a:cubicBezTo>
                  <a:lnTo>
                    <a:pt x="330" y="0"/>
                  </a:lnTo>
                  <a:cubicBezTo>
                    <a:pt x="370" y="20"/>
                    <a:pt x="446" y="67"/>
                    <a:pt x="476" y="159"/>
                  </a:cubicBezTo>
                </a:path>
              </a:pathLst>
            </a:custGeom>
            <a:solidFill>
              <a:srgbClr val="EEA8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291568F9-DD6B-D54C-9823-E4907C3E3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588" y="5986400"/>
              <a:ext cx="364946" cy="318159"/>
            </a:xfrm>
            <a:custGeom>
              <a:avLst/>
              <a:gdLst>
                <a:gd name="T0" fmla="*/ 262 w 518"/>
                <a:gd name="T1" fmla="*/ 5 h 450"/>
                <a:gd name="T2" fmla="*/ 262 w 518"/>
                <a:gd name="T3" fmla="*/ 5 h 450"/>
                <a:gd name="T4" fmla="*/ 353 w 518"/>
                <a:gd name="T5" fmla="*/ 107 h 450"/>
                <a:gd name="T6" fmla="*/ 353 w 518"/>
                <a:gd name="T7" fmla="*/ 107 h 450"/>
                <a:gd name="T8" fmla="*/ 517 w 518"/>
                <a:gd name="T9" fmla="*/ 326 h 450"/>
                <a:gd name="T10" fmla="*/ 517 w 518"/>
                <a:gd name="T11" fmla="*/ 326 h 450"/>
                <a:gd name="T12" fmla="*/ 336 w 518"/>
                <a:gd name="T13" fmla="*/ 434 h 450"/>
                <a:gd name="T14" fmla="*/ 336 w 518"/>
                <a:gd name="T15" fmla="*/ 434 h 450"/>
                <a:gd name="T16" fmla="*/ 145 w 518"/>
                <a:gd name="T17" fmla="*/ 301 h 450"/>
                <a:gd name="T18" fmla="*/ 145 w 518"/>
                <a:gd name="T19" fmla="*/ 301 h 450"/>
                <a:gd name="T20" fmla="*/ 7 w 518"/>
                <a:gd name="T21" fmla="*/ 157 h 450"/>
                <a:gd name="T22" fmla="*/ 7 w 518"/>
                <a:gd name="T23" fmla="*/ 157 h 450"/>
                <a:gd name="T24" fmla="*/ 51 w 518"/>
                <a:gd name="T25" fmla="*/ 0 h 450"/>
                <a:gd name="T26" fmla="*/ 262 w 518"/>
                <a:gd name="T27" fmla="*/ 5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8" h="450">
                  <a:moveTo>
                    <a:pt x="262" y="5"/>
                  </a:moveTo>
                  <a:lnTo>
                    <a:pt x="262" y="5"/>
                  </a:lnTo>
                  <a:cubicBezTo>
                    <a:pt x="262" y="5"/>
                    <a:pt x="319" y="68"/>
                    <a:pt x="353" y="107"/>
                  </a:cubicBezTo>
                  <a:lnTo>
                    <a:pt x="353" y="107"/>
                  </a:lnTo>
                  <a:cubicBezTo>
                    <a:pt x="387" y="145"/>
                    <a:pt x="515" y="213"/>
                    <a:pt x="517" y="326"/>
                  </a:cubicBezTo>
                  <a:lnTo>
                    <a:pt x="517" y="326"/>
                  </a:lnTo>
                  <a:cubicBezTo>
                    <a:pt x="517" y="449"/>
                    <a:pt x="421" y="439"/>
                    <a:pt x="336" y="434"/>
                  </a:cubicBezTo>
                  <a:lnTo>
                    <a:pt x="336" y="434"/>
                  </a:lnTo>
                  <a:cubicBezTo>
                    <a:pt x="251" y="429"/>
                    <a:pt x="181" y="370"/>
                    <a:pt x="145" y="301"/>
                  </a:cubicBezTo>
                  <a:lnTo>
                    <a:pt x="145" y="301"/>
                  </a:lnTo>
                  <a:cubicBezTo>
                    <a:pt x="110" y="231"/>
                    <a:pt x="14" y="213"/>
                    <a:pt x="7" y="157"/>
                  </a:cubicBezTo>
                  <a:lnTo>
                    <a:pt x="7" y="157"/>
                  </a:lnTo>
                  <a:cubicBezTo>
                    <a:pt x="0" y="101"/>
                    <a:pt x="51" y="0"/>
                    <a:pt x="51" y="0"/>
                  </a:cubicBezTo>
                  <a:lnTo>
                    <a:pt x="262" y="5"/>
                  </a:lnTo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74BAFFC2-2743-0C44-9059-8E0E3DDCE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8373" y="5911539"/>
              <a:ext cx="1081660" cy="136644"/>
            </a:xfrm>
            <a:custGeom>
              <a:avLst/>
              <a:gdLst>
                <a:gd name="connsiteX0" fmla="*/ 6512 w 998814"/>
                <a:gd name="connsiteY0" fmla="*/ 66246 h 126178"/>
                <a:gd name="connsiteX1" fmla="*/ 149125 w 998814"/>
                <a:gd name="connsiteY1" fmla="*/ 69502 h 126178"/>
                <a:gd name="connsiteX2" fmla="*/ 147171 w 998814"/>
                <a:gd name="connsiteY2" fmla="*/ 113784 h 126178"/>
                <a:gd name="connsiteX3" fmla="*/ 0 w 998814"/>
                <a:gd name="connsiteY3" fmla="*/ 115737 h 126178"/>
                <a:gd name="connsiteX4" fmla="*/ 868385 w 998814"/>
                <a:gd name="connsiteY4" fmla="*/ 0 h 126178"/>
                <a:gd name="connsiteX5" fmla="*/ 994249 w 998814"/>
                <a:gd name="connsiteY5" fmla="*/ 10970 h 126178"/>
                <a:gd name="connsiteX6" fmla="*/ 998814 w 998814"/>
                <a:gd name="connsiteY6" fmla="*/ 70984 h 126178"/>
                <a:gd name="connsiteX7" fmla="*/ 861211 w 998814"/>
                <a:gd name="connsiteY7" fmla="*/ 67757 h 12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8814" h="126178">
                  <a:moveTo>
                    <a:pt x="6512" y="66246"/>
                  </a:moveTo>
                  <a:lnTo>
                    <a:pt x="149125" y="69502"/>
                  </a:lnTo>
                  <a:lnTo>
                    <a:pt x="147171" y="113784"/>
                  </a:lnTo>
                  <a:cubicBezTo>
                    <a:pt x="70330" y="140483"/>
                    <a:pt x="0" y="115737"/>
                    <a:pt x="0" y="115737"/>
                  </a:cubicBezTo>
                  <a:close/>
                  <a:moveTo>
                    <a:pt x="868385" y="0"/>
                  </a:moveTo>
                  <a:lnTo>
                    <a:pt x="994249" y="10970"/>
                  </a:lnTo>
                  <a:lnTo>
                    <a:pt x="998814" y="70984"/>
                  </a:lnTo>
                  <a:cubicBezTo>
                    <a:pt x="977293" y="117446"/>
                    <a:pt x="861211" y="67757"/>
                    <a:pt x="861211" y="677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23988590-CE47-D647-AC14-9F267B529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778" y="3525344"/>
              <a:ext cx="1285354" cy="1140922"/>
            </a:xfrm>
            <a:custGeom>
              <a:avLst/>
              <a:gdLst>
                <a:gd name="connsiteX0" fmla="*/ 992993 w 1186907"/>
                <a:gd name="connsiteY0" fmla="*/ 514464 h 1053537"/>
                <a:gd name="connsiteX1" fmla="*/ 992551 w 1186907"/>
                <a:gd name="connsiteY1" fmla="*/ 525061 h 1053537"/>
                <a:gd name="connsiteX2" fmla="*/ 989937 w 1186907"/>
                <a:gd name="connsiteY2" fmla="*/ 626286 h 1053537"/>
                <a:gd name="connsiteX3" fmla="*/ 988536 w 1186907"/>
                <a:gd name="connsiteY3" fmla="*/ 701279 h 1053537"/>
                <a:gd name="connsiteX4" fmla="*/ 997420 w 1186907"/>
                <a:gd name="connsiteY4" fmla="*/ 695066 h 1053537"/>
                <a:gd name="connsiteX5" fmla="*/ 1007857 w 1186907"/>
                <a:gd name="connsiteY5" fmla="*/ 591885 h 1053537"/>
                <a:gd name="connsiteX6" fmla="*/ 994200 w 1186907"/>
                <a:gd name="connsiteY6" fmla="*/ 521908 h 1053537"/>
                <a:gd name="connsiteX7" fmla="*/ 649429 w 1186907"/>
                <a:gd name="connsiteY7" fmla="*/ 0 h 1053537"/>
                <a:gd name="connsiteX8" fmla="*/ 876870 w 1186907"/>
                <a:gd name="connsiteY8" fmla="*/ 8490 h 1053537"/>
                <a:gd name="connsiteX9" fmla="*/ 941573 w 1186907"/>
                <a:gd name="connsiteY9" fmla="*/ 28735 h 1053537"/>
                <a:gd name="connsiteX10" fmla="*/ 1146793 w 1186907"/>
                <a:gd name="connsiteY10" fmla="*/ 173061 h 1053537"/>
                <a:gd name="connsiteX11" fmla="*/ 1146794 w 1186907"/>
                <a:gd name="connsiteY11" fmla="*/ 173135 h 1053537"/>
                <a:gd name="connsiteX12" fmla="*/ 1147899 w 1186907"/>
                <a:gd name="connsiteY12" fmla="*/ 174520 h 1053537"/>
                <a:gd name="connsiteX13" fmla="*/ 1176792 w 1186907"/>
                <a:gd name="connsiteY13" fmla="*/ 352219 h 1053537"/>
                <a:gd name="connsiteX14" fmla="*/ 1173531 w 1186907"/>
                <a:gd name="connsiteY14" fmla="*/ 807389 h 1053537"/>
                <a:gd name="connsiteX15" fmla="*/ 1032184 w 1186907"/>
                <a:gd name="connsiteY15" fmla="*/ 869285 h 1053537"/>
                <a:gd name="connsiteX16" fmla="*/ 995508 w 1186907"/>
                <a:gd name="connsiteY16" fmla="*/ 883595 h 1053537"/>
                <a:gd name="connsiteX17" fmla="*/ 1001538 w 1186907"/>
                <a:gd name="connsiteY17" fmla="*/ 934612 h 1053537"/>
                <a:gd name="connsiteX18" fmla="*/ 1018040 w 1186907"/>
                <a:gd name="connsiteY18" fmla="*/ 1031184 h 1053537"/>
                <a:gd name="connsiteX19" fmla="*/ 273628 w 1186907"/>
                <a:gd name="connsiteY19" fmla="*/ 1031184 h 1053537"/>
                <a:gd name="connsiteX20" fmla="*/ 494533 w 1186907"/>
                <a:gd name="connsiteY20" fmla="*/ 839837 h 1053537"/>
                <a:gd name="connsiteX21" fmla="*/ 471822 w 1186907"/>
                <a:gd name="connsiteY21" fmla="*/ 673796 h 1053537"/>
                <a:gd name="connsiteX22" fmla="*/ 451337 w 1186907"/>
                <a:gd name="connsiteY22" fmla="*/ 579171 h 1053537"/>
                <a:gd name="connsiteX23" fmla="*/ 439098 w 1186907"/>
                <a:gd name="connsiteY23" fmla="*/ 634247 h 1053537"/>
                <a:gd name="connsiteX24" fmla="*/ 430043 w 1186907"/>
                <a:gd name="connsiteY24" fmla="*/ 666374 h 1053537"/>
                <a:gd name="connsiteX25" fmla="*/ 310623 w 1186907"/>
                <a:gd name="connsiteY25" fmla="*/ 799135 h 1053537"/>
                <a:gd name="connsiteX26" fmla="*/ 56121 w 1186907"/>
                <a:gd name="connsiteY26" fmla="*/ 1053537 h 1053537"/>
                <a:gd name="connsiteX27" fmla="*/ 0 w 1186907"/>
                <a:gd name="connsiteY27" fmla="*/ 946937 h 1053537"/>
                <a:gd name="connsiteX28" fmla="*/ 215348 w 1186907"/>
                <a:gd name="connsiteY28" fmla="*/ 695150 h 1053537"/>
                <a:gd name="connsiteX29" fmla="*/ 292351 w 1186907"/>
                <a:gd name="connsiteY29" fmla="*/ 607515 h 1053537"/>
                <a:gd name="connsiteX30" fmla="*/ 361523 w 1186907"/>
                <a:gd name="connsiteY30" fmla="*/ 298177 h 1053537"/>
                <a:gd name="connsiteX31" fmla="*/ 441086 w 1186907"/>
                <a:gd name="connsiteY31" fmla="*/ 105689 h 1053537"/>
                <a:gd name="connsiteX32" fmla="*/ 448287 w 1186907"/>
                <a:gd name="connsiteY32" fmla="*/ 95794 h 1053537"/>
                <a:gd name="connsiteX33" fmla="*/ 450091 w 1186907"/>
                <a:gd name="connsiteY33" fmla="*/ 92082 h 1053537"/>
                <a:gd name="connsiteX34" fmla="*/ 649429 w 1186907"/>
                <a:gd name="connsiteY34" fmla="*/ 0 h 1053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86907" h="1053537">
                  <a:moveTo>
                    <a:pt x="992993" y="514464"/>
                  </a:moveTo>
                  <a:lnTo>
                    <a:pt x="992551" y="525061"/>
                  </a:lnTo>
                  <a:cubicBezTo>
                    <a:pt x="991898" y="549225"/>
                    <a:pt x="991244" y="586449"/>
                    <a:pt x="989937" y="626286"/>
                  </a:cubicBezTo>
                  <a:lnTo>
                    <a:pt x="988536" y="701279"/>
                  </a:lnTo>
                  <a:lnTo>
                    <a:pt x="997420" y="695066"/>
                  </a:lnTo>
                  <a:cubicBezTo>
                    <a:pt x="1017641" y="676127"/>
                    <a:pt x="1022859" y="645434"/>
                    <a:pt x="1007857" y="591885"/>
                  </a:cubicBezTo>
                  <a:cubicBezTo>
                    <a:pt x="1004270" y="578498"/>
                    <a:pt x="999459" y="553029"/>
                    <a:pt x="994200" y="521908"/>
                  </a:cubicBezTo>
                  <a:close/>
                  <a:moveTo>
                    <a:pt x="649429" y="0"/>
                  </a:moveTo>
                  <a:lnTo>
                    <a:pt x="876870" y="8490"/>
                  </a:lnTo>
                  <a:cubicBezTo>
                    <a:pt x="876870" y="8490"/>
                    <a:pt x="914777" y="16327"/>
                    <a:pt x="941573" y="28735"/>
                  </a:cubicBezTo>
                  <a:cubicBezTo>
                    <a:pt x="968369" y="41143"/>
                    <a:pt x="1121957" y="96000"/>
                    <a:pt x="1146793" y="173061"/>
                  </a:cubicBezTo>
                  <a:lnTo>
                    <a:pt x="1146794" y="173135"/>
                  </a:lnTo>
                  <a:lnTo>
                    <a:pt x="1147899" y="174520"/>
                  </a:lnTo>
                  <a:cubicBezTo>
                    <a:pt x="1153677" y="184714"/>
                    <a:pt x="1166518" y="221447"/>
                    <a:pt x="1176792" y="352219"/>
                  </a:cubicBezTo>
                  <a:cubicBezTo>
                    <a:pt x="1189837" y="526581"/>
                    <a:pt x="1191794" y="786491"/>
                    <a:pt x="1173531" y="807389"/>
                  </a:cubicBezTo>
                  <a:cubicBezTo>
                    <a:pt x="1168150" y="814246"/>
                    <a:pt x="1109568" y="838735"/>
                    <a:pt x="1032184" y="869285"/>
                  </a:cubicBezTo>
                  <a:lnTo>
                    <a:pt x="995508" y="883595"/>
                  </a:lnTo>
                  <a:lnTo>
                    <a:pt x="1001538" y="934612"/>
                  </a:lnTo>
                  <a:cubicBezTo>
                    <a:pt x="1008563" y="984327"/>
                    <a:pt x="1016079" y="1023674"/>
                    <a:pt x="1018040" y="1031184"/>
                  </a:cubicBezTo>
                  <a:cubicBezTo>
                    <a:pt x="1022615" y="1044898"/>
                    <a:pt x="273628" y="1031184"/>
                    <a:pt x="273628" y="1031184"/>
                  </a:cubicBezTo>
                  <a:cubicBezTo>
                    <a:pt x="273628" y="1031184"/>
                    <a:pt x="480809" y="880327"/>
                    <a:pt x="494533" y="839837"/>
                  </a:cubicBezTo>
                  <a:cubicBezTo>
                    <a:pt x="501069" y="819592"/>
                    <a:pt x="487835" y="749061"/>
                    <a:pt x="471822" y="673796"/>
                  </a:cubicBezTo>
                  <a:lnTo>
                    <a:pt x="451337" y="579171"/>
                  </a:lnTo>
                  <a:lnTo>
                    <a:pt x="439098" y="634247"/>
                  </a:lnTo>
                  <a:cubicBezTo>
                    <a:pt x="435427" y="649534"/>
                    <a:pt x="432327" y="660816"/>
                    <a:pt x="430043" y="666374"/>
                  </a:cubicBezTo>
                  <a:cubicBezTo>
                    <a:pt x="423517" y="679454"/>
                    <a:pt x="372617" y="734389"/>
                    <a:pt x="310623" y="799135"/>
                  </a:cubicBezTo>
                  <a:cubicBezTo>
                    <a:pt x="200339" y="911621"/>
                    <a:pt x="56121" y="1053537"/>
                    <a:pt x="56121" y="1053537"/>
                  </a:cubicBezTo>
                  <a:lnTo>
                    <a:pt x="0" y="946937"/>
                  </a:lnTo>
                  <a:cubicBezTo>
                    <a:pt x="0" y="946937"/>
                    <a:pt x="127904" y="795865"/>
                    <a:pt x="215348" y="695150"/>
                  </a:cubicBezTo>
                  <a:cubicBezTo>
                    <a:pt x="255154" y="648717"/>
                    <a:pt x="287130" y="612747"/>
                    <a:pt x="292351" y="607515"/>
                  </a:cubicBezTo>
                  <a:cubicBezTo>
                    <a:pt x="310623" y="591165"/>
                    <a:pt x="331505" y="430284"/>
                    <a:pt x="361523" y="298177"/>
                  </a:cubicBezTo>
                  <a:cubicBezTo>
                    <a:pt x="383548" y="198607"/>
                    <a:pt x="422824" y="132513"/>
                    <a:pt x="441086" y="105689"/>
                  </a:cubicBezTo>
                  <a:lnTo>
                    <a:pt x="448287" y="95794"/>
                  </a:lnTo>
                  <a:lnTo>
                    <a:pt x="450091" y="92082"/>
                  </a:lnTo>
                  <a:cubicBezTo>
                    <a:pt x="493226" y="47674"/>
                    <a:pt x="649429" y="0"/>
                    <a:pt x="6494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61">
              <a:extLst>
                <a:ext uri="{FF2B5EF4-FFF2-40B4-BE49-F238E27FC236}">
                  <a16:creationId xmlns:a16="http://schemas.microsoft.com/office/drawing/2014/main" id="{18D0D4F1-DC21-AF41-BD38-7424FA8C3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929" y="4598351"/>
              <a:ext cx="1500339" cy="1425479"/>
            </a:xfrm>
            <a:custGeom>
              <a:avLst/>
              <a:gdLst>
                <a:gd name="T0" fmla="*/ 1961 w 2123"/>
                <a:gd name="T1" fmla="*/ 60 h 2016"/>
                <a:gd name="T2" fmla="*/ 1961 w 2123"/>
                <a:gd name="T3" fmla="*/ 60 h 2016"/>
                <a:gd name="T4" fmla="*/ 2120 w 2123"/>
                <a:gd name="T5" fmla="*/ 444 h 2016"/>
                <a:gd name="T6" fmla="*/ 2120 w 2123"/>
                <a:gd name="T7" fmla="*/ 444 h 2016"/>
                <a:gd name="T8" fmla="*/ 2057 w 2123"/>
                <a:gd name="T9" fmla="*/ 1120 h 2016"/>
                <a:gd name="T10" fmla="*/ 2057 w 2123"/>
                <a:gd name="T11" fmla="*/ 1120 h 2016"/>
                <a:gd name="T12" fmla="*/ 1972 w 2123"/>
                <a:gd name="T13" fmla="*/ 1921 h 2016"/>
                <a:gd name="T14" fmla="*/ 1972 w 2123"/>
                <a:gd name="T15" fmla="*/ 1921 h 2016"/>
                <a:gd name="T16" fmla="*/ 1723 w 2123"/>
                <a:gd name="T17" fmla="*/ 1907 h 2016"/>
                <a:gd name="T18" fmla="*/ 1723 w 2123"/>
                <a:gd name="T19" fmla="*/ 1907 h 2016"/>
                <a:gd name="T20" fmla="*/ 1677 w 2123"/>
                <a:gd name="T21" fmla="*/ 1156 h 2016"/>
                <a:gd name="T22" fmla="*/ 1677 w 2123"/>
                <a:gd name="T23" fmla="*/ 1156 h 2016"/>
                <a:gd name="T24" fmla="*/ 1631 w 2123"/>
                <a:gd name="T25" fmla="*/ 700 h 2016"/>
                <a:gd name="T26" fmla="*/ 1631 w 2123"/>
                <a:gd name="T27" fmla="*/ 700 h 2016"/>
                <a:gd name="T28" fmla="*/ 1303 w 2123"/>
                <a:gd name="T29" fmla="*/ 471 h 2016"/>
                <a:gd name="T30" fmla="*/ 1303 w 2123"/>
                <a:gd name="T31" fmla="*/ 471 h 2016"/>
                <a:gd name="T32" fmla="*/ 635 w 2123"/>
                <a:gd name="T33" fmla="*/ 595 h 2016"/>
                <a:gd name="T34" fmla="*/ 635 w 2123"/>
                <a:gd name="T35" fmla="*/ 595 h 2016"/>
                <a:gd name="T36" fmla="*/ 584 w 2123"/>
                <a:gd name="T37" fmla="*/ 1029 h 2016"/>
                <a:gd name="T38" fmla="*/ 584 w 2123"/>
                <a:gd name="T39" fmla="*/ 1029 h 2016"/>
                <a:gd name="T40" fmla="*/ 692 w 2123"/>
                <a:gd name="T41" fmla="*/ 1968 h 2016"/>
                <a:gd name="T42" fmla="*/ 692 w 2123"/>
                <a:gd name="T43" fmla="*/ 1968 h 2016"/>
                <a:gd name="T44" fmla="*/ 395 w 2123"/>
                <a:gd name="T45" fmla="*/ 1975 h 2016"/>
                <a:gd name="T46" fmla="*/ 395 w 2123"/>
                <a:gd name="T47" fmla="*/ 1975 h 2016"/>
                <a:gd name="T48" fmla="*/ 17 w 2123"/>
                <a:gd name="T49" fmla="*/ 515 h 2016"/>
                <a:gd name="T50" fmla="*/ 17 w 2123"/>
                <a:gd name="T51" fmla="*/ 515 h 2016"/>
                <a:gd name="T52" fmla="*/ 901 w 2123"/>
                <a:gd name="T53" fmla="*/ 0 h 2016"/>
                <a:gd name="T54" fmla="*/ 1961 w 2123"/>
                <a:gd name="T55" fmla="*/ 6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23" h="2016">
                  <a:moveTo>
                    <a:pt x="1961" y="60"/>
                  </a:moveTo>
                  <a:lnTo>
                    <a:pt x="1961" y="60"/>
                  </a:lnTo>
                  <a:cubicBezTo>
                    <a:pt x="1961" y="60"/>
                    <a:pt x="2117" y="288"/>
                    <a:pt x="2120" y="444"/>
                  </a:cubicBezTo>
                  <a:lnTo>
                    <a:pt x="2120" y="444"/>
                  </a:lnTo>
                  <a:cubicBezTo>
                    <a:pt x="2122" y="601"/>
                    <a:pt x="2062" y="1034"/>
                    <a:pt x="2057" y="1120"/>
                  </a:cubicBezTo>
                  <a:lnTo>
                    <a:pt x="2057" y="1120"/>
                  </a:lnTo>
                  <a:cubicBezTo>
                    <a:pt x="2053" y="1206"/>
                    <a:pt x="1972" y="1921"/>
                    <a:pt x="1972" y="1921"/>
                  </a:cubicBezTo>
                  <a:lnTo>
                    <a:pt x="1972" y="1921"/>
                  </a:lnTo>
                  <a:cubicBezTo>
                    <a:pt x="1972" y="1921"/>
                    <a:pt x="1910" y="1979"/>
                    <a:pt x="1723" y="1907"/>
                  </a:cubicBezTo>
                  <a:lnTo>
                    <a:pt x="1723" y="1907"/>
                  </a:lnTo>
                  <a:cubicBezTo>
                    <a:pt x="1723" y="1907"/>
                    <a:pt x="1681" y="1228"/>
                    <a:pt x="1677" y="1156"/>
                  </a:cubicBezTo>
                  <a:lnTo>
                    <a:pt x="1677" y="1156"/>
                  </a:lnTo>
                  <a:cubicBezTo>
                    <a:pt x="1673" y="1083"/>
                    <a:pt x="1673" y="749"/>
                    <a:pt x="1631" y="700"/>
                  </a:cubicBezTo>
                  <a:lnTo>
                    <a:pt x="1631" y="700"/>
                  </a:lnTo>
                  <a:cubicBezTo>
                    <a:pt x="1589" y="651"/>
                    <a:pt x="1336" y="499"/>
                    <a:pt x="1303" y="471"/>
                  </a:cubicBezTo>
                  <a:lnTo>
                    <a:pt x="1303" y="471"/>
                  </a:lnTo>
                  <a:cubicBezTo>
                    <a:pt x="1270" y="443"/>
                    <a:pt x="694" y="579"/>
                    <a:pt x="635" y="595"/>
                  </a:cubicBezTo>
                  <a:lnTo>
                    <a:pt x="635" y="595"/>
                  </a:lnTo>
                  <a:cubicBezTo>
                    <a:pt x="478" y="636"/>
                    <a:pt x="549" y="907"/>
                    <a:pt x="584" y="1029"/>
                  </a:cubicBezTo>
                  <a:lnTo>
                    <a:pt x="584" y="1029"/>
                  </a:lnTo>
                  <a:cubicBezTo>
                    <a:pt x="641" y="1232"/>
                    <a:pt x="692" y="1968"/>
                    <a:pt x="692" y="1968"/>
                  </a:cubicBezTo>
                  <a:lnTo>
                    <a:pt x="692" y="1968"/>
                  </a:lnTo>
                  <a:cubicBezTo>
                    <a:pt x="692" y="1968"/>
                    <a:pt x="581" y="2015"/>
                    <a:pt x="395" y="1975"/>
                  </a:cubicBezTo>
                  <a:lnTo>
                    <a:pt x="395" y="1975"/>
                  </a:lnTo>
                  <a:cubicBezTo>
                    <a:pt x="395" y="1975"/>
                    <a:pt x="29" y="648"/>
                    <a:pt x="17" y="515"/>
                  </a:cubicBezTo>
                  <a:lnTo>
                    <a:pt x="17" y="515"/>
                  </a:lnTo>
                  <a:cubicBezTo>
                    <a:pt x="5" y="383"/>
                    <a:pt x="0" y="165"/>
                    <a:pt x="901" y="0"/>
                  </a:cubicBezTo>
                  <a:lnTo>
                    <a:pt x="1961" y="60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F1610234-837E-6D48-9C4E-363AD4B44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2600" y="2986924"/>
              <a:ext cx="425688" cy="782452"/>
            </a:xfrm>
            <a:custGeom>
              <a:avLst/>
              <a:gdLst>
                <a:gd name="connsiteX0" fmla="*/ 129001 w 393084"/>
                <a:gd name="connsiteY0" fmla="*/ 22 h 722523"/>
                <a:gd name="connsiteX1" fmla="*/ 159151 w 393084"/>
                <a:gd name="connsiteY1" fmla="*/ 3080 h 722523"/>
                <a:gd name="connsiteX2" fmla="*/ 332497 w 393084"/>
                <a:gd name="connsiteY2" fmla="*/ 135312 h 722523"/>
                <a:gd name="connsiteX3" fmla="*/ 317753 w 393084"/>
                <a:gd name="connsiteY3" fmla="*/ 290373 h 722523"/>
                <a:gd name="connsiteX4" fmla="*/ 315365 w 393084"/>
                <a:gd name="connsiteY4" fmla="*/ 298150 h 722523"/>
                <a:gd name="connsiteX5" fmla="*/ 312259 w 393084"/>
                <a:gd name="connsiteY5" fmla="*/ 356963 h 722523"/>
                <a:gd name="connsiteX6" fmla="*/ 317970 w 393084"/>
                <a:gd name="connsiteY6" fmla="*/ 455127 h 722523"/>
                <a:gd name="connsiteX7" fmla="*/ 322346 w 393084"/>
                <a:gd name="connsiteY7" fmla="*/ 498274 h 722523"/>
                <a:gd name="connsiteX8" fmla="*/ 345964 w 393084"/>
                <a:gd name="connsiteY8" fmla="*/ 504778 h 722523"/>
                <a:gd name="connsiteX9" fmla="*/ 393084 w 393084"/>
                <a:gd name="connsiteY9" fmla="*/ 527161 h 722523"/>
                <a:gd name="connsiteX10" fmla="*/ 119212 w 393084"/>
                <a:gd name="connsiteY10" fmla="*/ 721875 h 722523"/>
                <a:gd name="connsiteX11" fmla="*/ 98246 w 393084"/>
                <a:gd name="connsiteY11" fmla="*/ 497105 h 722523"/>
                <a:gd name="connsiteX12" fmla="*/ 130863 w 393084"/>
                <a:gd name="connsiteY12" fmla="*/ 490683 h 722523"/>
                <a:gd name="connsiteX13" fmla="*/ 137735 w 393084"/>
                <a:gd name="connsiteY13" fmla="*/ 489788 h 722523"/>
                <a:gd name="connsiteX14" fmla="*/ 139056 w 393084"/>
                <a:gd name="connsiteY14" fmla="*/ 484333 h 722523"/>
                <a:gd name="connsiteX15" fmla="*/ 140856 w 393084"/>
                <a:gd name="connsiteY15" fmla="*/ 447813 h 722523"/>
                <a:gd name="connsiteX16" fmla="*/ 110889 w 393084"/>
                <a:gd name="connsiteY16" fmla="*/ 444568 h 722523"/>
                <a:gd name="connsiteX17" fmla="*/ 6659 w 393084"/>
                <a:gd name="connsiteY17" fmla="*/ 207974 h 722523"/>
                <a:gd name="connsiteX18" fmla="*/ 129001 w 393084"/>
                <a:gd name="connsiteY18" fmla="*/ 22 h 72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3084" h="722523">
                  <a:moveTo>
                    <a:pt x="129001" y="22"/>
                  </a:moveTo>
                  <a:cubicBezTo>
                    <a:pt x="146810" y="298"/>
                    <a:pt x="159151" y="3080"/>
                    <a:pt x="159151" y="3080"/>
                  </a:cubicBezTo>
                  <a:cubicBezTo>
                    <a:pt x="221712" y="5698"/>
                    <a:pt x="338362" y="57413"/>
                    <a:pt x="332497" y="135312"/>
                  </a:cubicBezTo>
                  <a:cubicBezTo>
                    <a:pt x="329564" y="174589"/>
                    <a:pt x="330705" y="234158"/>
                    <a:pt x="317753" y="290373"/>
                  </a:cubicBezTo>
                  <a:lnTo>
                    <a:pt x="315365" y="298150"/>
                  </a:lnTo>
                  <a:lnTo>
                    <a:pt x="312259" y="356963"/>
                  </a:lnTo>
                  <a:cubicBezTo>
                    <a:pt x="312841" y="389575"/>
                    <a:pt x="315150" y="423881"/>
                    <a:pt x="317970" y="455127"/>
                  </a:cubicBezTo>
                  <a:lnTo>
                    <a:pt x="322346" y="498274"/>
                  </a:lnTo>
                  <a:lnTo>
                    <a:pt x="345964" y="504778"/>
                  </a:lnTo>
                  <a:cubicBezTo>
                    <a:pt x="362095" y="510653"/>
                    <a:pt x="377933" y="518014"/>
                    <a:pt x="393084" y="527161"/>
                  </a:cubicBezTo>
                  <a:cubicBezTo>
                    <a:pt x="393084" y="527161"/>
                    <a:pt x="288908" y="735597"/>
                    <a:pt x="119212" y="721875"/>
                  </a:cubicBezTo>
                  <a:cubicBezTo>
                    <a:pt x="-49828" y="708154"/>
                    <a:pt x="90384" y="499065"/>
                    <a:pt x="98246" y="497105"/>
                  </a:cubicBezTo>
                  <a:cubicBezTo>
                    <a:pt x="100376" y="496615"/>
                    <a:pt x="112292" y="493674"/>
                    <a:pt x="130863" y="490683"/>
                  </a:cubicBezTo>
                  <a:lnTo>
                    <a:pt x="137735" y="489788"/>
                  </a:lnTo>
                  <a:lnTo>
                    <a:pt x="139056" y="484333"/>
                  </a:lnTo>
                  <a:lnTo>
                    <a:pt x="140856" y="447813"/>
                  </a:lnTo>
                  <a:lnTo>
                    <a:pt x="110889" y="444568"/>
                  </a:lnTo>
                  <a:cubicBezTo>
                    <a:pt x="63884" y="429417"/>
                    <a:pt x="34762" y="363445"/>
                    <a:pt x="6659" y="207974"/>
                  </a:cubicBezTo>
                  <a:cubicBezTo>
                    <a:pt x="-27065" y="20918"/>
                    <a:pt x="75574" y="-807"/>
                    <a:pt x="129001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6DDF6FDC-170E-DA4C-B222-E34C24B68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6712" y="2892146"/>
              <a:ext cx="408615" cy="380543"/>
            </a:xfrm>
            <a:custGeom>
              <a:avLst/>
              <a:gdLst>
                <a:gd name="T0" fmla="*/ 530 w 578"/>
                <a:gd name="T1" fmla="*/ 535 h 536"/>
                <a:gd name="T2" fmla="*/ 530 w 578"/>
                <a:gd name="T3" fmla="*/ 535 h 536"/>
                <a:gd name="T4" fmla="*/ 478 w 578"/>
                <a:gd name="T5" fmla="*/ 411 h 536"/>
                <a:gd name="T6" fmla="*/ 478 w 578"/>
                <a:gd name="T7" fmla="*/ 411 h 536"/>
                <a:gd name="T8" fmla="*/ 428 w 578"/>
                <a:gd name="T9" fmla="*/ 456 h 536"/>
                <a:gd name="T10" fmla="*/ 384 w 578"/>
                <a:gd name="T11" fmla="*/ 464 h 536"/>
                <a:gd name="T12" fmla="*/ 384 w 578"/>
                <a:gd name="T13" fmla="*/ 464 h 536"/>
                <a:gd name="T14" fmla="*/ 354 w 578"/>
                <a:gd name="T15" fmla="*/ 340 h 536"/>
                <a:gd name="T16" fmla="*/ 354 w 578"/>
                <a:gd name="T17" fmla="*/ 340 h 536"/>
                <a:gd name="T18" fmla="*/ 35 w 578"/>
                <a:gd name="T19" fmla="*/ 368 h 536"/>
                <a:gd name="T20" fmla="*/ 35 w 578"/>
                <a:gd name="T21" fmla="*/ 368 h 536"/>
                <a:gd name="T22" fmla="*/ 81 w 578"/>
                <a:gd name="T23" fmla="*/ 94 h 536"/>
                <a:gd name="T24" fmla="*/ 81 w 578"/>
                <a:gd name="T25" fmla="*/ 94 h 536"/>
                <a:gd name="T26" fmla="*/ 448 w 578"/>
                <a:gd name="T27" fmla="*/ 87 h 536"/>
                <a:gd name="T28" fmla="*/ 448 w 578"/>
                <a:gd name="T29" fmla="*/ 87 h 536"/>
                <a:gd name="T30" fmla="*/ 563 w 578"/>
                <a:gd name="T31" fmla="*/ 156 h 536"/>
                <a:gd name="T32" fmla="*/ 563 w 578"/>
                <a:gd name="T33" fmla="*/ 156 h 536"/>
                <a:gd name="T34" fmla="*/ 530 w 578"/>
                <a:gd name="T35" fmla="*/ 5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8" h="536">
                  <a:moveTo>
                    <a:pt x="530" y="535"/>
                  </a:moveTo>
                  <a:lnTo>
                    <a:pt x="530" y="535"/>
                  </a:lnTo>
                  <a:cubicBezTo>
                    <a:pt x="530" y="535"/>
                    <a:pt x="522" y="415"/>
                    <a:pt x="478" y="411"/>
                  </a:cubicBezTo>
                  <a:lnTo>
                    <a:pt x="478" y="411"/>
                  </a:lnTo>
                  <a:cubicBezTo>
                    <a:pt x="435" y="408"/>
                    <a:pt x="428" y="456"/>
                    <a:pt x="428" y="456"/>
                  </a:cubicBezTo>
                  <a:lnTo>
                    <a:pt x="384" y="464"/>
                  </a:lnTo>
                  <a:lnTo>
                    <a:pt x="384" y="464"/>
                  </a:lnTo>
                  <a:cubicBezTo>
                    <a:pt x="384" y="464"/>
                    <a:pt x="398" y="359"/>
                    <a:pt x="354" y="340"/>
                  </a:cubicBezTo>
                  <a:lnTo>
                    <a:pt x="354" y="340"/>
                  </a:lnTo>
                  <a:cubicBezTo>
                    <a:pt x="310" y="322"/>
                    <a:pt x="71" y="398"/>
                    <a:pt x="35" y="368"/>
                  </a:cubicBezTo>
                  <a:lnTo>
                    <a:pt x="35" y="368"/>
                  </a:lnTo>
                  <a:cubicBezTo>
                    <a:pt x="0" y="336"/>
                    <a:pt x="17" y="123"/>
                    <a:pt x="81" y="94"/>
                  </a:cubicBezTo>
                  <a:lnTo>
                    <a:pt x="81" y="94"/>
                  </a:lnTo>
                  <a:cubicBezTo>
                    <a:pt x="144" y="65"/>
                    <a:pt x="319" y="0"/>
                    <a:pt x="448" y="87"/>
                  </a:cubicBezTo>
                  <a:lnTo>
                    <a:pt x="448" y="87"/>
                  </a:lnTo>
                  <a:cubicBezTo>
                    <a:pt x="448" y="87"/>
                    <a:pt x="547" y="75"/>
                    <a:pt x="563" y="156"/>
                  </a:cubicBezTo>
                  <a:lnTo>
                    <a:pt x="563" y="156"/>
                  </a:lnTo>
                  <a:cubicBezTo>
                    <a:pt x="577" y="237"/>
                    <a:pt x="557" y="474"/>
                    <a:pt x="530" y="535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3025A264-DF3C-7C46-B1A1-738C4E7D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4507" y="3369384"/>
              <a:ext cx="168437" cy="143484"/>
            </a:xfrm>
            <a:custGeom>
              <a:avLst/>
              <a:gdLst>
                <a:gd name="T0" fmla="*/ 0 w 236"/>
                <a:gd name="T1" fmla="*/ 201 h 202"/>
                <a:gd name="T2" fmla="*/ 0 w 236"/>
                <a:gd name="T3" fmla="*/ 201 h 202"/>
                <a:gd name="T4" fmla="*/ 235 w 236"/>
                <a:gd name="T5" fmla="*/ 0 h 202"/>
                <a:gd name="T6" fmla="*/ 235 w 236"/>
                <a:gd name="T7" fmla="*/ 0 h 202"/>
                <a:gd name="T8" fmla="*/ 3 w 236"/>
                <a:gd name="T9" fmla="*/ 140 h 202"/>
                <a:gd name="T10" fmla="*/ 3 w 236"/>
                <a:gd name="T11" fmla="*/ 140 h 202"/>
                <a:gd name="T12" fmla="*/ 0 w 236"/>
                <a:gd name="T13" fmla="*/ 20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02">
                  <a:moveTo>
                    <a:pt x="0" y="201"/>
                  </a:moveTo>
                  <a:lnTo>
                    <a:pt x="0" y="201"/>
                  </a:lnTo>
                  <a:cubicBezTo>
                    <a:pt x="217" y="134"/>
                    <a:pt x="234" y="2"/>
                    <a:pt x="235" y="0"/>
                  </a:cubicBezTo>
                  <a:lnTo>
                    <a:pt x="235" y="0"/>
                  </a:lnTo>
                  <a:cubicBezTo>
                    <a:pt x="163" y="124"/>
                    <a:pt x="3" y="140"/>
                    <a:pt x="3" y="140"/>
                  </a:cubicBezTo>
                  <a:lnTo>
                    <a:pt x="3" y="140"/>
                  </a:lnTo>
                  <a:cubicBezTo>
                    <a:pt x="3" y="157"/>
                    <a:pt x="2" y="179"/>
                    <a:pt x="0" y="201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68">
              <a:extLst>
                <a:ext uri="{FF2B5EF4-FFF2-40B4-BE49-F238E27FC236}">
                  <a16:creationId xmlns:a16="http://schemas.microsoft.com/office/drawing/2014/main" id="{48429168-BFDE-8544-8947-3BF9ABE32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8646" y="4560920"/>
              <a:ext cx="898332" cy="140366"/>
            </a:xfrm>
            <a:custGeom>
              <a:avLst/>
              <a:gdLst>
                <a:gd name="T0" fmla="*/ 0 w 1271"/>
                <a:gd name="T1" fmla="*/ 98 h 197"/>
                <a:gd name="T2" fmla="*/ 0 w 1271"/>
                <a:gd name="T3" fmla="*/ 98 h 197"/>
                <a:gd name="T4" fmla="*/ 1270 w 1271"/>
                <a:gd name="T5" fmla="*/ 115 h 197"/>
                <a:gd name="T6" fmla="*/ 354 w 1271"/>
                <a:gd name="T7" fmla="*/ 0 h 197"/>
                <a:gd name="T8" fmla="*/ 354 w 1271"/>
                <a:gd name="T9" fmla="*/ 0 h 197"/>
                <a:gd name="T10" fmla="*/ 0 w 1271"/>
                <a:gd name="T11" fmla="*/ 9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1" h="197">
                  <a:moveTo>
                    <a:pt x="0" y="98"/>
                  </a:moveTo>
                  <a:lnTo>
                    <a:pt x="0" y="98"/>
                  </a:lnTo>
                  <a:cubicBezTo>
                    <a:pt x="0" y="98"/>
                    <a:pt x="791" y="196"/>
                    <a:pt x="1270" y="115"/>
                  </a:cubicBezTo>
                  <a:lnTo>
                    <a:pt x="354" y="0"/>
                  </a:lnTo>
                  <a:lnTo>
                    <a:pt x="354" y="0"/>
                  </a:lnTo>
                  <a:cubicBezTo>
                    <a:pt x="354" y="0"/>
                    <a:pt x="349" y="23"/>
                    <a:pt x="0" y="9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D977622B-EB28-F745-9546-E13016BEE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6045" y="3865339"/>
              <a:ext cx="622162" cy="379835"/>
            </a:xfrm>
            <a:custGeom>
              <a:avLst/>
              <a:gdLst>
                <a:gd name="connsiteX0" fmla="*/ 8341 w 574510"/>
                <a:gd name="connsiteY0" fmla="*/ 86408 h 350743"/>
                <a:gd name="connsiteX1" fmla="*/ 33006 w 574510"/>
                <a:gd name="connsiteY1" fmla="*/ 262632 h 350743"/>
                <a:gd name="connsiteX2" fmla="*/ 11586 w 574510"/>
                <a:gd name="connsiteY2" fmla="*/ 350743 h 350743"/>
                <a:gd name="connsiteX3" fmla="*/ 8341 w 574510"/>
                <a:gd name="connsiteY3" fmla="*/ 86408 h 350743"/>
                <a:gd name="connsiteX4" fmla="*/ 543650 w 574510"/>
                <a:gd name="connsiteY4" fmla="*/ 0 h 350743"/>
                <a:gd name="connsiteX5" fmla="*/ 574510 w 574510"/>
                <a:gd name="connsiteY5" fmla="*/ 211705 h 350743"/>
                <a:gd name="connsiteX6" fmla="*/ 571938 w 574510"/>
                <a:gd name="connsiteY6" fmla="*/ 313297 h 350743"/>
                <a:gd name="connsiteX7" fmla="*/ 543650 w 574510"/>
                <a:gd name="connsiteY7" fmla="*/ 0 h 35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4510" h="350743">
                  <a:moveTo>
                    <a:pt x="8341" y="86408"/>
                  </a:moveTo>
                  <a:cubicBezTo>
                    <a:pt x="12235" y="156898"/>
                    <a:pt x="33006" y="262632"/>
                    <a:pt x="33006" y="262632"/>
                  </a:cubicBezTo>
                  <a:cubicBezTo>
                    <a:pt x="23919" y="305709"/>
                    <a:pt x="16130" y="339648"/>
                    <a:pt x="11586" y="350743"/>
                  </a:cubicBezTo>
                  <a:cubicBezTo>
                    <a:pt x="-12430" y="234566"/>
                    <a:pt x="8341" y="86408"/>
                    <a:pt x="8341" y="86408"/>
                  </a:cubicBezTo>
                  <a:close/>
                  <a:moveTo>
                    <a:pt x="543650" y="0"/>
                  </a:moveTo>
                  <a:cubicBezTo>
                    <a:pt x="535935" y="47191"/>
                    <a:pt x="573867" y="209738"/>
                    <a:pt x="574510" y="211705"/>
                  </a:cubicBezTo>
                  <a:cubicBezTo>
                    <a:pt x="573867" y="235956"/>
                    <a:pt x="573224" y="273315"/>
                    <a:pt x="571938" y="313297"/>
                  </a:cubicBezTo>
                  <a:cubicBezTo>
                    <a:pt x="503146" y="140263"/>
                    <a:pt x="543007" y="2622"/>
                    <a:pt x="54365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74">
              <a:extLst>
                <a:ext uri="{FF2B5EF4-FFF2-40B4-BE49-F238E27FC236}">
                  <a16:creationId xmlns:a16="http://schemas.microsoft.com/office/drawing/2014/main" id="{519F794E-4398-DE45-8907-14BE739F1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745" y="4623306"/>
              <a:ext cx="795399" cy="205868"/>
            </a:xfrm>
            <a:custGeom>
              <a:avLst/>
              <a:gdLst>
                <a:gd name="T0" fmla="*/ 1124 w 1125"/>
                <a:gd name="T1" fmla="*/ 16 h 289"/>
                <a:gd name="T2" fmla="*/ 0 w 1125"/>
                <a:gd name="T3" fmla="*/ 0 h 289"/>
                <a:gd name="T4" fmla="*/ 567 w 1125"/>
                <a:gd name="T5" fmla="*/ 288 h 289"/>
                <a:gd name="T6" fmla="*/ 1124 w 1125"/>
                <a:gd name="T7" fmla="*/ 1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5" h="289">
                  <a:moveTo>
                    <a:pt x="1124" y="16"/>
                  </a:moveTo>
                  <a:lnTo>
                    <a:pt x="0" y="0"/>
                  </a:lnTo>
                  <a:lnTo>
                    <a:pt x="567" y="288"/>
                  </a:lnTo>
                  <a:lnTo>
                    <a:pt x="1124" y="16"/>
                  </a:ln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75">
              <a:extLst>
                <a:ext uri="{FF2B5EF4-FFF2-40B4-BE49-F238E27FC236}">
                  <a16:creationId xmlns:a16="http://schemas.microsoft.com/office/drawing/2014/main" id="{33D39D06-493D-874A-A202-6A42C25C6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9931" y="4635782"/>
              <a:ext cx="424212" cy="193391"/>
            </a:xfrm>
            <a:custGeom>
              <a:avLst/>
              <a:gdLst>
                <a:gd name="T0" fmla="*/ 43 w 601"/>
                <a:gd name="T1" fmla="*/ 272 h 273"/>
                <a:gd name="T2" fmla="*/ 600 w 601"/>
                <a:gd name="T3" fmla="*/ 57 h 273"/>
                <a:gd name="T4" fmla="*/ 600 w 601"/>
                <a:gd name="T5" fmla="*/ 0 h 273"/>
                <a:gd name="T6" fmla="*/ 0 w 601"/>
                <a:gd name="T7" fmla="*/ 218 h 273"/>
                <a:gd name="T8" fmla="*/ 43 w 601"/>
                <a:gd name="T9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1" h="273">
                  <a:moveTo>
                    <a:pt x="43" y="272"/>
                  </a:moveTo>
                  <a:lnTo>
                    <a:pt x="600" y="57"/>
                  </a:lnTo>
                  <a:lnTo>
                    <a:pt x="600" y="0"/>
                  </a:lnTo>
                  <a:lnTo>
                    <a:pt x="0" y="218"/>
                  </a:lnTo>
                  <a:lnTo>
                    <a:pt x="43" y="27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A8B56CA5-F789-1548-A625-8513C553F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5211" y="4348815"/>
              <a:ext cx="716200" cy="408214"/>
            </a:xfrm>
            <a:custGeom>
              <a:avLst/>
              <a:gdLst>
                <a:gd name="connsiteX0" fmla="*/ 598068 w 661345"/>
                <a:gd name="connsiteY0" fmla="*/ 0 h 376948"/>
                <a:gd name="connsiteX1" fmla="*/ 661345 w 661345"/>
                <a:gd name="connsiteY1" fmla="*/ 139383 h 376948"/>
                <a:gd name="connsiteX2" fmla="*/ 330910 w 661345"/>
                <a:gd name="connsiteY2" fmla="*/ 255912 h 376948"/>
                <a:gd name="connsiteX3" fmla="*/ 323740 w 661345"/>
                <a:gd name="connsiteY3" fmla="*/ 258262 h 376948"/>
                <a:gd name="connsiteX4" fmla="*/ 324338 w 661345"/>
                <a:gd name="connsiteY4" fmla="*/ 261769 h 376948"/>
                <a:gd name="connsiteX5" fmla="*/ 279936 w 661345"/>
                <a:gd name="connsiteY5" fmla="*/ 272970 h 376948"/>
                <a:gd name="connsiteX6" fmla="*/ 278777 w 661345"/>
                <a:gd name="connsiteY6" fmla="*/ 271213 h 376948"/>
                <a:gd name="connsiteX7" fmla="*/ 274534 w 661345"/>
                <a:gd name="connsiteY7" fmla="*/ 272528 h 376948"/>
                <a:gd name="connsiteX8" fmla="*/ 158945 w 661345"/>
                <a:gd name="connsiteY8" fmla="*/ 308732 h 376948"/>
                <a:gd name="connsiteX9" fmla="*/ 77011 w 661345"/>
                <a:gd name="connsiteY9" fmla="*/ 372769 h 376948"/>
                <a:gd name="connsiteX10" fmla="*/ 23918 w 661345"/>
                <a:gd name="connsiteY10" fmla="*/ 343364 h 376948"/>
                <a:gd name="connsiteX11" fmla="*/ 2943 w 661345"/>
                <a:gd name="connsiteY11" fmla="*/ 328335 h 376948"/>
                <a:gd name="connsiteX12" fmla="*/ 37846 w 661345"/>
                <a:gd name="connsiteY12" fmla="*/ 265768 h 376948"/>
                <a:gd name="connsiteX13" fmla="*/ 44759 w 661345"/>
                <a:gd name="connsiteY13" fmla="*/ 252698 h 376948"/>
                <a:gd name="connsiteX14" fmla="*/ 39418 w 661345"/>
                <a:gd name="connsiteY14" fmla="*/ 254460 h 376948"/>
                <a:gd name="connsiteX15" fmla="*/ 7438 w 661345"/>
                <a:gd name="connsiteY15" fmla="*/ 246119 h 376948"/>
                <a:gd name="connsiteX16" fmla="*/ 54239 w 661345"/>
                <a:gd name="connsiteY16" fmla="*/ 210530 h 376948"/>
                <a:gd name="connsiteX17" fmla="*/ 75745 w 661345"/>
                <a:gd name="connsiteY17" fmla="*/ 198090 h 376948"/>
                <a:gd name="connsiteX18" fmla="*/ 76737 w 661345"/>
                <a:gd name="connsiteY18" fmla="*/ 197592 h 376948"/>
                <a:gd name="connsiteX19" fmla="*/ 77666 w 661345"/>
                <a:gd name="connsiteY19" fmla="*/ 196340 h 376948"/>
                <a:gd name="connsiteX20" fmla="*/ 154725 w 661345"/>
                <a:gd name="connsiteY20" fmla="*/ 176675 h 376948"/>
                <a:gd name="connsiteX21" fmla="*/ 178609 w 661345"/>
                <a:gd name="connsiteY21" fmla="*/ 178697 h 376948"/>
                <a:gd name="connsiteX22" fmla="*/ 248940 w 661345"/>
                <a:gd name="connsiteY22" fmla="*/ 191838 h 376948"/>
                <a:gd name="connsiteX23" fmla="*/ 250940 w 661345"/>
                <a:gd name="connsiteY23" fmla="*/ 192160 h 376948"/>
                <a:gd name="connsiteX24" fmla="*/ 288449 w 661345"/>
                <a:gd name="connsiteY24" fmla="*/ 172871 h 376948"/>
                <a:gd name="connsiteX25" fmla="*/ 287558 w 661345"/>
                <a:gd name="connsiteY25" fmla="*/ 170647 h 376948"/>
                <a:gd name="connsiteX26" fmla="*/ 598068 w 661345"/>
                <a:gd name="connsiteY26" fmla="*/ 0 h 37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61345" h="376948">
                  <a:moveTo>
                    <a:pt x="598068" y="0"/>
                  </a:moveTo>
                  <a:cubicBezTo>
                    <a:pt x="598068" y="0"/>
                    <a:pt x="643079" y="22145"/>
                    <a:pt x="661345" y="139383"/>
                  </a:cubicBezTo>
                  <a:cubicBezTo>
                    <a:pt x="524355" y="191815"/>
                    <a:pt x="367887" y="243748"/>
                    <a:pt x="330910" y="255912"/>
                  </a:cubicBezTo>
                  <a:lnTo>
                    <a:pt x="323740" y="258262"/>
                  </a:lnTo>
                  <a:lnTo>
                    <a:pt x="324338" y="261769"/>
                  </a:lnTo>
                  <a:lnTo>
                    <a:pt x="279936" y="272970"/>
                  </a:lnTo>
                  <a:lnTo>
                    <a:pt x="278777" y="271213"/>
                  </a:lnTo>
                  <a:lnTo>
                    <a:pt x="274534" y="272528"/>
                  </a:lnTo>
                  <a:cubicBezTo>
                    <a:pt x="241535" y="282758"/>
                    <a:pt x="173693" y="303832"/>
                    <a:pt x="158945" y="308732"/>
                  </a:cubicBezTo>
                  <a:cubicBezTo>
                    <a:pt x="139281" y="315920"/>
                    <a:pt x="114373" y="355126"/>
                    <a:pt x="77011" y="372769"/>
                  </a:cubicBezTo>
                  <a:cubicBezTo>
                    <a:pt x="39649" y="391066"/>
                    <a:pt x="23918" y="343364"/>
                    <a:pt x="23918" y="343364"/>
                  </a:cubicBezTo>
                  <a:cubicBezTo>
                    <a:pt x="7531" y="350552"/>
                    <a:pt x="-6234" y="335523"/>
                    <a:pt x="2943" y="328335"/>
                  </a:cubicBezTo>
                  <a:cubicBezTo>
                    <a:pt x="7531" y="325068"/>
                    <a:pt x="22279" y="295990"/>
                    <a:pt x="37846" y="265768"/>
                  </a:cubicBezTo>
                  <a:lnTo>
                    <a:pt x="44759" y="252698"/>
                  </a:lnTo>
                  <a:lnTo>
                    <a:pt x="39418" y="254460"/>
                  </a:lnTo>
                  <a:cubicBezTo>
                    <a:pt x="10775" y="260207"/>
                    <a:pt x="1506" y="250568"/>
                    <a:pt x="7438" y="246119"/>
                  </a:cubicBezTo>
                  <a:cubicBezTo>
                    <a:pt x="14689" y="240847"/>
                    <a:pt x="46329" y="217121"/>
                    <a:pt x="54239" y="210530"/>
                  </a:cubicBezTo>
                  <a:cubicBezTo>
                    <a:pt x="57865" y="207564"/>
                    <a:pt x="67258" y="202456"/>
                    <a:pt x="75745" y="198090"/>
                  </a:cubicBezTo>
                  <a:lnTo>
                    <a:pt x="76737" y="197592"/>
                  </a:lnTo>
                  <a:lnTo>
                    <a:pt x="77666" y="196340"/>
                  </a:lnTo>
                  <a:cubicBezTo>
                    <a:pt x="88973" y="184088"/>
                    <a:pt x="126458" y="176982"/>
                    <a:pt x="154725" y="176675"/>
                  </a:cubicBezTo>
                  <a:cubicBezTo>
                    <a:pt x="164148" y="176573"/>
                    <a:pt x="172546" y="177227"/>
                    <a:pt x="178609" y="178697"/>
                  </a:cubicBezTo>
                  <a:cubicBezTo>
                    <a:pt x="202698" y="184088"/>
                    <a:pt x="234529" y="189479"/>
                    <a:pt x="248940" y="191838"/>
                  </a:cubicBezTo>
                  <a:lnTo>
                    <a:pt x="250940" y="192160"/>
                  </a:lnTo>
                  <a:lnTo>
                    <a:pt x="288449" y="172871"/>
                  </a:lnTo>
                  <a:lnTo>
                    <a:pt x="287558" y="170647"/>
                  </a:lnTo>
                  <a:cubicBezTo>
                    <a:pt x="287558" y="170647"/>
                    <a:pt x="472820" y="70343"/>
                    <a:pt x="59806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78">
              <a:extLst>
                <a:ext uri="{FF2B5EF4-FFF2-40B4-BE49-F238E27FC236}">
                  <a16:creationId xmlns:a16="http://schemas.microsoft.com/office/drawing/2014/main" id="{9B90B231-61C5-674D-BF7D-0589DB3A7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9856" y="4183497"/>
              <a:ext cx="1001267" cy="645675"/>
            </a:xfrm>
            <a:custGeom>
              <a:avLst/>
              <a:gdLst>
                <a:gd name="T0" fmla="*/ 1413 w 1414"/>
                <a:gd name="T1" fmla="*/ 913 h 914"/>
                <a:gd name="T2" fmla="*/ 1079 w 1414"/>
                <a:gd name="T3" fmla="*/ 0 h 914"/>
                <a:gd name="T4" fmla="*/ 0 w 1414"/>
                <a:gd name="T5" fmla="*/ 18 h 914"/>
                <a:gd name="T6" fmla="*/ 319 w 1414"/>
                <a:gd name="T7" fmla="*/ 859 h 914"/>
                <a:gd name="T8" fmla="*/ 1413 w 1414"/>
                <a:gd name="T9" fmla="*/ 913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4" h="914">
                  <a:moveTo>
                    <a:pt x="1413" y="913"/>
                  </a:moveTo>
                  <a:lnTo>
                    <a:pt x="1079" y="0"/>
                  </a:lnTo>
                  <a:lnTo>
                    <a:pt x="0" y="18"/>
                  </a:lnTo>
                  <a:lnTo>
                    <a:pt x="319" y="859"/>
                  </a:lnTo>
                  <a:lnTo>
                    <a:pt x="1413" y="91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79">
              <a:extLst>
                <a:ext uri="{FF2B5EF4-FFF2-40B4-BE49-F238E27FC236}">
                  <a16:creationId xmlns:a16="http://schemas.microsoft.com/office/drawing/2014/main" id="{1D4E6ED2-C563-EB4E-A7EE-818228375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0400" y="4395605"/>
              <a:ext cx="162199" cy="202748"/>
            </a:xfrm>
            <a:custGeom>
              <a:avLst/>
              <a:gdLst>
                <a:gd name="T0" fmla="*/ 197 w 231"/>
                <a:gd name="T1" fmla="*/ 101 h 285"/>
                <a:gd name="T2" fmla="*/ 197 w 231"/>
                <a:gd name="T3" fmla="*/ 101 h 285"/>
                <a:gd name="T4" fmla="*/ 175 w 231"/>
                <a:gd name="T5" fmla="*/ 261 h 285"/>
                <a:gd name="T6" fmla="*/ 175 w 231"/>
                <a:gd name="T7" fmla="*/ 261 h 285"/>
                <a:gd name="T8" fmla="*/ 33 w 231"/>
                <a:gd name="T9" fmla="*/ 183 h 285"/>
                <a:gd name="T10" fmla="*/ 33 w 231"/>
                <a:gd name="T11" fmla="*/ 183 h 285"/>
                <a:gd name="T12" fmla="*/ 55 w 231"/>
                <a:gd name="T13" fmla="*/ 23 h 285"/>
                <a:gd name="T14" fmla="*/ 55 w 231"/>
                <a:gd name="T15" fmla="*/ 23 h 285"/>
                <a:gd name="T16" fmla="*/ 197 w 231"/>
                <a:gd name="T17" fmla="*/ 10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285">
                  <a:moveTo>
                    <a:pt x="197" y="101"/>
                  </a:moveTo>
                  <a:lnTo>
                    <a:pt x="197" y="101"/>
                  </a:lnTo>
                  <a:cubicBezTo>
                    <a:pt x="230" y="167"/>
                    <a:pt x="220" y="238"/>
                    <a:pt x="175" y="261"/>
                  </a:cubicBezTo>
                  <a:lnTo>
                    <a:pt x="175" y="261"/>
                  </a:lnTo>
                  <a:cubicBezTo>
                    <a:pt x="129" y="284"/>
                    <a:pt x="66" y="248"/>
                    <a:pt x="33" y="183"/>
                  </a:cubicBezTo>
                  <a:lnTo>
                    <a:pt x="33" y="183"/>
                  </a:lnTo>
                  <a:cubicBezTo>
                    <a:pt x="0" y="117"/>
                    <a:pt x="10" y="45"/>
                    <a:pt x="55" y="23"/>
                  </a:cubicBezTo>
                  <a:lnTo>
                    <a:pt x="55" y="23"/>
                  </a:lnTo>
                  <a:cubicBezTo>
                    <a:pt x="101" y="0"/>
                    <a:pt x="164" y="35"/>
                    <a:pt x="197" y="101"/>
                  </a:cubicBez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3D914DF7-562D-6446-B88C-E464E19D9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9421" y="7265275"/>
              <a:ext cx="588823" cy="1359267"/>
            </a:xfrm>
            <a:custGeom>
              <a:avLst/>
              <a:gdLst>
                <a:gd name="connsiteX0" fmla="*/ 469858 w 543724"/>
                <a:gd name="connsiteY0" fmla="*/ 1157882 h 1255159"/>
                <a:gd name="connsiteX1" fmla="*/ 526075 w 543724"/>
                <a:gd name="connsiteY1" fmla="*/ 1157882 h 1255159"/>
                <a:gd name="connsiteX2" fmla="*/ 543724 w 543724"/>
                <a:gd name="connsiteY2" fmla="*/ 1175510 h 1255159"/>
                <a:gd name="connsiteX3" fmla="*/ 543724 w 543724"/>
                <a:gd name="connsiteY3" fmla="*/ 1236879 h 1255159"/>
                <a:gd name="connsiteX4" fmla="*/ 526075 w 543724"/>
                <a:gd name="connsiteY4" fmla="*/ 1255159 h 1255159"/>
                <a:gd name="connsiteX5" fmla="*/ 469858 w 543724"/>
                <a:gd name="connsiteY5" fmla="*/ 1255159 h 1255159"/>
                <a:gd name="connsiteX6" fmla="*/ 452208 w 543724"/>
                <a:gd name="connsiteY6" fmla="*/ 1236879 h 1255159"/>
                <a:gd name="connsiteX7" fmla="*/ 452208 w 543724"/>
                <a:gd name="connsiteY7" fmla="*/ 1175510 h 1255159"/>
                <a:gd name="connsiteX8" fmla="*/ 469858 w 543724"/>
                <a:gd name="connsiteY8" fmla="*/ 1157882 h 1255159"/>
                <a:gd name="connsiteX9" fmla="*/ 17703 w 543724"/>
                <a:gd name="connsiteY9" fmla="*/ 1157882 h 1255159"/>
                <a:gd name="connsiteX10" fmla="*/ 304235 w 543724"/>
                <a:gd name="connsiteY10" fmla="*/ 1157882 h 1255159"/>
                <a:gd name="connsiteX11" fmla="*/ 321938 w 543724"/>
                <a:gd name="connsiteY11" fmla="*/ 1175510 h 1255159"/>
                <a:gd name="connsiteX12" fmla="*/ 321938 w 543724"/>
                <a:gd name="connsiteY12" fmla="*/ 1236879 h 1255159"/>
                <a:gd name="connsiteX13" fmla="*/ 304235 w 543724"/>
                <a:gd name="connsiteY13" fmla="*/ 1255159 h 1255159"/>
                <a:gd name="connsiteX14" fmla="*/ 17703 w 543724"/>
                <a:gd name="connsiteY14" fmla="*/ 1255159 h 1255159"/>
                <a:gd name="connsiteX15" fmla="*/ 0 w 543724"/>
                <a:gd name="connsiteY15" fmla="*/ 1236879 h 1255159"/>
                <a:gd name="connsiteX16" fmla="*/ 0 w 543724"/>
                <a:gd name="connsiteY16" fmla="*/ 1175510 h 1255159"/>
                <a:gd name="connsiteX17" fmla="*/ 17703 w 543724"/>
                <a:gd name="connsiteY17" fmla="*/ 1157882 h 1255159"/>
                <a:gd name="connsiteX18" fmla="*/ 469858 w 543724"/>
                <a:gd name="connsiteY18" fmla="*/ 927457 h 1255159"/>
                <a:gd name="connsiteX19" fmla="*/ 526075 w 543724"/>
                <a:gd name="connsiteY19" fmla="*/ 927457 h 1255159"/>
                <a:gd name="connsiteX20" fmla="*/ 543724 w 543724"/>
                <a:gd name="connsiteY20" fmla="*/ 945202 h 1255159"/>
                <a:gd name="connsiteX21" fmla="*/ 543724 w 543724"/>
                <a:gd name="connsiteY21" fmla="*/ 1007641 h 1255159"/>
                <a:gd name="connsiteX22" fmla="*/ 526075 w 543724"/>
                <a:gd name="connsiteY22" fmla="*/ 1024730 h 1255159"/>
                <a:gd name="connsiteX23" fmla="*/ 469858 w 543724"/>
                <a:gd name="connsiteY23" fmla="*/ 1024730 h 1255159"/>
                <a:gd name="connsiteX24" fmla="*/ 452208 w 543724"/>
                <a:gd name="connsiteY24" fmla="*/ 1007641 h 1255159"/>
                <a:gd name="connsiteX25" fmla="*/ 452208 w 543724"/>
                <a:gd name="connsiteY25" fmla="*/ 945202 h 1255159"/>
                <a:gd name="connsiteX26" fmla="*/ 469858 w 543724"/>
                <a:gd name="connsiteY26" fmla="*/ 927457 h 1255159"/>
                <a:gd name="connsiteX27" fmla="*/ 17703 w 543724"/>
                <a:gd name="connsiteY27" fmla="*/ 927457 h 1255159"/>
                <a:gd name="connsiteX28" fmla="*/ 304235 w 543724"/>
                <a:gd name="connsiteY28" fmla="*/ 927457 h 1255159"/>
                <a:gd name="connsiteX29" fmla="*/ 321938 w 543724"/>
                <a:gd name="connsiteY29" fmla="*/ 945202 h 1255159"/>
                <a:gd name="connsiteX30" fmla="*/ 321938 w 543724"/>
                <a:gd name="connsiteY30" fmla="*/ 1007641 h 1255159"/>
                <a:gd name="connsiteX31" fmla="*/ 304235 w 543724"/>
                <a:gd name="connsiteY31" fmla="*/ 1024730 h 1255159"/>
                <a:gd name="connsiteX32" fmla="*/ 17703 w 543724"/>
                <a:gd name="connsiteY32" fmla="*/ 1024730 h 1255159"/>
                <a:gd name="connsiteX33" fmla="*/ 0 w 543724"/>
                <a:gd name="connsiteY33" fmla="*/ 1007641 h 1255159"/>
                <a:gd name="connsiteX34" fmla="*/ 0 w 543724"/>
                <a:gd name="connsiteY34" fmla="*/ 945202 h 1255159"/>
                <a:gd name="connsiteX35" fmla="*/ 17703 w 543724"/>
                <a:gd name="connsiteY35" fmla="*/ 927457 h 1255159"/>
                <a:gd name="connsiteX36" fmla="*/ 469858 w 543724"/>
                <a:gd name="connsiteY36" fmla="*/ 694152 h 1255159"/>
                <a:gd name="connsiteX37" fmla="*/ 526075 w 543724"/>
                <a:gd name="connsiteY37" fmla="*/ 694152 h 1255159"/>
                <a:gd name="connsiteX38" fmla="*/ 543724 w 543724"/>
                <a:gd name="connsiteY38" fmla="*/ 711897 h 1255159"/>
                <a:gd name="connsiteX39" fmla="*/ 543724 w 543724"/>
                <a:gd name="connsiteY39" fmla="*/ 773679 h 1255159"/>
                <a:gd name="connsiteX40" fmla="*/ 526075 w 543724"/>
                <a:gd name="connsiteY40" fmla="*/ 791425 h 1255159"/>
                <a:gd name="connsiteX41" fmla="*/ 469858 w 543724"/>
                <a:gd name="connsiteY41" fmla="*/ 791425 h 1255159"/>
                <a:gd name="connsiteX42" fmla="*/ 452208 w 543724"/>
                <a:gd name="connsiteY42" fmla="*/ 773679 h 1255159"/>
                <a:gd name="connsiteX43" fmla="*/ 452208 w 543724"/>
                <a:gd name="connsiteY43" fmla="*/ 711897 h 1255159"/>
                <a:gd name="connsiteX44" fmla="*/ 469858 w 543724"/>
                <a:gd name="connsiteY44" fmla="*/ 694152 h 1255159"/>
                <a:gd name="connsiteX45" fmla="*/ 17703 w 543724"/>
                <a:gd name="connsiteY45" fmla="*/ 694152 h 1255159"/>
                <a:gd name="connsiteX46" fmla="*/ 304235 w 543724"/>
                <a:gd name="connsiteY46" fmla="*/ 694152 h 1255159"/>
                <a:gd name="connsiteX47" fmla="*/ 321938 w 543724"/>
                <a:gd name="connsiteY47" fmla="*/ 711897 h 1255159"/>
                <a:gd name="connsiteX48" fmla="*/ 321938 w 543724"/>
                <a:gd name="connsiteY48" fmla="*/ 773679 h 1255159"/>
                <a:gd name="connsiteX49" fmla="*/ 304235 w 543724"/>
                <a:gd name="connsiteY49" fmla="*/ 791425 h 1255159"/>
                <a:gd name="connsiteX50" fmla="*/ 17703 w 543724"/>
                <a:gd name="connsiteY50" fmla="*/ 791425 h 1255159"/>
                <a:gd name="connsiteX51" fmla="*/ 0 w 543724"/>
                <a:gd name="connsiteY51" fmla="*/ 773679 h 1255159"/>
                <a:gd name="connsiteX52" fmla="*/ 0 w 543724"/>
                <a:gd name="connsiteY52" fmla="*/ 711897 h 1255159"/>
                <a:gd name="connsiteX53" fmla="*/ 17703 w 543724"/>
                <a:gd name="connsiteY53" fmla="*/ 694152 h 1255159"/>
                <a:gd name="connsiteX54" fmla="*/ 469858 w 543724"/>
                <a:gd name="connsiteY54" fmla="*/ 463728 h 1255159"/>
                <a:gd name="connsiteX55" fmla="*/ 526075 w 543724"/>
                <a:gd name="connsiteY55" fmla="*/ 463728 h 1255159"/>
                <a:gd name="connsiteX56" fmla="*/ 543724 w 543724"/>
                <a:gd name="connsiteY56" fmla="*/ 481473 h 1255159"/>
                <a:gd name="connsiteX57" fmla="*/ 543724 w 543724"/>
                <a:gd name="connsiteY57" fmla="*/ 543255 h 1255159"/>
                <a:gd name="connsiteX58" fmla="*/ 526075 w 543724"/>
                <a:gd name="connsiteY58" fmla="*/ 561001 h 1255159"/>
                <a:gd name="connsiteX59" fmla="*/ 469858 w 543724"/>
                <a:gd name="connsiteY59" fmla="*/ 561001 h 1255159"/>
                <a:gd name="connsiteX60" fmla="*/ 452208 w 543724"/>
                <a:gd name="connsiteY60" fmla="*/ 543255 h 1255159"/>
                <a:gd name="connsiteX61" fmla="*/ 452208 w 543724"/>
                <a:gd name="connsiteY61" fmla="*/ 481473 h 1255159"/>
                <a:gd name="connsiteX62" fmla="*/ 469858 w 543724"/>
                <a:gd name="connsiteY62" fmla="*/ 463728 h 1255159"/>
                <a:gd name="connsiteX63" fmla="*/ 17703 w 543724"/>
                <a:gd name="connsiteY63" fmla="*/ 463728 h 1255159"/>
                <a:gd name="connsiteX64" fmla="*/ 304235 w 543724"/>
                <a:gd name="connsiteY64" fmla="*/ 463728 h 1255159"/>
                <a:gd name="connsiteX65" fmla="*/ 321938 w 543724"/>
                <a:gd name="connsiteY65" fmla="*/ 481473 h 1255159"/>
                <a:gd name="connsiteX66" fmla="*/ 321938 w 543724"/>
                <a:gd name="connsiteY66" fmla="*/ 543255 h 1255159"/>
                <a:gd name="connsiteX67" fmla="*/ 304235 w 543724"/>
                <a:gd name="connsiteY67" fmla="*/ 561001 h 1255159"/>
                <a:gd name="connsiteX68" fmla="*/ 17703 w 543724"/>
                <a:gd name="connsiteY68" fmla="*/ 561001 h 1255159"/>
                <a:gd name="connsiteX69" fmla="*/ 0 w 543724"/>
                <a:gd name="connsiteY69" fmla="*/ 543255 h 1255159"/>
                <a:gd name="connsiteX70" fmla="*/ 0 w 543724"/>
                <a:gd name="connsiteY70" fmla="*/ 481473 h 1255159"/>
                <a:gd name="connsiteX71" fmla="*/ 17703 w 543724"/>
                <a:gd name="connsiteY71" fmla="*/ 463728 h 1255159"/>
                <a:gd name="connsiteX72" fmla="*/ 469858 w 543724"/>
                <a:gd name="connsiteY72" fmla="*/ 230424 h 1255159"/>
                <a:gd name="connsiteX73" fmla="*/ 526075 w 543724"/>
                <a:gd name="connsiteY73" fmla="*/ 230424 h 1255159"/>
                <a:gd name="connsiteX74" fmla="*/ 543724 w 543724"/>
                <a:gd name="connsiteY74" fmla="*/ 248169 h 1255159"/>
                <a:gd name="connsiteX75" fmla="*/ 543724 w 543724"/>
                <a:gd name="connsiteY75" fmla="*/ 309951 h 1255159"/>
                <a:gd name="connsiteX76" fmla="*/ 526075 w 543724"/>
                <a:gd name="connsiteY76" fmla="*/ 327697 h 1255159"/>
                <a:gd name="connsiteX77" fmla="*/ 469858 w 543724"/>
                <a:gd name="connsiteY77" fmla="*/ 327697 h 1255159"/>
                <a:gd name="connsiteX78" fmla="*/ 452208 w 543724"/>
                <a:gd name="connsiteY78" fmla="*/ 309951 h 1255159"/>
                <a:gd name="connsiteX79" fmla="*/ 452208 w 543724"/>
                <a:gd name="connsiteY79" fmla="*/ 248169 h 1255159"/>
                <a:gd name="connsiteX80" fmla="*/ 469858 w 543724"/>
                <a:gd name="connsiteY80" fmla="*/ 230424 h 1255159"/>
                <a:gd name="connsiteX81" fmla="*/ 17703 w 543724"/>
                <a:gd name="connsiteY81" fmla="*/ 230424 h 1255159"/>
                <a:gd name="connsiteX82" fmla="*/ 304235 w 543724"/>
                <a:gd name="connsiteY82" fmla="*/ 230424 h 1255159"/>
                <a:gd name="connsiteX83" fmla="*/ 321938 w 543724"/>
                <a:gd name="connsiteY83" fmla="*/ 248169 h 1255159"/>
                <a:gd name="connsiteX84" fmla="*/ 321938 w 543724"/>
                <a:gd name="connsiteY84" fmla="*/ 309951 h 1255159"/>
                <a:gd name="connsiteX85" fmla="*/ 304235 w 543724"/>
                <a:gd name="connsiteY85" fmla="*/ 327697 h 1255159"/>
                <a:gd name="connsiteX86" fmla="*/ 17703 w 543724"/>
                <a:gd name="connsiteY86" fmla="*/ 327697 h 1255159"/>
                <a:gd name="connsiteX87" fmla="*/ 0 w 543724"/>
                <a:gd name="connsiteY87" fmla="*/ 309951 h 1255159"/>
                <a:gd name="connsiteX88" fmla="*/ 0 w 543724"/>
                <a:gd name="connsiteY88" fmla="*/ 248169 h 1255159"/>
                <a:gd name="connsiteX89" fmla="*/ 17703 w 543724"/>
                <a:gd name="connsiteY89" fmla="*/ 230424 h 1255159"/>
                <a:gd name="connsiteX90" fmla="*/ 469858 w 543724"/>
                <a:gd name="connsiteY90" fmla="*/ 0 h 1255159"/>
                <a:gd name="connsiteX91" fmla="*/ 526075 w 543724"/>
                <a:gd name="connsiteY91" fmla="*/ 0 h 1255159"/>
                <a:gd name="connsiteX92" fmla="*/ 543724 w 543724"/>
                <a:gd name="connsiteY92" fmla="*/ 17088 h 1255159"/>
                <a:gd name="connsiteX93" fmla="*/ 543724 w 543724"/>
                <a:gd name="connsiteY93" fmla="*/ 79527 h 1255159"/>
                <a:gd name="connsiteX94" fmla="*/ 526075 w 543724"/>
                <a:gd name="connsiteY94" fmla="*/ 97273 h 1255159"/>
                <a:gd name="connsiteX95" fmla="*/ 469858 w 543724"/>
                <a:gd name="connsiteY95" fmla="*/ 97273 h 1255159"/>
                <a:gd name="connsiteX96" fmla="*/ 452208 w 543724"/>
                <a:gd name="connsiteY96" fmla="*/ 79527 h 1255159"/>
                <a:gd name="connsiteX97" fmla="*/ 452208 w 543724"/>
                <a:gd name="connsiteY97" fmla="*/ 17088 h 1255159"/>
                <a:gd name="connsiteX98" fmla="*/ 469858 w 543724"/>
                <a:gd name="connsiteY98" fmla="*/ 0 h 1255159"/>
                <a:gd name="connsiteX99" fmla="*/ 17703 w 543724"/>
                <a:gd name="connsiteY99" fmla="*/ 0 h 1255159"/>
                <a:gd name="connsiteX100" fmla="*/ 304235 w 543724"/>
                <a:gd name="connsiteY100" fmla="*/ 0 h 1255159"/>
                <a:gd name="connsiteX101" fmla="*/ 321938 w 543724"/>
                <a:gd name="connsiteY101" fmla="*/ 17088 h 1255159"/>
                <a:gd name="connsiteX102" fmla="*/ 321938 w 543724"/>
                <a:gd name="connsiteY102" fmla="*/ 79527 h 1255159"/>
                <a:gd name="connsiteX103" fmla="*/ 304235 w 543724"/>
                <a:gd name="connsiteY103" fmla="*/ 97273 h 1255159"/>
                <a:gd name="connsiteX104" fmla="*/ 17703 w 543724"/>
                <a:gd name="connsiteY104" fmla="*/ 97273 h 1255159"/>
                <a:gd name="connsiteX105" fmla="*/ 0 w 543724"/>
                <a:gd name="connsiteY105" fmla="*/ 79527 h 1255159"/>
                <a:gd name="connsiteX106" fmla="*/ 0 w 543724"/>
                <a:gd name="connsiteY106" fmla="*/ 17088 h 1255159"/>
                <a:gd name="connsiteX107" fmla="*/ 17703 w 543724"/>
                <a:gd name="connsiteY107" fmla="*/ 0 h 125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543724" h="1255159">
                  <a:moveTo>
                    <a:pt x="469858" y="1157882"/>
                  </a:moveTo>
                  <a:lnTo>
                    <a:pt x="526075" y="1157882"/>
                  </a:lnTo>
                  <a:cubicBezTo>
                    <a:pt x="535880" y="1157882"/>
                    <a:pt x="543724" y="1165717"/>
                    <a:pt x="543724" y="1175510"/>
                  </a:cubicBezTo>
                  <a:lnTo>
                    <a:pt x="543724" y="1236879"/>
                  </a:lnTo>
                  <a:cubicBezTo>
                    <a:pt x="543724" y="1246672"/>
                    <a:pt x="535880" y="1255159"/>
                    <a:pt x="526075" y="1255159"/>
                  </a:cubicBezTo>
                  <a:lnTo>
                    <a:pt x="469858" y="1255159"/>
                  </a:lnTo>
                  <a:cubicBezTo>
                    <a:pt x="460052" y="1255159"/>
                    <a:pt x="452208" y="1246672"/>
                    <a:pt x="452208" y="1236879"/>
                  </a:cubicBezTo>
                  <a:lnTo>
                    <a:pt x="452208" y="1175510"/>
                  </a:lnTo>
                  <a:cubicBezTo>
                    <a:pt x="452208" y="1165717"/>
                    <a:pt x="460052" y="1157882"/>
                    <a:pt x="469858" y="1157882"/>
                  </a:cubicBezTo>
                  <a:close/>
                  <a:moveTo>
                    <a:pt x="17703" y="1157882"/>
                  </a:moveTo>
                  <a:lnTo>
                    <a:pt x="304235" y="1157882"/>
                  </a:lnTo>
                  <a:cubicBezTo>
                    <a:pt x="314070" y="1157882"/>
                    <a:pt x="321938" y="1165717"/>
                    <a:pt x="321938" y="1175510"/>
                  </a:cubicBezTo>
                  <a:lnTo>
                    <a:pt x="321938" y="1236879"/>
                  </a:lnTo>
                  <a:cubicBezTo>
                    <a:pt x="321938" y="1246672"/>
                    <a:pt x="314070" y="1255159"/>
                    <a:pt x="304235" y="1255159"/>
                  </a:cubicBezTo>
                  <a:lnTo>
                    <a:pt x="17703" y="1255159"/>
                  </a:lnTo>
                  <a:cubicBezTo>
                    <a:pt x="7868" y="1255159"/>
                    <a:pt x="0" y="1246672"/>
                    <a:pt x="0" y="1236879"/>
                  </a:cubicBezTo>
                  <a:lnTo>
                    <a:pt x="0" y="1175510"/>
                  </a:lnTo>
                  <a:cubicBezTo>
                    <a:pt x="0" y="1165717"/>
                    <a:pt x="7868" y="1157882"/>
                    <a:pt x="17703" y="1157882"/>
                  </a:cubicBezTo>
                  <a:close/>
                  <a:moveTo>
                    <a:pt x="469858" y="927457"/>
                  </a:moveTo>
                  <a:lnTo>
                    <a:pt x="526075" y="927457"/>
                  </a:lnTo>
                  <a:cubicBezTo>
                    <a:pt x="535880" y="927457"/>
                    <a:pt x="543724" y="935344"/>
                    <a:pt x="543724" y="945202"/>
                  </a:cubicBezTo>
                  <a:lnTo>
                    <a:pt x="543724" y="1007641"/>
                  </a:lnTo>
                  <a:cubicBezTo>
                    <a:pt x="543724" y="1016843"/>
                    <a:pt x="535880" y="1024730"/>
                    <a:pt x="526075" y="1024730"/>
                  </a:cubicBezTo>
                  <a:lnTo>
                    <a:pt x="469858" y="1024730"/>
                  </a:lnTo>
                  <a:cubicBezTo>
                    <a:pt x="460052" y="1024730"/>
                    <a:pt x="452208" y="1016843"/>
                    <a:pt x="452208" y="1007641"/>
                  </a:cubicBezTo>
                  <a:lnTo>
                    <a:pt x="452208" y="945202"/>
                  </a:lnTo>
                  <a:cubicBezTo>
                    <a:pt x="452208" y="935344"/>
                    <a:pt x="460052" y="927457"/>
                    <a:pt x="469858" y="927457"/>
                  </a:cubicBezTo>
                  <a:close/>
                  <a:moveTo>
                    <a:pt x="17703" y="927457"/>
                  </a:moveTo>
                  <a:lnTo>
                    <a:pt x="304235" y="927457"/>
                  </a:lnTo>
                  <a:cubicBezTo>
                    <a:pt x="314070" y="927457"/>
                    <a:pt x="321938" y="935344"/>
                    <a:pt x="321938" y="945202"/>
                  </a:cubicBezTo>
                  <a:lnTo>
                    <a:pt x="321938" y="1007641"/>
                  </a:lnTo>
                  <a:cubicBezTo>
                    <a:pt x="321938" y="1016843"/>
                    <a:pt x="314070" y="1024730"/>
                    <a:pt x="304235" y="1024730"/>
                  </a:cubicBezTo>
                  <a:lnTo>
                    <a:pt x="17703" y="1024730"/>
                  </a:lnTo>
                  <a:cubicBezTo>
                    <a:pt x="7868" y="1024730"/>
                    <a:pt x="0" y="1016843"/>
                    <a:pt x="0" y="1007641"/>
                  </a:cubicBezTo>
                  <a:lnTo>
                    <a:pt x="0" y="945202"/>
                  </a:lnTo>
                  <a:cubicBezTo>
                    <a:pt x="0" y="935344"/>
                    <a:pt x="7868" y="927457"/>
                    <a:pt x="17703" y="927457"/>
                  </a:cubicBezTo>
                  <a:close/>
                  <a:moveTo>
                    <a:pt x="469858" y="694152"/>
                  </a:moveTo>
                  <a:lnTo>
                    <a:pt x="526075" y="694152"/>
                  </a:lnTo>
                  <a:cubicBezTo>
                    <a:pt x="535880" y="694152"/>
                    <a:pt x="543724" y="702039"/>
                    <a:pt x="543724" y="711897"/>
                  </a:cubicBezTo>
                  <a:lnTo>
                    <a:pt x="543724" y="773679"/>
                  </a:lnTo>
                  <a:cubicBezTo>
                    <a:pt x="543724" y="783538"/>
                    <a:pt x="535880" y="791425"/>
                    <a:pt x="526075" y="791425"/>
                  </a:cubicBezTo>
                  <a:lnTo>
                    <a:pt x="469858" y="791425"/>
                  </a:lnTo>
                  <a:cubicBezTo>
                    <a:pt x="460052" y="791425"/>
                    <a:pt x="452208" y="783538"/>
                    <a:pt x="452208" y="773679"/>
                  </a:cubicBezTo>
                  <a:lnTo>
                    <a:pt x="452208" y="711897"/>
                  </a:lnTo>
                  <a:cubicBezTo>
                    <a:pt x="452208" y="702039"/>
                    <a:pt x="460052" y="694152"/>
                    <a:pt x="469858" y="694152"/>
                  </a:cubicBezTo>
                  <a:close/>
                  <a:moveTo>
                    <a:pt x="17703" y="694152"/>
                  </a:moveTo>
                  <a:lnTo>
                    <a:pt x="304235" y="694152"/>
                  </a:lnTo>
                  <a:cubicBezTo>
                    <a:pt x="314070" y="694152"/>
                    <a:pt x="321938" y="702039"/>
                    <a:pt x="321938" y="711897"/>
                  </a:cubicBezTo>
                  <a:lnTo>
                    <a:pt x="321938" y="773679"/>
                  </a:lnTo>
                  <a:cubicBezTo>
                    <a:pt x="321938" y="783538"/>
                    <a:pt x="314070" y="791425"/>
                    <a:pt x="304235" y="791425"/>
                  </a:cubicBezTo>
                  <a:lnTo>
                    <a:pt x="17703" y="791425"/>
                  </a:lnTo>
                  <a:cubicBezTo>
                    <a:pt x="7868" y="791425"/>
                    <a:pt x="0" y="783538"/>
                    <a:pt x="0" y="773679"/>
                  </a:cubicBezTo>
                  <a:lnTo>
                    <a:pt x="0" y="711897"/>
                  </a:lnTo>
                  <a:cubicBezTo>
                    <a:pt x="0" y="702039"/>
                    <a:pt x="7868" y="694152"/>
                    <a:pt x="17703" y="694152"/>
                  </a:cubicBezTo>
                  <a:close/>
                  <a:moveTo>
                    <a:pt x="469858" y="463728"/>
                  </a:moveTo>
                  <a:lnTo>
                    <a:pt x="526075" y="463728"/>
                  </a:lnTo>
                  <a:cubicBezTo>
                    <a:pt x="535880" y="463728"/>
                    <a:pt x="543724" y="471615"/>
                    <a:pt x="543724" y="481473"/>
                  </a:cubicBezTo>
                  <a:lnTo>
                    <a:pt x="543724" y="543255"/>
                  </a:lnTo>
                  <a:cubicBezTo>
                    <a:pt x="543724" y="553114"/>
                    <a:pt x="535880" y="561001"/>
                    <a:pt x="526075" y="561001"/>
                  </a:cubicBezTo>
                  <a:lnTo>
                    <a:pt x="469858" y="561001"/>
                  </a:lnTo>
                  <a:cubicBezTo>
                    <a:pt x="460052" y="561001"/>
                    <a:pt x="452208" y="553114"/>
                    <a:pt x="452208" y="543255"/>
                  </a:cubicBezTo>
                  <a:lnTo>
                    <a:pt x="452208" y="481473"/>
                  </a:lnTo>
                  <a:cubicBezTo>
                    <a:pt x="452208" y="471615"/>
                    <a:pt x="460052" y="463728"/>
                    <a:pt x="469858" y="463728"/>
                  </a:cubicBezTo>
                  <a:close/>
                  <a:moveTo>
                    <a:pt x="17703" y="463728"/>
                  </a:moveTo>
                  <a:lnTo>
                    <a:pt x="304235" y="463728"/>
                  </a:lnTo>
                  <a:cubicBezTo>
                    <a:pt x="314070" y="463728"/>
                    <a:pt x="321938" y="471615"/>
                    <a:pt x="321938" y="481473"/>
                  </a:cubicBezTo>
                  <a:lnTo>
                    <a:pt x="321938" y="543255"/>
                  </a:lnTo>
                  <a:cubicBezTo>
                    <a:pt x="321938" y="553114"/>
                    <a:pt x="314070" y="561001"/>
                    <a:pt x="304235" y="561001"/>
                  </a:cubicBezTo>
                  <a:lnTo>
                    <a:pt x="17703" y="561001"/>
                  </a:lnTo>
                  <a:cubicBezTo>
                    <a:pt x="7868" y="561001"/>
                    <a:pt x="0" y="553114"/>
                    <a:pt x="0" y="543255"/>
                  </a:cubicBezTo>
                  <a:lnTo>
                    <a:pt x="0" y="481473"/>
                  </a:lnTo>
                  <a:cubicBezTo>
                    <a:pt x="0" y="471615"/>
                    <a:pt x="7868" y="463728"/>
                    <a:pt x="17703" y="463728"/>
                  </a:cubicBezTo>
                  <a:close/>
                  <a:moveTo>
                    <a:pt x="469858" y="230424"/>
                  </a:moveTo>
                  <a:lnTo>
                    <a:pt x="526075" y="230424"/>
                  </a:lnTo>
                  <a:cubicBezTo>
                    <a:pt x="535880" y="230424"/>
                    <a:pt x="543724" y="238311"/>
                    <a:pt x="543724" y="248169"/>
                  </a:cubicBezTo>
                  <a:lnTo>
                    <a:pt x="543724" y="309951"/>
                  </a:lnTo>
                  <a:cubicBezTo>
                    <a:pt x="543724" y="319810"/>
                    <a:pt x="535880" y="327697"/>
                    <a:pt x="526075" y="327697"/>
                  </a:cubicBezTo>
                  <a:lnTo>
                    <a:pt x="469858" y="327697"/>
                  </a:lnTo>
                  <a:cubicBezTo>
                    <a:pt x="460052" y="327697"/>
                    <a:pt x="452208" y="319810"/>
                    <a:pt x="452208" y="309951"/>
                  </a:cubicBezTo>
                  <a:lnTo>
                    <a:pt x="452208" y="248169"/>
                  </a:lnTo>
                  <a:cubicBezTo>
                    <a:pt x="452208" y="238311"/>
                    <a:pt x="460052" y="230424"/>
                    <a:pt x="469858" y="230424"/>
                  </a:cubicBezTo>
                  <a:close/>
                  <a:moveTo>
                    <a:pt x="17703" y="230424"/>
                  </a:moveTo>
                  <a:lnTo>
                    <a:pt x="304235" y="230424"/>
                  </a:lnTo>
                  <a:cubicBezTo>
                    <a:pt x="314070" y="230424"/>
                    <a:pt x="321938" y="238311"/>
                    <a:pt x="321938" y="248169"/>
                  </a:cubicBezTo>
                  <a:lnTo>
                    <a:pt x="321938" y="309951"/>
                  </a:lnTo>
                  <a:cubicBezTo>
                    <a:pt x="321938" y="319810"/>
                    <a:pt x="314070" y="327697"/>
                    <a:pt x="304235" y="327697"/>
                  </a:cubicBezTo>
                  <a:lnTo>
                    <a:pt x="17703" y="327697"/>
                  </a:lnTo>
                  <a:cubicBezTo>
                    <a:pt x="7868" y="327697"/>
                    <a:pt x="0" y="319810"/>
                    <a:pt x="0" y="309951"/>
                  </a:cubicBezTo>
                  <a:lnTo>
                    <a:pt x="0" y="248169"/>
                  </a:lnTo>
                  <a:cubicBezTo>
                    <a:pt x="0" y="238311"/>
                    <a:pt x="7868" y="230424"/>
                    <a:pt x="17703" y="230424"/>
                  </a:cubicBezTo>
                  <a:close/>
                  <a:moveTo>
                    <a:pt x="469858" y="0"/>
                  </a:moveTo>
                  <a:lnTo>
                    <a:pt x="526075" y="0"/>
                  </a:lnTo>
                  <a:cubicBezTo>
                    <a:pt x="535880" y="0"/>
                    <a:pt x="543724" y="7887"/>
                    <a:pt x="543724" y="17088"/>
                  </a:cubicBezTo>
                  <a:lnTo>
                    <a:pt x="543724" y="79527"/>
                  </a:lnTo>
                  <a:cubicBezTo>
                    <a:pt x="543724" y="89386"/>
                    <a:pt x="535880" y="97273"/>
                    <a:pt x="526075" y="97273"/>
                  </a:cubicBezTo>
                  <a:lnTo>
                    <a:pt x="469858" y="97273"/>
                  </a:lnTo>
                  <a:cubicBezTo>
                    <a:pt x="460052" y="97273"/>
                    <a:pt x="452208" y="89386"/>
                    <a:pt x="452208" y="79527"/>
                  </a:cubicBezTo>
                  <a:lnTo>
                    <a:pt x="452208" y="17088"/>
                  </a:lnTo>
                  <a:cubicBezTo>
                    <a:pt x="452208" y="7887"/>
                    <a:pt x="460052" y="0"/>
                    <a:pt x="469858" y="0"/>
                  </a:cubicBezTo>
                  <a:close/>
                  <a:moveTo>
                    <a:pt x="17703" y="0"/>
                  </a:moveTo>
                  <a:lnTo>
                    <a:pt x="304235" y="0"/>
                  </a:lnTo>
                  <a:cubicBezTo>
                    <a:pt x="314070" y="0"/>
                    <a:pt x="321938" y="7887"/>
                    <a:pt x="321938" y="17088"/>
                  </a:cubicBezTo>
                  <a:lnTo>
                    <a:pt x="321938" y="79527"/>
                  </a:lnTo>
                  <a:cubicBezTo>
                    <a:pt x="321938" y="89386"/>
                    <a:pt x="314070" y="97273"/>
                    <a:pt x="304235" y="97273"/>
                  </a:cubicBezTo>
                  <a:lnTo>
                    <a:pt x="17703" y="97273"/>
                  </a:lnTo>
                  <a:cubicBezTo>
                    <a:pt x="7868" y="97273"/>
                    <a:pt x="0" y="89386"/>
                    <a:pt x="0" y="79527"/>
                  </a:cubicBezTo>
                  <a:lnTo>
                    <a:pt x="0" y="17088"/>
                  </a:lnTo>
                  <a:cubicBezTo>
                    <a:pt x="0" y="7887"/>
                    <a:pt x="7868" y="0"/>
                    <a:pt x="17703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92">
              <a:extLst>
                <a:ext uri="{FF2B5EF4-FFF2-40B4-BE49-F238E27FC236}">
                  <a16:creationId xmlns:a16="http://schemas.microsoft.com/office/drawing/2014/main" id="{44D99674-A98F-824E-9C25-801F670F1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0006" y="3519106"/>
              <a:ext cx="954478" cy="658154"/>
            </a:xfrm>
            <a:custGeom>
              <a:avLst/>
              <a:gdLst>
                <a:gd name="T0" fmla="*/ 1325 w 1350"/>
                <a:gd name="T1" fmla="*/ 929 h 930"/>
                <a:gd name="T2" fmla="*/ 442 w 1350"/>
                <a:gd name="T3" fmla="*/ 47 h 930"/>
                <a:gd name="T4" fmla="*/ 23 w 1350"/>
                <a:gd name="T5" fmla="*/ 465 h 930"/>
                <a:gd name="T6" fmla="*/ 0 w 1350"/>
                <a:gd name="T7" fmla="*/ 443 h 930"/>
                <a:gd name="T8" fmla="*/ 442 w 1350"/>
                <a:gd name="T9" fmla="*/ 0 h 930"/>
                <a:gd name="T10" fmla="*/ 1349 w 1350"/>
                <a:gd name="T11" fmla="*/ 906 h 930"/>
                <a:gd name="T12" fmla="*/ 1325 w 1350"/>
                <a:gd name="T13" fmla="*/ 929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0" h="930">
                  <a:moveTo>
                    <a:pt x="1325" y="929"/>
                  </a:moveTo>
                  <a:lnTo>
                    <a:pt x="442" y="47"/>
                  </a:lnTo>
                  <a:lnTo>
                    <a:pt x="23" y="465"/>
                  </a:lnTo>
                  <a:lnTo>
                    <a:pt x="0" y="443"/>
                  </a:lnTo>
                  <a:lnTo>
                    <a:pt x="442" y="0"/>
                  </a:lnTo>
                  <a:lnTo>
                    <a:pt x="1349" y="906"/>
                  </a:lnTo>
                  <a:lnTo>
                    <a:pt x="1325" y="929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ED65E118-AAC4-4C41-AA3E-CF02280A43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2274" y="9885408"/>
              <a:ext cx="760379" cy="485963"/>
            </a:xfrm>
            <a:custGeom>
              <a:avLst/>
              <a:gdLst>
                <a:gd name="connsiteX0" fmla="*/ 702140 w 702140"/>
                <a:gd name="connsiteY0" fmla="*/ 339876 h 448742"/>
                <a:gd name="connsiteX1" fmla="*/ 702140 w 702140"/>
                <a:gd name="connsiteY1" fmla="*/ 426992 h 448742"/>
                <a:gd name="connsiteX2" fmla="*/ 585508 w 702140"/>
                <a:gd name="connsiteY2" fmla="*/ 446351 h 448742"/>
                <a:gd name="connsiteX3" fmla="*/ 564540 w 702140"/>
                <a:gd name="connsiteY3" fmla="*/ 363752 h 448742"/>
                <a:gd name="connsiteX4" fmla="*/ 702140 w 702140"/>
                <a:gd name="connsiteY4" fmla="*/ 339876 h 448742"/>
                <a:gd name="connsiteX5" fmla="*/ 137603 w 702140"/>
                <a:gd name="connsiteY5" fmla="*/ 0 h 448742"/>
                <a:gd name="connsiteX6" fmla="*/ 137603 w 702140"/>
                <a:gd name="connsiteY6" fmla="*/ 88407 h 448742"/>
                <a:gd name="connsiteX7" fmla="*/ 21521 w 702140"/>
                <a:gd name="connsiteY7" fmla="*/ 107121 h 448742"/>
                <a:gd name="connsiteX8" fmla="*/ 0 w 702140"/>
                <a:gd name="connsiteY8" fmla="*/ 24522 h 448742"/>
                <a:gd name="connsiteX9" fmla="*/ 137603 w 702140"/>
                <a:gd name="connsiteY9" fmla="*/ 0 h 44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2140" h="448742">
                  <a:moveTo>
                    <a:pt x="702140" y="339876"/>
                  </a:moveTo>
                  <a:lnTo>
                    <a:pt x="702140" y="426992"/>
                  </a:lnTo>
                  <a:cubicBezTo>
                    <a:pt x="702140" y="426992"/>
                    <a:pt x="587473" y="457322"/>
                    <a:pt x="585508" y="446351"/>
                  </a:cubicBezTo>
                  <a:cubicBezTo>
                    <a:pt x="582887" y="435381"/>
                    <a:pt x="564540" y="363752"/>
                    <a:pt x="564540" y="363752"/>
                  </a:cubicBezTo>
                  <a:cubicBezTo>
                    <a:pt x="577645" y="352137"/>
                    <a:pt x="702140" y="339876"/>
                    <a:pt x="702140" y="339876"/>
                  </a:cubicBezTo>
                  <a:close/>
                  <a:moveTo>
                    <a:pt x="137603" y="0"/>
                  </a:moveTo>
                  <a:lnTo>
                    <a:pt x="137603" y="88407"/>
                  </a:lnTo>
                  <a:cubicBezTo>
                    <a:pt x="137603" y="88407"/>
                    <a:pt x="23477" y="117446"/>
                    <a:pt x="21521" y="107121"/>
                  </a:cubicBezTo>
                  <a:cubicBezTo>
                    <a:pt x="18260" y="96151"/>
                    <a:pt x="0" y="24522"/>
                    <a:pt x="0" y="24522"/>
                  </a:cubicBezTo>
                  <a:cubicBezTo>
                    <a:pt x="13695" y="12906"/>
                    <a:pt x="137603" y="0"/>
                    <a:pt x="137603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46E5408B-E489-3C4C-9B15-F4F48A7D8C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158" y="7505451"/>
              <a:ext cx="1487156" cy="5448549"/>
            </a:xfrm>
            <a:custGeom>
              <a:avLst/>
              <a:gdLst>
                <a:gd name="connsiteX0" fmla="*/ 1270375 w 1373252"/>
                <a:gd name="connsiteY0" fmla="*/ 4427603 h 5031236"/>
                <a:gd name="connsiteX1" fmla="*/ 481529 w 1373252"/>
                <a:gd name="connsiteY1" fmla="*/ 4504600 h 5031236"/>
                <a:gd name="connsiteX2" fmla="*/ 514488 w 1373252"/>
                <a:gd name="connsiteY2" fmla="*/ 4843738 h 5031236"/>
                <a:gd name="connsiteX3" fmla="*/ 1303288 w 1373252"/>
                <a:gd name="connsiteY3" fmla="*/ 4766685 h 5031236"/>
                <a:gd name="connsiteX4" fmla="*/ 1232458 w 1373252"/>
                <a:gd name="connsiteY4" fmla="*/ 4036974 h 5031236"/>
                <a:gd name="connsiteX5" fmla="*/ 443449 w 1373252"/>
                <a:gd name="connsiteY5" fmla="*/ 4112775 h 5031236"/>
                <a:gd name="connsiteX6" fmla="*/ 476425 w 1373252"/>
                <a:gd name="connsiteY6" fmla="*/ 4452079 h 5031236"/>
                <a:gd name="connsiteX7" fmla="*/ 1265277 w 1373252"/>
                <a:gd name="connsiteY7" fmla="*/ 4375080 h 5031236"/>
                <a:gd name="connsiteX8" fmla="*/ 1194529 w 1373252"/>
                <a:gd name="connsiteY8" fmla="*/ 3646217 h 5031236"/>
                <a:gd name="connsiteX9" fmla="*/ 405656 w 1373252"/>
                <a:gd name="connsiteY9" fmla="*/ 3723892 h 5031236"/>
                <a:gd name="connsiteX10" fmla="*/ 438485 w 1373252"/>
                <a:gd name="connsiteY10" fmla="*/ 4061691 h 5031236"/>
                <a:gd name="connsiteX11" fmla="*/ 1227499 w 1373252"/>
                <a:gd name="connsiteY11" fmla="*/ 3985890 h 5031236"/>
                <a:gd name="connsiteX12" fmla="*/ 1156511 w 1373252"/>
                <a:gd name="connsiteY12" fmla="*/ 3254553 h 5031236"/>
                <a:gd name="connsiteX13" fmla="*/ 367593 w 1373252"/>
                <a:gd name="connsiteY13" fmla="*/ 3332232 h 5031236"/>
                <a:gd name="connsiteX14" fmla="*/ 400548 w 1373252"/>
                <a:gd name="connsiteY14" fmla="*/ 3671330 h 5031236"/>
                <a:gd name="connsiteX15" fmla="*/ 1189486 w 1373252"/>
                <a:gd name="connsiteY15" fmla="*/ 3594265 h 5031236"/>
                <a:gd name="connsiteX16" fmla="*/ 1118555 w 1373252"/>
                <a:gd name="connsiteY16" fmla="*/ 2863516 h 5031236"/>
                <a:gd name="connsiteX17" fmla="*/ 329525 w 1373252"/>
                <a:gd name="connsiteY17" fmla="*/ 2940530 h 5031236"/>
                <a:gd name="connsiteX18" fmla="*/ 362484 w 1373252"/>
                <a:gd name="connsiteY18" fmla="*/ 3279667 h 5031236"/>
                <a:gd name="connsiteX19" fmla="*/ 1151462 w 1373252"/>
                <a:gd name="connsiteY19" fmla="*/ 3202538 h 5031236"/>
                <a:gd name="connsiteX20" fmla="*/ 1080388 w 1373252"/>
                <a:gd name="connsiteY20" fmla="*/ 2470310 h 5031236"/>
                <a:gd name="connsiteX21" fmla="*/ 291190 w 1373252"/>
                <a:gd name="connsiteY21" fmla="*/ 2546070 h 5031236"/>
                <a:gd name="connsiteX22" fmla="*/ 324421 w 1373252"/>
                <a:gd name="connsiteY22" fmla="*/ 2888009 h 5031236"/>
                <a:gd name="connsiteX23" fmla="*/ 1113451 w 1373252"/>
                <a:gd name="connsiteY23" fmla="*/ 2810935 h 5031236"/>
                <a:gd name="connsiteX24" fmla="*/ 1042681 w 1373252"/>
                <a:gd name="connsiteY24" fmla="*/ 2081843 h 5031236"/>
                <a:gd name="connsiteX25" fmla="*/ 253379 w 1373252"/>
                <a:gd name="connsiteY25" fmla="*/ 2157008 h 5031236"/>
                <a:gd name="connsiteX26" fmla="*/ 286231 w 1373252"/>
                <a:gd name="connsiteY26" fmla="*/ 2495046 h 5031236"/>
                <a:gd name="connsiteX27" fmla="*/ 1075429 w 1373252"/>
                <a:gd name="connsiteY27" fmla="*/ 2419228 h 5031236"/>
                <a:gd name="connsiteX28" fmla="*/ 1004664 w 1373252"/>
                <a:gd name="connsiteY28" fmla="*/ 1690181 h 5031236"/>
                <a:gd name="connsiteX29" fmla="*/ 215327 w 1373252"/>
                <a:gd name="connsiteY29" fmla="*/ 1765465 h 5031236"/>
                <a:gd name="connsiteX30" fmla="*/ 248418 w 1373252"/>
                <a:gd name="connsiteY30" fmla="*/ 2105963 h 5031236"/>
                <a:gd name="connsiteX31" fmla="*/ 1037662 w 1373252"/>
                <a:gd name="connsiteY31" fmla="*/ 2030139 h 5031236"/>
                <a:gd name="connsiteX32" fmla="*/ 966585 w 1373252"/>
                <a:gd name="connsiteY32" fmla="*/ 1297891 h 5031236"/>
                <a:gd name="connsiteX33" fmla="*/ 177249 w 1373252"/>
                <a:gd name="connsiteY33" fmla="*/ 1373664 h 5031236"/>
                <a:gd name="connsiteX34" fmla="*/ 210354 w 1373252"/>
                <a:gd name="connsiteY34" fmla="*/ 1714302 h 5031236"/>
                <a:gd name="connsiteX35" fmla="*/ 999645 w 1373252"/>
                <a:gd name="connsiteY35" fmla="*/ 1638474 h 5031236"/>
                <a:gd name="connsiteX36" fmla="*/ 928718 w 1373252"/>
                <a:gd name="connsiteY36" fmla="*/ 907772 h 5031236"/>
                <a:gd name="connsiteX37" fmla="*/ 139470 w 1373252"/>
                <a:gd name="connsiteY37" fmla="*/ 984929 h 5031236"/>
                <a:gd name="connsiteX38" fmla="*/ 172230 w 1373252"/>
                <a:gd name="connsiteY38" fmla="*/ 1322019 h 5031236"/>
                <a:gd name="connsiteX39" fmla="*/ 961625 w 1373252"/>
                <a:gd name="connsiteY39" fmla="*/ 1246788 h 5031236"/>
                <a:gd name="connsiteX40" fmla="*/ 890827 w 1373252"/>
                <a:gd name="connsiteY40" fmla="*/ 517413 h 5031236"/>
                <a:gd name="connsiteX41" fmla="*/ 101400 w 1373252"/>
                <a:gd name="connsiteY41" fmla="*/ 593196 h 5031236"/>
                <a:gd name="connsiteX42" fmla="*/ 134415 w 1373252"/>
                <a:gd name="connsiteY42" fmla="*/ 932914 h 5031236"/>
                <a:gd name="connsiteX43" fmla="*/ 923616 w 1373252"/>
                <a:gd name="connsiteY43" fmla="*/ 855206 h 5031236"/>
                <a:gd name="connsiteX44" fmla="*/ 852870 w 1373252"/>
                <a:gd name="connsiteY44" fmla="*/ 126368 h 5031236"/>
                <a:gd name="connsiteX45" fmla="*/ 63344 w 1373252"/>
                <a:gd name="connsiteY45" fmla="*/ 201612 h 5031236"/>
                <a:gd name="connsiteX46" fmla="*/ 96441 w 1373252"/>
                <a:gd name="connsiteY46" fmla="*/ 542172 h 5031236"/>
                <a:gd name="connsiteX47" fmla="*/ 885869 w 1373252"/>
                <a:gd name="connsiteY47" fmla="*/ 466330 h 5031236"/>
                <a:gd name="connsiteX48" fmla="*/ 893161 w 1373252"/>
                <a:gd name="connsiteY48" fmla="*/ 0 h 5031236"/>
                <a:gd name="connsiteX49" fmla="*/ 1373252 w 1373252"/>
                <a:gd name="connsiteY49" fmla="*/ 4945362 h 5031236"/>
                <a:gd name="connsiteX50" fmla="*/ 1321139 w 1373252"/>
                <a:gd name="connsiteY50" fmla="*/ 4950588 h 5031236"/>
                <a:gd name="connsiteX51" fmla="*/ 1308392 w 1373252"/>
                <a:gd name="connsiteY51" fmla="*/ 4819268 h 5031236"/>
                <a:gd name="connsiteX52" fmla="*/ 519592 w 1373252"/>
                <a:gd name="connsiteY52" fmla="*/ 4896261 h 5031236"/>
                <a:gd name="connsiteX53" fmla="*/ 532202 w 1373252"/>
                <a:gd name="connsiteY53" fmla="*/ 5026010 h 5031236"/>
                <a:gd name="connsiteX54" fmla="*/ 479961 w 1373252"/>
                <a:gd name="connsiteY54" fmla="*/ 5031236 h 5031236"/>
                <a:gd name="connsiteX55" fmla="*/ 0 w 1373252"/>
                <a:gd name="connsiteY55" fmla="*/ 85220 h 5031236"/>
                <a:gd name="connsiteX56" fmla="*/ 51588 w 1373252"/>
                <a:gd name="connsiteY56" fmla="*/ 80648 h 5031236"/>
                <a:gd name="connsiteX57" fmla="*/ 58378 w 1373252"/>
                <a:gd name="connsiteY57" fmla="*/ 150512 h 5031236"/>
                <a:gd name="connsiteX58" fmla="*/ 847857 w 1373252"/>
                <a:gd name="connsiteY58" fmla="*/ 74724 h 5031236"/>
                <a:gd name="connsiteX59" fmla="*/ 841048 w 1373252"/>
                <a:gd name="connsiteY59" fmla="*/ 4572 h 503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373252" h="5031236">
                  <a:moveTo>
                    <a:pt x="1270375" y="4427603"/>
                  </a:moveTo>
                  <a:lnTo>
                    <a:pt x="481529" y="4504600"/>
                  </a:lnTo>
                  <a:lnTo>
                    <a:pt x="514488" y="4843738"/>
                  </a:lnTo>
                  <a:lnTo>
                    <a:pt x="1303288" y="4766685"/>
                  </a:lnTo>
                  <a:close/>
                  <a:moveTo>
                    <a:pt x="1232458" y="4036974"/>
                  </a:moveTo>
                  <a:lnTo>
                    <a:pt x="443449" y="4112775"/>
                  </a:lnTo>
                  <a:lnTo>
                    <a:pt x="476425" y="4452079"/>
                  </a:lnTo>
                  <a:lnTo>
                    <a:pt x="1265277" y="4375080"/>
                  </a:lnTo>
                  <a:close/>
                  <a:moveTo>
                    <a:pt x="1194529" y="3646217"/>
                  </a:moveTo>
                  <a:lnTo>
                    <a:pt x="405656" y="3723892"/>
                  </a:lnTo>
                  <a:lnTo>
                    <a:pt x="438485" y="4061691"/>
                  </a:lnTo>
                  <a:lnTo>
                    <a:pt x="1227499" y="3985890"/>
                  </a:lnTo>
                  <a:close/>
                  <a:moveTo>
                    <a:pt x="1156511" y="3254553"/>
                  </a:moveTo>
                  <a:lnTo>
                    <a:pt x="367593" y="3332232"/>
                  </a:lnTo>
                  <a:lnTo>
                    <a:pt x="400548" y="3671330"/>
                  </a:lnTo>
                  <a:lnTo>
                    <a:pt x="1189486" y="3594265"/>
                  </a:lnTo>
                  <a:close/>
                  <a:moveTo>
                    <a:pt x="1118555" y="2863516"/>
                  </a:moveTo>
                  <a:lnTo>
                    <a:pt x="329525" y="2940530"/>
                  </a:lnTo>
                  <a:lnTo>
                    <a:pt x="362484" y="3279667"/>
                  </a:lnTo>
                  <a:lnTo>
                    <a:pt x="1151462" y="3202538"/>
                  </a:lnTo>
                  <a:close/>
                  <a:moveTo>
                    <a:pt x="1080388" y="2470310"/>
                  </a:moveTo>
                  <a:lnTo>
                    <a:pt x="291190" y="2546070"/>
                  </a:lnTo>
                  <a:lnTo>
                    <a:pt x="324421" y="2888009"/>
                  </a:lnTo>
                  <a:lnTo>
                    <a:pt x="1113451" y="2810935"/>
                  </a:lnTo>
                  <a:close/>
                  <a:moveTo>
                    <a:pt x="1042681" y="2081843"/>
                  </a:moveTo>
                  <a:lnTo>
                    <a:pt x="253379" y="2157008"/>
                  </a:lnTo>
                  <a:lnTo>
                    <a:pt x="286231" y="2495046"/>
                  </a:lnTo>
                  <a:lnTo>
                    <a:pt x="1075429" y="2419228"/>
                  </a:lnTo>
                  <a:close/>
                  <a:moveTo>
                    <a:pt x="1004664" y="1690181"/>
                  </a:moveTo>
                  <a:lnTo>
                    <a:pt x="215327" y="1765465"/>
                  </a:lnTo>
                  <a:lnTo>
                    <a:pt x="248418" y="2105963"/>
                  </a:lnTo>
                  <a:lnTo>
                    <a:pt x="1037662" y="2030139"/>
                  </a:lnTo>
                  <a:close/>
                  <a:moveTo>
                    <a:pt x="966585" y="1297891"/>
                  </a:moveTo>
                  <a:lnTo>
                    <a:pt x="177249" y="1373664"/>
                  </a:lnTo>
                  <a:lnTo>
                    <a:pt x="210354" y="1714302"/>
                  </a:lnTo>
                  <a:lnTo>
                    <a:pt x="999645" y="1638474"/>
                  </a:lnTo>
                  <a:close/>
                  <a:moveTo>
                    <a:pt x="928718" y="907772"/>
                  </a:moveTo>
                  <a:lnTo>
                    <a:pt x="139470" y="984929"/>
                  </a:lnTo>
                  <a:lnTo>
                    <a:pt x="172230" y="1322019"/>
                  </a:lnTo>
                  <a:lnTo>
                    <a:pt x="961625" y="1246788"/>
                  </a:lnTo>
                  <a:close/>
                  <a:moveTo>
                    <a:pt x="890827" y="517413"/>
                  </a:moveTo>
                  <a:lnTo>
                    <a:pt x="101400" y="593196"/>
                  </a:lnTo>
                  <a:lnTo>
                    <a:pt x="134415" y="932914"/>
                  </a:lnTo>
                  <a:lnTo>
                    <a:pt x="923616" y="855206"/>
                  </a:lnTo>
                  <a:close/>
                  <a:moveTo>
                    <a:pt x="852870" y="126368"/>
                  </a:moveTo>
                  <a:lnTo>
                    <a:pt x="63344" y="201612"/>
                  </a:lnTo>
                  <a:lnTo>
                    <a:pt x="96441" y="542172"/>
                  </a:lnTo>
                  <a:lnTo>
                    <a:pt x="885869" y="466330"/>
                  </a:lnTo>
                  <a:close/>
                  <a:moveTo>
                    <a:pt x="893161" y="0"/>
                  </a:moveTo>
                  <a:lnTo>
                    <a:pt x="1373252" y="4945362"/>
                  </a:lnTo>
                  <a:lnTo>
                    <a:pt x="1321139" y="4950588"/>
                  </a:lnTo>
                  <a:lnTo>
                    <a:pt x="1308392" y="4819268"/>
                  </a:lnTo>
                  <a:lnTo>
                    <a:pt x="519592" y="4896261"/>
                  </a:lnTo>
                  <a:lnTo>
                    <a:pt x="532202" y="5026010"/>
                  </a:lnTo>
                  <a:lnTo>
                    <a:pt x="479961" y="5031236"/>
                  </a:lnTo>
                  <a:lnTo>
                    <a:pt x="0" y="85220"/>
                  </a:lnTo>
                  <a:lnTo>
                    <a:pt x="51588" y="80648"/>
                  </a:lnTo>
                  <a:lnTo>
                    <a:pt x="58378" y="150512"/>
                  </a:lnTo>
                  <a:lnTo>
                    <a:pt x="847857" y="74724"/>
                  </a:lnTo>
                  <a:lnTo>
                    <a:pt x="841048" y="4572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110">
              <a:extLst>
                <a:ext uri="{FF2B5EF4-FFF2-40B4-BE49-F238E27FC236}">
                  <a16:creationId xmlns:a16="http://schemas.microsoft.com/office/drawing/2014/main" id="{45A148BB-E912-6543-ADC0-A6035BEBB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8905" y="6697578"/>
              <a:ext cx="258895" cy="233940"/>
            </a:xfrm>
            <a:custGeom>
              <a:avLst/>
              <a:gdLst>
                <a:gd name="T0" fmla="*/ 10 w 366"/>
                <a:gd name="T1" fmla="*/ 213 h 332"/>
                <a:gd name="T2" fmla="*/ 10 w 366"/>
                <a:gd name="T3" fmla="*/ 213 h 332"/>
                <a:gd name="T4" fmla="*/ 38 w 366"/>
                <a:gd name="T5" fmla="*/ 238 h 332"/>
                <a:gd name="T6" fmla="*/ 38 w 366"/>
                <a:gd name="T7" fmla="*/ 238 h 332"/>
                <a:gd name="T8" fmla="*/ 74 w 366"/>
                <a:gd name="T9" fmla="*/ 253 h 332"/>
                <a:gd name="T10" fmla="*/ 74 w 366"/>
                <a:gd name="T11" fmla="*/ 253 h 332"/>
                <a:gd name="T12" fmla="*/ 86 w 366"/>
                <a:gd name="T13" fmla="*/ 259 h 332"/>
                <a:gd name="T14" fmla="*/ 86 w 366"/>
                <a:gd name="T15" fmla="*/ 259 h 332"/>
                <a:gd name="T16" fmla="*/ 148 w 366"/>
                <a:gd name="T17" fmla="*/ 292 h 332"/>
                <a:gd name="T18" fmla="*/ 148 w 366"/>
                <a:gd name="T19" fmla="*/ 292 h 332"/>
                <a:gd name="T20" fmla="*/ 312 w 366"/>
                <a:gd name="T21" fmla="*/ 331 h 332"/>
                <a:gd name="T22" fmla="*/ 343 w 366"/>
                <a:gd name="T23" fmla="*/ 251 h 332"/>
                <a:gd name="T24" fmla="*/ 365 w 366"/>
                <a:gd name="T25" fmla="*/ 187 h 332"/>
                <a:gd name="T26" fmla="*/ 365 w 366"/>
                <a:gd name="T27" fmla="*/ 187 h 332"/>
                <a:gd name="T28" fmla="*/ 214 w 366"/>
                <a:gd name="T29" fmla="*/ 14 h 332"/>
                <a:gd name="T30" fmla="*/ 214 w 366"/>
                <a:gd name="T31" fmla="*/ 14 h 332"/>
                <a:gd name="T32" fmla="*/ 206 w 366"/>
                <a:gd name="T33" fmla="*/ 11 h 332"/>
                <a:gd name="T34" fmla="*/ 206 w 366"/>
                <a:gd name="T35" fmla="*/ 11 h 332"/>
                <a:gd name="T36" fmla="*/ 149 w 366"/>
                <a:gd name="T37" fmla="*/ 6 h 332"/>
                <a:gd name="T38" fmla="*/ 149 w 366"/>
                <a:gd name="T39" fmla="*/ 6 h 332"/>
                <a:gd name="T40" fmla="*/ 87 w 366"/>
                <a:gd name="T41" fmla="*/ 9 h 332"/>
                <a:gd name="T42" fmla="*/ 87 w 366"/>
                <a:gd name="T43" fmla="*/ 9 h 332"/>
                <a:gd name="T44" fmla="*/ 71 w 366"/>
                <a:gd name="T45" fmla="*/ 52 h 332"/>
                <a:gd name="T46" fmla="*/ 71 w 366"/>
                <a:gd name="T47" fmla="*/ 52 h 332"/>
                <a:gd name="T48" fmla="*/ 42 w 366"/>
                <a:gd name="T49" fmla="*/ 106 h 332"/>
                <a:gd name="T50" fmla="*/ 42 w 366"/>
                <a:gd name="T51" fmla="*/ 106 h 332"/>
                <a:gd name="T52" fmla="*/ 23 w 366"/>
                <a:gd name="T53" fmla="*/ 164 h 332"/>
                <a:gd name="T54" fmla="*/ 23 w 366"/>
                <a:gd name="T55" fmla="*/ 164 h 332"/>
                <a:gd name="T56" fmla="*/ 10 w 366"/>
                <a:gd name="T57" fmla="*/ 21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6" h="332">
                  <a:moveTo>
                    <a:pt x="10" y="213"/>
                  </a:moveTo>
                  <a:lnTo>
                    <a:pt x="10" y="213"/>
                  </a:lnTo>
                  <a:cubicBezTo>
                    <a:pt x="10" y="213"/>
                    <a:pt x="26" y="233"/>
                    <a:pt x="38" y="238"/>
                  </a:cubicBezTo>
                  <a:lnTo>
                    <a:pt x="38" y="238"/>
                  </a:lnTo>
                  <a:cubicBezTo>
                    <a:pt x="38" y="238"/>
                    <a:pt x="59" y="247"/>
                    <a:pt x="74" y="253"/>
                  </a:cubicBezTo>
                  <a:lnTo>
                    <a:pt x="74" y="253"/>
                  </a:lnTo>
                  <a:cubicBezTo>
                    <a:pt x="79" y="255"/>
                    <a:pt x="84" y="258"/>
                    <a:pt x="86" y="259"/>
                  </a:cubicBezTo>
                  <a:lnTo>
                    <a:pt x="86" y="259"/>
                  </a:lnTo>
                  <a:cubicBezTo>
                    <a:pt x="97" y="265"/>
                    <a:pt x="118" y="283"/>
                    <a:pt x="148" y="292"/>
                  </a:cubicBezTo>
                  <a:lnTo>
                    <a:pt x="148" y="292"/>
                  </a:lnTo>
                  <a:cubicBezTo>
                    <a:pt x="177" y="300"/>
                    <a:pt x="312" y="331"/>
                    <a:pt x="312" y="331"/>
                  </a:cubicBezTo>
                  <a:lnTo>
                    <a:pt x="343" y="251"/>
                  </a:lnTo>
                  <a:lnTo>
                    <a:pt x="365" y="187"/>
                  </a:lnTo>
                  <a:lnTo>
                    <a:pt x="365" y="187"/>
                  </a:lnTo>
                  <a:cubicBezTo>
                    <a:pt x="365" y="187"/>
                    <a:pt x="241" y="25"/>
                    <a:pt x="214" y="14"/>
                  </a:cubicBezTo>
                  <a:lnTo>
                    <a:pt x="214" y="14"/>
                  </a:lnTo>
                  <a:cubicBezTo>
                    <a:pt x="212" y="13"/>
                    <a:pt x="209" y="12"/>
                    <a:pt x="206" y="11"/>
                  </a:cubicBezTo>
                  <a:lnTo>
                    <a:pt x="206" y="11"/>
                  </a:lnTo>
                  <a:cubicBezTo>
                    <a:pt x="183" y="4"/>
                    <a:pt x="162" y="8"/>
                    <a:pt x="149" y="6"/>
                  </a:cubicBezTo>
                  <a:lnTo>
                    <a:pt x="149" y="6"/>
                  </a:lnTo>
                  <a:cubicBezTo>
                    <a:pt x="145" y="5"/>
                    <a:pt x="97" y="0"/>
                    <a:pt x="87" y="9"/>
                  </a:cubicBezTo>
                  <a:lnTo>
                    <a:pt x="87" y="9"/>
                  </a:lnTo>
                  <a:cubicBezTo>
                    <a:pt x="72" y="23"/>
                    <a:pt x="68" y="39"/>
                    <a:pt x="71" y="52"/>
                  </a:cubicBezTo>
                  <a:lnTo>
                    <a:pt x="71" y="52"/>
                  </a:lnTo>
                  <a:cubicBezTo>
                    <a:pt x="71" y="52"/>
                    <a:pt x="44" y="81"/>
                    <a:pt x="42" y="106"/>
                  </a:cubicBezTo>
                  <a:lnTo>
                    <a:pt x="42" y="106"/>
                  </a:lnTo>
                  <a:cubicBezTo>
                    <a:pt x="42" y="106"/>
                    <a:pt x="17" y="132"/>
                    <a:pt x="23" y="164"/>
                  </a:cubicBezTo>
                  <a:lnTo>
                    <a:pt x="23" y="164"/>
                  </a:lnTo>
                  <a:cubicBezTo>
                    <a:pt x="23" y="164"/>
                    <a:pt x="0" y="193"/>
                    <a:pt x="10" y="21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D9F7A82E-0BB7-B348-AE56-A36B9C914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7331" y="6622388"/>
              <a:ext cx="395216" cy="564193"/>
            </a:xfrm>
            <a:custGeom>
              <a:avLst/>
              <a:gdLst>
                <a:gd name="connsiteX0" fmla="*/ 185912 w 364946"/>
                <a:gd name="connsiteY0" fmla="*/ 3 h 520981"/>
                <a:gd name="connsiteX1" fmla="*/ 270603 w 364946"/>
                <a:gd name="connsiteY1" fmla="*/ 13977 h 520981"/>
                <a:gd name="connsiteX2" fmla="*/ 364868 w 364946"/>
                <a:gd name="connsiteY2" fmla="*/ 142120 h 520981"/>
                <a:gd name="connsiteX3" fmla="*/ 320405 w 364946"/>
                <a:gd name="connsiteY3" fmla="*/ 329308 h 520981"/>
                <a:gd name="connsiteX4" fmla="*/ 310610 w 364946"/>
                <a:gd name="connsiteY4" fmla="*/ 349902 h 520981"/>
                <a:gd name="connsiteX5" fmla="*/ 297930 w 364946"/>
                <a:gd name="connsiteY5" fmla="*/ 392826 h 520981"/>
                <a:gd name="connsiteX6" fmla="*/ 271217 w 364946"/>
                <a:gd name="connsiteY6" fmla="*/ 520981 h 520981"/>
                <a:gd name="connsiteX7" fmla="*/ 81257 w 364946"/>
                <a:gd name="connsiteY7" fmla="*/ 500642 h 520981"/>
                <a:gd name="connsiteX8" fmla="*/ 87132 w 364946"/>
                <a:gd name="connsiteY8" fmla="*/ 463736 h 520981"/>
                <a:gd name="connsiteX9" fmla="*/ 86295 w 364946"/>
                <a:gd name="connsiteY9" fmla="*/ 451815 h 520981"/>
                <a:gd name="connsiteX10" fmla="*/ 61780 w 364946"/>
                <a:gd name="connsiteY10" fmla="*/ 446786 h 520981"/>
                <a:gd name="connsiteX11" fmla="*/ 48688 w 364946"/>
                <a:gd name="connsiteY11" fmla="*/ 72818 h 520981"/>
                <a:gd name="connsiteX12" fmla="*/ 185912 w 364946"/>
                <a:gd name="connsiteY12" fmla="*/ 3 h 52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4946" h="520981">
                  <a:moveTo>
                    <a:pt x="185912" y="3"/>
                  </a:moveTo>
                  <a:cubicBezTo>
                    <a:pt x="232635" y="-243"/>
                    <a:pt x="270603" y="13977"/>
                    <a:pt x="270603" y="13977"/>
                  </a:cubicBezTo>
                  <a:cubicBezTo>
                    <a:pt x="309880" y="34245"/>
                    <a:pt x="363558" y="72818"/>
                    <a:pt x="364868" y="142120"/>
                  </a:cubicBezTo>
                  <a:cubicBezTo>
                    <a:pt x="366340" y="194586"/>
                    <a:pt x="346824" y="266177"/>
                    <a:pt x="320405" y="329308"/>
                  </a:cubicBezTo>
                  <a:lnTo>
                    <a:pt x="310610" y="349902"/>
                  </a:lnTo>
                  <a:lnTo>
                    <a:pt x="297930" y="392826"/>
                  </a:lnTo>
                  <a:cubicBezTo>
                    <a:pt x="280396" y="460825"/>
                    <a:pt x="271217" y="520981"/>
                    <a:pt x="271217" y="520981"/>
                  </a:cubicBezTo>
                  <a:cubicBezTo>
                    <a:pt x="271217" y="520981"/>
                    <a:pt x="70813" y="520325"/>
                    <a:pt x="81257" y="500642"/>
                  </a:cubicBezTo>
                  <a:cubicBezTo>
                    <a:pt x="86480" y="490800"/>
                    <a:pt x="87459" y="476038"/>
                    <a:pt x="87132" y="463736"/>
                  </a:cubicBezTo>
                  <a:lnTo>
                    <a:pt x="86295" y="451815"/>
                  </a:lnTo>
                  <a:lnTo>
                    <a:pt x="61780" y="446786"/>
                  </a:lnTo>
                  <a:cubicBezTo>
                    <a:pt x="-14810" y="418673"/>
                    <a:pt x="-21356" y="187885"/>
                    <a:pt x="48688" y="72818"/>
                  </a:cubicBezTo>
                  <a:cubicBezTo>
                    <a:pt x="83710" y="14958"/>
                    <a:pt x="139189" y="248"/>
                    <a:pt x="185912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115">
              <a:extLst>
                <a:ext uri="{FF2B5EF4-FFF2-40B4-BE49-F238E27FC236}">
                  <a16:creationId xmlns:a16="http://schemas.microsoft.com/office/drawing/2014/main" id="{5E6D57C2-56EF-5041-9B0C-D1B4762CE1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6679" y="6550976"/>
              <a:ext cx="424212" cy="446047"/>
            </a:xfrm>
            <a:custGeom>
              <a:avLst/>
              <a:gdLst>
                <a:gd name="T0" fmla="*/ 503 w 599"/>
                <a:gd name="T1" fmla="*/ 596 h 632"/>
                <a:gd name="T2" fmla="*/ 503 w 599"/>
                <a:gd name="T3" fmla="*/ 596 h 632"/>
                <a:gd name="T4" fmla="*/ 396 w 599"/>
                <a:gd name="T5" fmla="*/ 617 h 632"/>
                <a:gd name="T6" fmla="*/ 396 w 599"/>
                <a:gd name="T7" fmla="*/ 617 h 632"/>
                <a:gd name="T8" fmla="*/ 168 w 599"/>
                <a:gd name="T9" fmla="*/ 476 h 632"/>
                <a:gd name="T10" fmla="*/ 168 w 599"/>
                <a:gd name="T11" fmla="*/ 476 h 632"/>
                <a:gd name="T12" fmla="*/ 131 w 599"/>
                <a:gd name="T13" fmla="*/ 442 h 632"/>
                <a:gd name="T14" fmla="*/ 109 w 599"/>
                <a:gd name="T15" fmla="*/ 475 h 632"/>
                <a:gd name="T16" fmla="*/ 71 w 599"/>
                <a:gd name="T17" fmla="*/ 477 h 632"/>
                <a:gd name="T18" fmla="*/ 71 w 599"/>
                <a:gd name="T19" fmla="*/ 477 h 632"/>
                <a:gd name="T20" fmla="*/ 53 w 599"/>
                <a:gd name="T21" fmla="*/ 333 h 632"/>
                <a:gd name="T22" fmla="*/ 53 w 599"/>
                <a:gd name="T23" fmla="*/ 333 h 632"/>
                <a:gd name="T24" fmla="*/ 384 w 599"/>
                <a:gd name="T25" fmla="*/ 97 h 632"/>
                <a:gd name="T26" fmla="*/ 384 w 599"/>
                <a:gd name="T27" fmla="*/ 97 h 632"/>
                <a:gd name="T28" fmla="*/ 590 w 599"/>
                <a:gd name="T29" fmla="*/ 276 h 632"/>
                <a:gd name="T30" fmla="*/ 590 w 599"/>
                <a:gd name="T31" fmla="*/ 276 h 632"/>
                <a:gd name="T32" fmla="*/ 503 w 599"/>
                <a:gd name="T33" fmla="*/ 596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9" h="632">
                  <a:moveTo>
                    <a:pt x="503" y="596"/>
                  </a:moveTo>
                  <a:lnTo>
                    <a:pt x="503" y="596"/>
                  </a:lnTo>
                  <a:cubicBezTo>
                    <a:pt x="503" y="596"/>
                    <a:pt x="482" y="631"/>
                    <a:pt x="396" y="617"/>
                  </a:cubicBezTo>
                  <a:lnTo>
                    <a:pt x="396" y="617"/>
                  </a:lnTo>
                  <a:cubicBezTo>
                    <a:pt x="309" y="604"/>
                    <a:pt x="204" y="488"/>
                    <a:pt x="168" y="476"/>
                  </a:cubicBezTo>
                  <a:lnTo>
                    <a:pt x="168" y="476"/>
                  </a:lnTo>
                  <a:cubicBezTo>
                    <a:pt x="132" y="463"/>
                    <a:pt x="131" y="442"/>
                    <a:pt x="131" y="442"/>
                  </a:cubicBezTo>
                  <a:lnTo>
                    <a:pt x="109" y="475"/>
                  </a:lnTo>
                  <a:lnTo>
                    <a:pt x="71" y="477"/>
                  </a:lnTo>
                  <a:lnTo>
                    <a:pt x="71" y="477"/>
                  </a:lnTo>
                  <a:cubicBezTo>
                    <a:pt x="71" y="477"/>
                    <a:pt x="106" y="374"/>
                    <a:pt x="53" y="333"/>
                  </a:cubicBezTo>
                  <a:lnTo>
                    <a:pt x="53" y="333"/>
                  </a:lnTo>
                  <a:cubicBezTo>
                    <a:pt x="0" y="291"/>
                    <a:pt x="107" y="0"/>
                    <a:pt x="384" y="97"/>
                  </a:cubicBezTo>
                  <a:lnTo>
                    <a:pt x="384" y="97"/>
                  </a:lnTo>
                  <a:cubicBezTo>
                    <a:pt x="384" y="97"/>
                    <a:pt x="598" y="155"/>
                    <a:pt x="590" y="276"/>
                  </a:cubicBezTo>
                  <a:lnTo>
                    <a:pt x="590" y="276"/>
                  </a:lnTo>
                  <a:cubicBezTo>
                    <a:pt x="582" y="397"/>
                    <a:pt x="551" y="535"/>
                    <a:pt x="503" y="596"/>
                  </a:cubicBezTo>
                </a:path>
              </a:pathLst>
            </a:custGeom>
            <a:solidFill>
              <a:srgbClr val="32365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116">
              <a:extLst>
                <a:ext uri="{FF2B5EF4-FFF2-40B4-BE49-F238E27FC236}">
                  <a16:creationId xmlns:a16="http://schemas.microsoft.com/office/drawing/2014/main" id="{4552283C-D2FF-F442-8880-2B0FC5D8C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017" y="6775559"/>
              <a:ext cx="77981" cy="146604"/>
            </a:xfrm>
            <a:custGeom>
              <a:avLst/>
              <a:gdLst>
                <a:gd name="T0" fmla="*/ 12 w 109"/>
                <a:gd name="T1" fmla="*/ 78 h 209"/>
                <a:gd name="T2" fmla="*/ 12 w 109"/>
                <a:gd name="T3" fmla="*/ 78 h 209"/>
                <a:gd name="T4" fmla="*/ 89 w 109"/>
                <a:gd name="T5" fmla="*/ 62 h 209"/>
                <a:gd name="T6" fmla="*/ 89 w 109"/>
                <a:gd name="T7" fmla="*/ 62 h 209"/>
                <a:gd name="T8" fmla="*/ 31 w 109"/>
                <a:gd name="T9" fmla="*/ 200 h 209"/>
                <a:gd name="T10" fmla="*/ 31 w 109"/>
                <a:gd name="T11" fmla="*/ 200 h 209"/>
                <a:gd name="T12" fmla="*/ 12 w 109"/>
                <a:gd name="T13" fmla="*/ 7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209">
                  <a:moveTo>
                    <a:pt x="12" y="78"/>
                  </a:moveTo>
                  <a:lnTo>
                    <a:pt x="12" y="78"/>
                  </a:lnTo>
                  <a:cubicBezTo>
                    <a:pt x="17" y="58"/>
                    <a:pt x="69" y="0"/>
                    <a:pt x="89" y="62"/>
                  </a:cubicBezTo>
                  <a:lnTo>
                    <a:pt x="89" y="62"/>
                  </a:lnTo>
                  <a:cubicBezTo>
                    <a:pt x="108" y="124"/>
                    <a:pt x="59" y="208"/>
                    <a:pt x="31" y="200"/>
                  </a:cubicBezTo>
                  <a:lnTo>
                    <a:pt x="31" y="200"/>
                  </a:lnTo>
                  <a:cubicBezTo>
                    <a:pt x="3" y="193"/>
                    <a:pt x="0" y="130"/>
                    <a:pt x="12" y="7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42F6F6C0-399C-6B4A-8F25-85C6FE709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7857" y="8194200"/>
              <a:ext cx="1135346" cy="2158383"/>
            </a:xfrm>
            <a:custGeom>
              <a:avLst/>
              <a:gdLst>
                <a:gd name="connsiteX0" fmla="*/ 499544 w 1048388"/>
                <a:gd name="connsiteY0" fmla="*/ 173 h 1993069"/>
                <a:gd name="connsiteX1" fmla="*/ 779999 w 1048388"/>
                <a:gd name="connsiteY1" fmla="*/ 15175 h 1993069"/>
                <a:gd name="connsiteX2" fmla="*/ 786134 w 1048388"/>
                <a:gd name="connsiteY2" fmla="*/ 15761 h 1993069"/>
                <a:gd name="connsiteX3" fmla="*/ 786833 w 1048388"/>
                <a:gd name="connsiteY3" fmla="*/ 14953 h 1993069"/>
                <a:gd name="connsiteX4" fmla="*/ 840452 w 1048388"/>
                <a:gd name="connsiteY4" fmla="*/ 357809 h 1993069"/>
                <a:gd name="connsiteX5" fmla="*/ 888839 w 1048388"/>
                <a:gd name="connsiteY5" fmla="*/ 855440 h 1993069"/>
                <a:gd name="connsiteX6" fmla="*/ 962729 w 1048388"/>
                <a:gd name="connsiteY6" fmla="*/ 1437969 h 1993069"/>
                <a:gd name="connsiteX7" fmla="*/ 1048388 w 1048388"/>
                <a:gd name="connsiteY7" fmla="*/ 1968253 h 1993069"/>
                <a:gd name="connsiteX8" fmla="*/ 835221 w 1048388"/>
                <a:gd name="connsiteY8" fmla="*/ 1993069 h 1993069"/>
                <a:gd name="connsiteX9" fmla="*/ 664556 w 1048388"/>
                <a:gd name="connsiteY9" fmla="*/ 1151929 h 1993069"/>
                <a:gd name="connsiteX10" fmla="*/ 492971 w 1048388"/>
                <a:gd name="connsiteY10" fmla="*/ 579421 h 1993069"/>
                <a:gd name="connsiteX11" fmla="*/ 481396 w 1048388"/>
                <a:gd name="connsiteY11" fmla="*/ 533845 h 1993069"/>
                <a:gd name="connsiteX12" fmla="*/ 473852 w 1048388"/>
                <a:gd name="connsiteY12" fmla="*/ 550560 h 1993069"/>
                <a:gd name="connsiteX13" fmla="*/ 320312 w 1048388"/>
                <a:gd name="connsiteY13" fmla="*/ 858131 h 1993069"/>
                <a:gd name="connsiteX14" fmla="*/ 498074 w 1048388"/>
                <a:gd name="connsiteY14" fmla="*/ 1605076 h 1993069"/>
                <a:gd name="connsiteX15" fmla="*/ 269990 w 1048388"/>
                <a:gd name="connsiteY15" fmla="*/ 1641671 h 1993069"/>
                <a:gd name="connsiteX16" fmla="*/ 80 w 1048388"/>
                <a:gd name="connsiteY16" fmla="*/ 887538 h 1993069"/>
                <a:gd name="connsiteX17" fmla="*/ 62166 w 1048388"/>
                <a:gd name="connsiteY17" fmla="*/ 475836 h 1993069"/>
                <a:gd name="connsiteX18" fmla="*/ 166732 w 1048388"/>
                <a:gd name="connsiteY18" fmla="*/ 57599 h 1993069"/>
                <a:gd name="connsiteX19" fmla="*/ 499544 w 1048388"/>
                <a:gd name="connsiteY19" fmla="*/ 173 h 199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48388" h="1993069">
                  <a:moveTo>
                    <a:pt x="499544" y="173"/>
                  </a:moveTo>
                  <a:cubicBezTo>
                    <a:pt x="628351" y="1674"/>
                    <a:pt x="751280" y="12493"/>
                    <a:pt x="779999" y="15175"/>
                  </a:cubicBezTo>
                  <a:lnTo>
                    <a:pt x="786134" y="15761"/>
                  </a:lnTo>
                  <a:lnTo>
                    <a:pt x="786833" y="14953"/>
                  </a:lnTo>
                  <a:cubicBezTo>
                    <a:pt x="786833" y="14953"/>
                    <a:pt x="828028" y="186708"/>
                    <a:pt x="840452" y="357809"/>
                  </a:cubicBezTo>
                  <a:cubicBezTo>
                    <a:pt x="852222" y="515850"/>
                    <a:pt x="872492" y="689563"/>
                    <a:pt x="888839" y="855440"/>
                  </a:cubicBezTo>
                  <a:cubicBezTo>
                    <a:pt x="907148" y="1040256"/>
                    <a:pt x="959459" y="1338704"/>
                    <a:pt x="962729" y="1437969"/>
                  </a:cubicBezTo>
                  <a:cubicBezTo>
                    <a:pt x="965344" y="1536581"/>
                    <a:pt x="1048388" y="1968253"/>
                    <a:pt x="1048388" y="1968253"/>
                  </a:cubicBezTo>
                  <a:lnTo>
                    <a:pt x="835221" y="1993069"/>
                  </a:lnTo>
                  <a:cubicBezTo>
                    <a:pt x="835221" y="1993069"/>
                    <a:pt x="697250" y="1229643"/>
                    <a:pt x="664556" y="1151929"/>
                  </a:cubicBezTo>
                  <a:cubicBezTo>
                    <a:pt x="639544" y="1093154"/>
                    <a:pt x="542442" y="765849"/>
                    <a:pt x="492971" y="579421"/>
                  </a:cubicBezTo>
                  <a:lnTo>
                    <a:pt x="481396" y="533845"/>
                  </a:lnTo>
                  <a:lnTo>
                    <a:pt x="473852" y="550560"/>
                  </a:lnTo>
                  <a:cubicBezTo>
                    <a:pt x="421171" y="663716"/>
                    <a:pt x="401514" y="680870"/>
                    <a:pt x="320312" y="858131"/>
                  </a:cubicBezTo>
                  <a:cubicBezTo>
                    <a:pt x="257573" y="994058"/>
                    <a:pt x="498074" y="1605076"/>
                    <a:pt x="498074" y="1605076"/>
                  </a:cubicBezTo>
                  <a:lnTo>
                    <a:pt x="269990" y="1641671"/>
                  </a:lnTo>
                  <a:cubicBezTo>
                    <a:pt x="244502" y="1535805"/>
                    <a:pt x="-5148" y="948313"/>
                    <a:pt x="80" y="887538"/>
                  </a:cubicBezTo>
                  <a:cubicBezTo>
                    <a:pt x="5309" y="826763"/>
                    <a:pt x="43214" y="571246"/>
                    <a:pt x="62166" y="475836"/>
                  </a:cubicBezTo>
                  <a:cubicBezTo>
                    <a:pt x="84386" y="366049"/>
                    <a:pt x="166732" y="57599"/>
                    <a:pt x="166732" y="57599"/>
                  </a:cubicBezTo>
                  <a:cubicBezTo>
                    <a:pt x="197448" y="8913"/>
                    <a:pt x="352336" y="-1543"/>
                    <a:pt x="499544" y="173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D1E9164F-26D9-9F49-9B23-4E3D83BC8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5387" y="9972745"/>
              <a:ext cx="1060951" cy="606914"/>
            </a:xfrm>
            <a:custGeom>
              <a:avLst/>
              <a:gdLst>
                <a:gd name="connsiteX0" fmla="*/ 935816 w 979691"/>
                <a:gd name="connsiteY0" fmla="*/ 339875 h 560430"/>
                <a:gd name="connsiteX1" fmla="*/ 977518 w 979691"/>
                <a:gd name="connsiteY1" fmla="*/ 513529 h 560430"/>
                <a:gd name="connsiteX2" fmla="*/ 745549 w 979691"/>
                <a:gd name="connsiteY2" fmla="*/ 553203 h 560430"/>
                <a:gd name="connsiteX3" fmla="*/ 571573 w 979691"/>
                <a:gd name="connsiteY3" fmla="*/ 504424 h 560430"/>
                <a:gd name="connsiteX4" fmla="*/ 752717 w 979691"/>
                <a:gd name="connsiteY4" fmla="*/ 429629 h 560430"/>
                <a:gd name="connsiteX5" fmla="*/ 817877 w 979691"/>
                <a:gd name="connsiteY5" fmla="*/ 358086 h 560430"/>
                <a:gd name="connsiteX6" fmla="*/ 935816 w 979691"/>
                <a:gd name="connsiteY6" fmla="*/ 339875 h 560430"/>
                <a:gd name="connsiteX7" fmla="*/ 374676 w 979691"/>
                <a:gd name="connsiteY7" fmla="*/ 0 h 560430"/>
                <a:gd name="connsiteX8" fmla="*/ 416478 w 979691"/>
                <a:gd name="connsiteY8" fmla="*/ 173003 h 560430"/>
                <a:gd name="connsiteX9" fmla="*/ 183955 w 979691"/>
                <a:gd name="connsiteY9" fmla="*/ 213327 h 560430"/>
                <a:gd name="connsiteX10" fmla="*/ 129743 w 979691"/>
                <a:gd name="connsiteY10" fmla="*/ 219343 h 560430"/>
                <a:gd name="connsiteX11" fmla="*/ 116388 w 979691"/>
                <a:gd name="connsiteY11" fmla="*/ 219701 h 560430"/>
                <a:gd name="connsiteX12" fmla="*/ 114320 w 979691"/>
                <a:gd name="connsiteY12" fmla="*/ 219903 h 560430"/>
                <a:gd name="connsiteX13" fmla="*/ 109587 w 979691"/>
                <a:gd name="connsiteY13" fmla="*/ 219883 h 560430"/>
                <a:gd name="connsiteX14" fmla="*/ 87288 w 979691"/>
                <a:gd name="connsiteY14" fmla="*/ 220481 h 560430"/>
                <a:gd name="connsiteX15" fmla="*/ 87221 w 979691"/>
                <a:gd name="connsiteY15" fmla="*/ 219791 h 560430"/>
                <a:gd name="connsiteX16" fmla="*/ 65412 w 979691"/>
                <a:gd name="connsiteY16" fmla="*/ 219701 h 560430"/>
                <a:gd name="connsiteX17" fmla="*/ 7685 w 979691"/>
                <a:gd name="connsiteY17" fmla="*/ 164550 h 560430"/>
                <a:gd name="connsiteX18" fmla="*/ 188177 w 979691"/>
                <a:gd name="connsiteY18" fmla="*/ 89104 h 560430"/>
                <a:gd name="connsiteX19" fmla="*/ 253337 w 979691"/>
                <a:gd name="connsiteY19" fmla="*/ 18212 h 560430"/>
                <a:gd name="connsiteX20" fmla="*/ 371927 w 979691"/>
                <a:gd name="connsiteY20" fmla="*/ 1 h 560430"/>
                <a:gd name="connsiteX21" fmla="*/ 372301 w 979691"/>
                <a:gd name="connsiteY21" fmla="*/ 1029 h 560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79691" h="560430">
                  <a:moveTo>
                    <a:pt x="935816" y="339875"/>
                  </a:moveTo>
                  <a:cubicBezTo>
                    <a:pt x="935816" y="339875"/>
                    <a:pt x="991201" y="487513"/>
                    <a:pt x="977518" y="513529"/>
                  </a:cubicBezTo>
                  <a:cubicBezTo>
                    <a:pt x="964486" y="538244"/>
                    <a:pt x="892159" y="533691"/>
                    <a:pt x="745549" y="553203"/>
                  </a:cubicBezTo>
                  <a:cubicBezTo>
                    <a:pt x="539645" y="581170"/>
                    <a:pt x="558541" y="520033"/>
                    <a:pt x="571573" y="504424"/>
                  </a:cubicBezTo>
                  <a:cubicBezTo>
                    <a:pt x="590470" y="482310"/>
                    <a:pt x="719486" y="452392"/>
                    <a:pt x="752717" y="429629"/>
                  </a:cubicBezTo>
                  <a:cubicBezTo>
                    <a:pt x="785949" y="406215"/>
                    <a:pt x="817877" y="358086"/>
                    <a:pt x="817877" y="358086"/>
                  </a:cubicBezTo>
                  <a:cubicBezTo>
                    <a:pt x="904539" y="357436"/>
                    <a:pt x="935816" y="339875"/>
                    <a:pt x="935816" y="339875"/>
                  </a:cubicBezTo>
                  <a:close/>
                  <a:moveTo>
                    <a:pt x="374676" y="0"/>
                  </a:moveTo>
                  <a:cubicBezTo>
                    <a:pt x="374676" y="0"/>
                    <a:pt x="429541" y="147638"/>
                    <a:pt x="416478" y="173003"/>
                  </a:cubicBezTo>
                  <a:cubicBezTo>
                    <a:pt x="403415" y="199018"/>
                    <a:pt x="330915" y="193815"/>
                    <a:pt x="183955" y="213327"/>
                  </a:cubicBezTo>
                  <a:cubicBezTo>
                    <a:pt x="163707" y="216254"/>
                    <a:pt x="145745" y="218205"/>
                    <a:pt x="129743" y="219343"/>
                  </a:cubicBezTo>
                  <a:lnTo>
                    <a:pt x="116388" y="219701"/>
                  </a:lnTo>
                  <a:lnTo>
                    <a:pt x="114320" y="219903"/>
                  </a:lnTo>
                  <a:lnTo>
                    <a:pt x="109587" y="219883"/>
                  </a:lnTo>
                  <a:lnTo>
                    <a:pt x="87288" y="220481"/>
                  </a:lnTo>
                  <a:lnTo>
                    <a:pt x="87221" y="219791"/>
                  </a:lnTo>
                  <a:lnTo>
                    <a:pt x="65412" y="219701"/>
                  </a:lnTo>
                  <a:cubicBezTo>
                    <a:pt x="-15773" y="213573"/>
                    <a:pt x="-2578" y="176257"/>
                    <a:pt x="7685" y="164550"/>
                  </a:cubicBezTo>
                  <a:cubicBezTo>
                    <a:pt x="26581" y="142436"/>
                    <a:pt x="154946" y="112518"/>
                    <a:pt x="188177" y="89104"/>
                  </a:cubicBezTo>
                  <a:cubicBezTo>
                    <a:pt x="221409" y="66341"/>
                    <a:pt x="253337" y="18212"/>
                    <a:pt x="253337" y="18212"/>
                  </a:cubicBezTo>
                  <a:cubicBezTo>
                    <a:pt x="339999" y="17562"/>
                    <a:pt x="371927" y="1"/>
                    <a:pt x="371927" y="1"/>
                  </a:cubicBezTo>
                  <a:lnTo>
                    <a:pt x="372301" y="1029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1CAAA55C-1531-6C44-8185-09FF7D76F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8625" y="6816109"/>
              <a:ext cx="1768442" cy="1898580"/>
            </a:xfrm>
            <a:custGeom>
              <a:avLst/>
              <a:gdLst>
                <a:gd name="connsiteX0" fmla="*/ 101758 w 1632994"/>
                <a:gd name="connsiteY0" fmla="*/ 0 h 1753165"/>
                <a:gd name="connsiteX1" fmla="*/ 457909 w 1632994"/>
                <a:gd name="connsiteY1" fmla="*/ 311757 h 1753165"/>
                <a:gd name="connsiteX2" fmla="*/ 858416 w 1632994"/>
                <a:gd name="connsiteY2" fmla="*/ 379075 h 1753165"/>
                <a:gd name="connsiteX3" fmla="*/ 862273 w 1632994"/>
                <a:gd name="connsiteY3" fmla="*/ 379410 h 1753165"/>
                <a:gd name="connsiteX4" fmla="*/ 930170 w 1632994"/>
                <a:gd name="connsiteY4" fmla="*/ 353075 h 1753165"/>
                <a:gd name="connsiteX5" fmla="*/ 1063255 w 1632994"/>
                <a:gd name="connsiteY5" fmla="*/ 308192 h 1753165"/>
                <a:gd name="connsiteX6" fmla="*/ 1064417 w 1632994"/>
                <a:gd name="connsiteY6" fmla="*/ 308192 h 1753165"/>
                <a:gd name="connsiteX7" fmla="*/ 1064742 w 1632994"/>
                <a:gd name="connsiteY7" fmla="*/ 307762 h 1753165"/>
                <a:gd name="connsiteX8" fmla="*/ 1257675 w 1632994"/>
                <a:gd name="connsiteY8" fmla="*/ 303248 h 1753165"/>
                <a:gd name="connsiteX9" fmla="*/ 1268140 w 1632994"/>
                <a:gd name="connsiteY9" fmla="*/ 312276 h 1753165"/>
                <a:gd name="connsiteX10" fmla="*/ 1268464 w 1632994"/>
                <a:gd name="connsiteY10" fmla="*/ 313237 h 1753165"/>
                <a:gd name="connsiteX11" fmla="*/ 1293183 w 1632994"/>
                <a:gd name="connsiteY11" fmla="*/ 318828 h 1753165"/>
                <a:gd name="connsiteX12" fmla="*/ 1466237 w 1632994"/>
                <a:gd name="connsiteY12" fmla="*/ 369545 h 1753165"/>
                <a:gd name="connsiteX13" fmla="*/ 1496281 w 1632994"/>
                <a:gd name="connsiteY13" fmla="*/ 386515 h 1753165"/>
                <a:gd name="connsiteX14" fmla="*/ 1496198 w 1632994"/>
                <a:gd name="connsiteY14" fmla="*/ 388254 h 1753165"/>
                <a:gd name="connsiteX15" fmla="*/ 1502998 w 1632994"/>
                <a:gd name="connsiteY15" fmla="*/ 398111 h 1753165"/>
                <a:gd name="connsiteX16" fmla="*/ 1631917 w 1632994"/>
                <a:gd name="connsiteY16" fmla="*/ 838132 h 1753165"/>
                <a:gd name="connsiteX17" fmla="*/ 1592223 w 1632994"/>
                <a:gd name="connsiteY17" fmla="*/ 889678 h 1753165"/>
                <a:gd name="connsiteX18" fmla="*/ 1558386 w 1632994"/>
                <a:gd name="connsiteY18" fmla="*/ 901423 h 1753165"/>
                <a:gd name="connsiteX19" fmla="*/ 1549276 w 1632994"/>
                <a:gd name="connsiteY19" fmla="*/ 901423 h 1753165"/>
                <a:gd name="connsiteX20" fmla="*/ 1471497 w 1632994"/>
                <a:gd name="connsiteY20" fmla="*/ 904012 h 1753165"/>
                <a:gd name="connsiteX21" fmla="*/ 1471462 w 1632994"/>
                <a:gd name="connsiteY21" fmla="*/ 904747 h 1753165"/>
                <a:gd name="connsiteX22" fmla="*/ 1471462 w 1632994"/>
                <a:gd name="connsiteY22" fmla="*/ 905400 h 1753165"/>
                <a:gd name="connsiteX23" fmla="*/ 1471462 w 1632994"/>
                <a:gd name="connsiteY23" fmla="*/ 906052 h 1753165"/>
                <a:gd name="connsiteX24" fmla="*/ 1444683 w 1632994"/>
                <a:gd name="connsiteY24" fmla="*/ 1124702 h 1753165"/>
                <a:gd name="connsiteX25" fmla="*/ 1485831 w 1632994"/>
                <a:gd name="connsiteY25" fmla="*/ 1402746 h 1753165"/>
                <a:gd name="connsiteX26" fmla="*/ 1537428 w 1632994"/>
                <a:gd name="connsiteY26" fmla="*/ 1693192 h 1753165"/>
                <a:gd name="connsiteX27" fmla="*/ 798085 w 1632994"/>
                <a:gd name="connsiteY27" fmla="*/ 1712772 h 1753165"/>
                <a:gd name="connsiteX28" fmla="*/ 837926 w 1632994"/>
                <a:gd name="connsiteY28" fmla="*/ 1136451 h 1753165"/>
                <a:gd name="connsiteX29" fmla="*/ 836619 w 1632994"/>
                <a:gd name="connsiteY29" fmla="*/ 829688 h 1753165"/>
                <a:gd name="connsiteX30" fmla="*/ 816372 w 1632994"/>
                <a:gd name="connsiteY30" fmla="*/ 718732 h 1753165"/>
                <a:gd name="connsiteX31" fmla="*/ 809262 w 1632994"/>
                <a:gd name="connsiteY31" fmla="*/ 714318 h 1753165"/>
                <a:gd name="connsiteX32" fmla="*/ 808842 w 1632994"/>
                <a:gd name="connsiteY32" fmla="*/ 714361 h 1753165"/>
                <a:gd name="connsiteX33" fmla="*/ 671861 w 1632994"/>
                <a:gd name="connsiteY33" fmla="*/ 638546 h 1753165"/>
                <a:gd name="connsiteX34" fmla="*/ 254394 w 1632994"/>
                <a:gd name="connsiteY34" fmla="*/ 377115 h 1753165"/>
                <a:gd name="connsiteX35" fmla="*/ 0 w 1632994"/>
                <a:gd name="connsiteY35" fmla="*/ 107187 h 1753165"/>
                <a:gd name="connsiteX36" fmla="*/ 101758 w 1632994"/>
                <a:gd name="connsiteY36" fmla="*/ 0 h 1753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32994" h="1753165">
                  <a:moveTo>
                    <a:pt x="101758" y="0"/>
                  </a:moveTo>
                  <a:cubicBezTo>
                    <a:pt x="101758" y="0"/>
                    <a:pt x="393984" y="277770"/>
                    <a:pt x="457909" y="311757"/>
                  </a:cubicBezTo>
                  <a:cubicBezTo>
                    <a:pt x="512701" y="341168"/>
                    <a:pt x="783403" y="371232"/>
                    <a:pt x="858416" y="379075"/>
                  </a:cubicBezTo>
                  <a:lnTo>
                    <a:pt x="862273" y="379410"/>
                  </a:lnTo>
                  <a:lnTo>
                    <a:pt x="930170" y="353075"/>
                  </a:lnTo>
                  <a:cubicBezTo>
                    <a:pt x="999698" y="327651"/>
                    <a:pt x="1063255" y="308192"/>
                    <a:pt x="1063255" y="308192"/>
                  </a:cubicBezTo>
                  <a:lnTo>
                    <a:pt x="1064417" y="308192"/>
                  </a:lnTo>
                  <a:lnTo>
                    <a:pt x="1064742" y="307762"/>
                  </a:lnTo>
                  <a:cubicBezTo>
                    <a:pt x="1064742" y="307762"/>
                    <a:pt x="1188350" y="279389"/>
                    <a:pt x="1257675" y="303248"/>
                  </a:cubicBezTo>
                  <a:lnTo>
                    <a:pt x="1268140" y="312276"/>
                  </a:lnTo>
                  <a:lnTo>
                    <a:pt x="1268464" y="313237"/>
                  </a:lnTo>
                  <a:lnTo>
                    <a:pt x="1293183" y="318828"/>
                  </a:lnTo>
                  <a:cubicBezTo>
                    <a:pt x="1341173" y="329976"/>
                    <a:pt x="1414803" y="348741"/>
                    <a:pt x="1466237" y="369545"/>
                  </a:cubicBezTo>
                  <a:cubicBezTo>
                    <a:pt x="1477340" y="374114"/>
                    <a:pt x="1486484" y="379988"/>
                    <a:pt x="1496281" y="386515"/>
                  </a:cubicBezTo>
                  <a:lnTo>
                    <a:pt x="1496198" y="388254"/>
                  </a:lnTo>
                  <a:lnTo>
                    <a:pt x="1502998" y="398111"/>
                  </a:lnTo>
                  <a:cubicBezTo>
                    <a:pt x="1535052" y="452617"/>
                    <a:pt x="1645012" y="678845"/>
                    <a:pt x="1631917" y="838132"/>
                  </a:cubicBezTo>
                  <a:cubicBezTo>
                    <a:pt x="1630615" y="857707"/>
                    <a:pt x="1607840" y="879238"/>
                    <a:pt x="1592223" y="889678"/>
                  </a:cubicBezTo>
                  <a:cubicBezTo>
                    <a:pt x="1582463" y="896203"/>
                    <a:pt x="1570750" y="900770"/>
                    <a:pt x="1558386" y="901423"/>
                  </a:cubicBezTo>
                  <a:lnTo>
                    <a:pt x="1549276" y="901423"/>
                  </a:lnTo>
                  <a:lnTo>
                    <a:pt x="1471497" y="904012"/>
                  </a:lnTo>
                  <a:lnTo>
                    <a:pt x="1471462" y="904747"/>
                  </a:lnTo>
                  <a:cubicBezTo>
                    <a:pt x="1471462" y="904747"/>
                    <a:pt x="1471462" y="904747"/>
                    <a:pt x="1471462" y="905400"/>
                  </a:cubicBezTo>
                  <a:cubicBezTo>
                    <a:pt x="1471462" y="905400"/>
                    <a:pt x="1471462" y="905400"/>
                    <a:pt x="1471462" y="906052"/>
                  </a:cubicBezTo>
                  <a:cubicBezTo>
                    <a:pt x="1460359" y="978501"/>
                    <a:pt x="1448602" y="1064002"/>
                    <a:pt x="1444683" y="1124702"/>
                  </a:cubicBezTo>
                  <a:cubicBezTo>
                    <a:pt x="1442724" y="1148852"/>
                    <a:pt x="1470809" y="1281347"/>
                    <a:pt x="1485831" y="1402746"/>
                  </a:cubicBezTo>
                  <a:lnTo>
                    <a:pt x="1537428" y="1693192"/>
                  </a:lnTo>
                  <a:cubicBezTo>
                    <a:pt x="1537428" y="1693192"/>
                    <a:pt x="1507384" y="1813939"/>
                    <a:pt x="798085" y="1712772"/>
                  </a:cubicBezTo>
                  <a:cubicBezTo>
                    <a:pt x="779144" y="1710161"/>
                    <a:pt x="842498" y="1170390"/>
                    <a:pt x="837926" y="1136451"/>
                  </a:cubicBezTo>
                  <a:cubicBezTo>
                    <a:pt x="834660" y="1114259"/>
                    <a:pt x="834660" y="938687"/>
                    <a:pt x="836619" y="829688"/>
                  </a:cubicBezTo>
                  <a:lnTo>
                    <a:pt x="816372" y="718732"/>
                  </a:lnTo>
                  <a:lnTo>
                    <a:pt x="809262" y="714318"/>
                  </a:lnTo>
                  <a:lnTo>
                    <a:pt x="808842" y="714361"/>
                  </a:lnTo>
                  <a:cubicBezTo>
                    <a:pt x="788621" y="701289"/>
                    <a:pt x="761877" y="683643"/>
                    <a:pt x="671861" y="638546"/>
                  </a:cubicBezTo>
                  <a:cubicBezTo>
                    <a:pt x="502917" y="553581"/>
                    <a:pt x="294184" y="399336"/>
                    <a:pt x="254394" y="377115"/>
                  </a:cubicBezTo>
                  <a:cubicBezTo>
                    <a:pt x="193078" y="343129"/>
                    <a:pt x="0" y="107187"/>
                    <a:pt x="0" y="107187"/>
                  </a:cubicBezTo>
                  <a:cubicBezTo>
                    <a:pt x="10437" y="71893"/>
                    <a:pt x="101758" y="0"/>
                    <a:pt x="101758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124">
              <a:extLst>
                <a:ext uri="{FF2B5EF4-FFF2-40B4-BE49-F238E27FC236}">
                  <a16:creationId xmlns:a16="http://schemas.microsoft.com/office/drawing/2014/main" id="{5B7B0001-4DB7-654B-B9A3-79109DC56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5659" y="3734332"/>
              <a:ext cx="2732426" cy="3175353"/>
            </a:xfrm>
            <a:custGeom>
              <a:avLst/>
              <a:gdLst>
                <a:gd name="T0" fmla="*/ 3516 w 3864"/>
                <a:gd name="T1" fmla="*/ 4486 h 4487"/>
                <a:gd name="T2" fmla="*/ 347 w 3864"/>
                <a:gd name="T3" fmla="*/ 4486 h 4487"/>
                <a:gd name="T4" fmla="*/ 347 w 3864"/>
                <a:gd name="T5" fmla="*/ 4486 h 4487"/>
                <a:gd name="T6" fmla="*/ 0 w 3864"/>
                <a:gd name="T7" fmla="*/ 4140 h 4487"/>
                <a:gd name="T8" fmla="*/ 0 w 3864"/>
                <a:gd name="T9" fmla="*/ 346 h 4487"/>
                <a:gd name="T10" fmla="*/ 0 w 3864"/>
                <a:gd name="T11" fmla="*/ 346 h 4487"/>
                <a:gd name="T12" fmla="*/ 347 w 3864"/>
                <a:gd name="T13" fmla="*/ 0 h 4487"/>
                <a:gd name="T14" fmla="*/ 3516 w 3864"/>
                <a:gd name="T15" fmla="*/ 0 h 4487"/>
                <a:gd name="T16" fmla="*/ 3516 w 3864"/>
                <a:gd name="T17" fmla="*/ 0 h 4487"/>
                <a:gd name="T18" fmla="*/ 3863 w 3864"/>
                <a:gd name="T19" fmla="*/ 346 h 4487"/>
                <a:gd name="T20" fmla="*/ 3863 w 3864"/>
                <a:gd name="T21" fmla="*/ 4140 h 4487"/>
                <a:gd name="T22" fmla="*/ 3863 w 3864"/>
                <a:gd name="T23" fmla="*/ 4140 h 4487"/>
                <a:gd name="T24" fmla="*/ 3516 w 3864"/>
                <a:gd name="T25" fmla="*/ 4486 h 4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64" h="4487">
                  <a:moveTo>
                    <a:pt x="3516" y="4486"/>
                  </a:moveTo>
                  <a:lnTo>
                    <a:pt x="347" y="4486"/>
                  </a:lnTo>
                  <a:lnTo>
                    <a:pt x="347" y="4486"/>
                  </a:lnTo>
                  <a:cubicBezTo>
                    <a:pt x="155" y="4486"/>
                    <a:pt x="0" y="4331"/>
                    <a:pt x="0" y="4140"/>
                  </a:cubicBezTo>
                  <a:lnTo>
                    <a:pt x="0" y="346"/>
                  </a:lnTo>
                  <a:lnTo>
                    <a:pt x="0" y="346"/>
                  </a:lnTo>
                  <a:cubicBezTo>
                    <a:pt x="0" y="155"/>
                    <a:pt x="155" y="0"/>
                    <a:pt x="347" y="0"/>
                  </a:cubicBezTo>
                  <a:lnTo>
                    <a:pt x="3516" y="0"/>
                  </a:lnTo>
                  <a:lnTo>
                    <a:pt x="3516" y="0"/>
                  </a:lnTo>
                  <a:cubicBezTo>
                    <a:pt x="3708" y="0"/>
                    <a:pt x="3863" y="155"/>
                    <a:pt x="3863" y="346"/>
                  </a:cubicBezTo>
                  <a:lnTo>
                    <a:pt x="3863" y="4140"/>
                  </a:lnTo>
                  <a:lnTo>
                    <a:pt x="3863" y="4140"/>
                  </a:lnTo>
                  <a:cubicBezTo>
                    <a:pt x="3863" y="4331"/>
                    <a:pt x="3708" y="4486"/>
                    <a:pt x="3516" y="4486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125">
              <a:extLst>
                <a:ext uri="{FF2B5EF4-FFF2-40B4-BE49-F238E27FC236}">
                  <a16:creationId xmlns:a16="http://schemas.microsoft.com/office/drawing/2014/main" id="{57002ABC-2088-FF4D-BECA-2B8CFDD1B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18044" y="2873431"/>
              <a:ext cx="1980698" cy="751728"/>
            </a:xfrm>
            <a:custGeom>
              <a:avLst/>
              <a:gdLst>
                <a:gd name="T0" fmla="*/ 2605 w 2801"/>
                <a:gd name="T1" fmla="*/ 1063 h 1064"/>
                <a:gd name="T2" fmla="*/ 195 w 2801"/>
                <a:gd name="T3" fmla="*/ 1063 h 1064"/>
                <a:gd name="T4" fmla="*/ 195 w 2801"/>
                <a:gd name="T5" fmla="*/ 1063 h 1064"/>
                <a:gd name="T6" fmla="*/ 0 w 2801"/>
                <a:gd name="T7" fmla="*/ 866 h 1064"/>
                <a:gd name="T8" fmla="*/ 0 w 2801"/>
                <a:gd name="T9" fmla="*/ 196 h 1064"/>
                <a:gd name="T10" fmla="*/ 0 w 2801"/>
                <a:gd name="T11" fmla="*/ 196 h 1064"/>
                <a:gd name="T12" fmla="*/ 195 w 2801"/>
                <a:gd name="T13" fmla="*/ 0 h 1064"/>
                <a:gd name="T14" fmla="*/ 2605 w 2801"/>
                <a:gd name="T15" fmla="*/ 0 h 1064"/>
                <a:gd name="T16" fmla="*/ 2605 w 2801"/>
                <a:gd name="T17" fmla="*/ 0 h 1064"/>
                <a:gd name="T18" fmla="*/ 2800 w 2801"/>
                <a:gd name="T19" fmla="*/ 196 h 1064"/>
                <a:gd name="T20" fmla="*/ 2800 w 2801"/>
                <a:gd name="T21" fmla="*/ 866 h 1064"/>
                <a:gd name="T22" fmla="*/ 2800 w 2801"/>
                <a:gd name="T23" fmla="*/ 866 h 1064"/>
                <a:gd name="T24" fmla="*/ 2605 w 2801"/>
                <a:gd name="T25" fmla="*/ 1063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1" h="1064">
                  <a:moveTo>
                    <a:pt x="2605" y="1063"/>
                  </a:moveTo>
                  <a:lnTo>
                    <a:pt x="195" y="1063"/>
                  </a:lnTo>
                  <a:lnTo>
                    <a:pt x="195" y="1063"/>
                  </a:lnTo>
                  <a:cubicBezTo>
                    <a:pt x="87" y="1063"/>
                    <a:pt x="0" y="974"/>
                    <a:pt x="0" y="866"/>
                  </a:cubicBezTo>
                  <a:lnTo>
                    <a:pt x="0" y="196"/>
                  </a:lnTo>
                  <a:lnTo>
                    <a:pt x="0" y="196"/>
                  </a:lnTo>
                  <a:cubicBezTo>
                    <a:pt x="0" y="88"/>
                    <a:pt x="87" y="0"/>
                    <a:pt x="195" y="0"/>
                  </a:cubicBezTo>
                  <a:lnTo>
                    <a:pt x="2605" y="0"/>
                  </a:lnTo>
                  <a:lnTo>
                    <a:pt x="2605" y="0"/>
                  </a:lnTo>
                  <a:cubicBezTo>
                    <a:pt x="2713" y="0"/>
                    <a:pt x="2800" y="88"/>
                    <a:pt x="2800" y="196"/>
                  </a:cubicBezTo>
                  <a:lnTo>
                    <a:pt x="2800" y="866"/>
                  </a:lnTo>
                  <a:lnTo>
                    <a:pt x="2800" y="866"/>
                  </a:lnTo>
                  <a:cubicBezTo>
                    <a:pt x="2800" y="974"/>
                    <a:pt x="2713" y="1063"/>
                    <a:pt x="2605" y="106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126">
              <a:extLst>
                <a:ext uri="{FF2B5EF4-FFF2-40B4-BE49-F238E27FC236}">
                  <a16:creationId xmlns:a16="http://schemas.microsoft.com/office/drawing/2014/main" id="{CE6F1215-2C0A-D54A-8893-DBD4A910D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865" y="4585874"/>
              <a:ext cx="1409882" cy="1397404"/>
            </a:xfrm>
            <a:custGeom>
              <a:avLst/>
              <a:gdLst>
                <a:gd name="T0" fmla="*/ 1990 w 1991"/>
                <a:gd name="T1" fmla="*/ 1042 h 1975"/>
                <a:gd name="T2" fmla="*/ 1337 w 1991"/>
                <a:gd name="T3" fmla="*/ 1917 h 1975"/>
                <a:gd name="T4" fmla="*/ 1044 w 1991"/>
                <a:gd name="T5" fmla="*/ 1974 h 1975"/>
                <a:gd name="T6" fmla="*/ 965 w 1991"/>
                <a:gd name="T7" fmla="*/ 1974 h 1975"/>
                <a:gd name="T8" fmla="*/ 252 w 1991"/>
                <a:gd name="T9" fmla="*/ 1627 h 1975"/>
                <a:gd name="T10" fmla="*/ 99 w 1991"/>
                <a:gd name="T11" fmla="*/ 1381 h 1975"/>
                <a:gd name="T12" fmla="*/ 75 w 1991"/>
                <a:gd name="T13" fmla="*/ 1320 h 1975"/>
                <a:gd name="T14" fmla="*/ 62 w 1991"/>
                <a:gd name="T15" fmla="*/ 693 h 1975"/>
                <a:gd name="T16" fmla="*/ 672 w 1991"/>
                <a:gd name="T17" fmla="*/ 58 h 1975"/>
                <a:gd name="T18" fmla="*/ 975 w 1991"/>
                <a:gd name="T19" fmla="*/ 0 h 1975"/>
                <a:gd name="T20" fmla="*/ 1004 w 1991"/>
                <a:gd name="T21" fmla="*/ 0 h 1975"/>
                <a:gd name="T22" fmla="*/ 1934 w 1991"/>
                <a:gd name="T23" fmla="*/ 655 h 1975"/>
                <a:gd name="T24" fmla="*/ 1990 w 1991"/>
                <a:gd name="T25" fmla="*/ 930 h 1975"/>
                <a:gd name="T26" fmla="*/ 1990 w 1991"/>
                <a:gd name="T27" fmla="*/ 1042 h 1975"/>
                <a:gd name="T28" fmla="*/ 1004 w 1991"/>
                <a:gd name="T29" fmla="*/ 1727 h 1975"/>
                <a:gd name="T30" fmla="*/ 1254 w 1991"/>
                <a:gd name="T31" fmla="*/ 1684 h 1975"/>
                <a:gd name="T32" fmla="*/ 1702 w 1991"/>
                <a:gd name="T33" fmla="*/ 738 h 1975"/>
                <a:gd name="T34" fmla="*/ 982 w 1991"/>
                <a:gd name="T35" fmla="*/ 247 h 1975"/>
                <a:gd name="T36" fmla="*/ 882 w 1991"/>
                <a:gd name="T37" fmla="*/ 257 h 1975"/>
                <a:gd name="T38" fmla="*/ 755 w 1991"/>
                <a:gd name="T39" fmla="*/ 290 h 1975"/>
                <a:gd name="T40" fmla="*/ 298 w 1991"/>
                <a:gd name="T41" fmla="*/ 767 h 1975"/>
                <a:gd name="T42" fmla="*/ 308 w 1991"/>
                <a:gd name="T43" fmla="*/ 1236 h 1975"/>
                <a:gd name="T44" fmla="*/ 326 w 1991"/>
                <a:gd name="T45" fmla="*/ 1283 h 1975"/>
                <a:gd name="T46" fmla="*/ 441 w 1991"/>
                <a:gd name="T47" fmla="*/ 1467 h 1975"/>
                <a:gd name="T48" fmla="*/ 1004 w 1991"/>
                <a:gd name="T49" fmla="*/ 1727 h 1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91" h="1975">
                  <a:moveTo>
                    <a:pt x="1990" y="1042"/>
                  </a:moveTo>
                  <a:cubicBezTo>
                    <a:pt x="1969" y="1426"/>
                    <a:pt x="1722" y="1779"/>
                    <a:pt x="1337" y="1917"/>
                  </a:cubicBezTo>
                  <a:cubicBezTo>
                    <a:pt x="1240" y="1951"/>
                    <a:pt x="1142" y="1970"/>
                    <a:pt x="1044" y="1974"/>
                  </a:cubicBezTo>
                  <a:lnTo>
                    <a:pt x="965" y="1974"/>
                  </a:lnTo>
                  <a:cubicBezTo>
                    <a:pt x="690" y="1963"/>
                    <a:pt x="431" y="1837"/>
                    <a:pt x="252" y="1627"/>
                  </a:cubicBezTo>
                  <a:cubicBezTo>
                    <a:pt x="191" y="1555"/>
                    <a:pt x="139" y="1472"/>
                    <a:pt x="99" y="1381"/>
                  </a:cubicBezTo>
                  <a:cubicBezTo>
                    <a:pt x="91" y="1361"/>
                    <a:pt x="82" y="1340"/>
                    <a:pt x="75" y="1320"/>
                  </a:cubicBezTo>
                  <a:cubicBezTo>
                    <a:pt x="0" y="1110"/>
                    <a:pt x="0" y="891"/>
                    <a:pt x="62" y="693"/>
                  </a:cubicBezTo>
                  <a:cubicBezTo>
                    <a:pt x="152" y="408"/>
                    <a:pt x="369" y="166"/>
                    <a:pt x="672" y="58"/>
                  </a:cubicBezTo>
                  <a:cubicBezTo>
                    <a:pt x="772" y="22"/>
                    <a:pt x="874" y="3"/>
                    <a:pt x="975" y="0"/>
                  </a:cubicBezTo>
                  <a:lnTo>
                    <a:pt x="1004" y="0"/>
                  </a:lnTo>
                  <a:cubicBezTo>
                    <a:pt x="1410" y="0"/>
                    <a:pt x="1790" y="251"/>
                    <a:pt x="1934" y="655"/>
                  </a:cubicBezTo>
                  <a:cubicBezTo>
                    <a:pt x="1967" y="746"/>
                    <a:pt x="1985" y="838"/>
                    <a:pt x="1990" y="930"/>
                  </a:cubicBezTo>
                  <a:lnTo>
                    <a:pt x="1990" y="1042"/>
                  </a:lnTo>
                  <a:close/>
                  <a:moveTo>
                    <a:pt x="1004" y="1727"/>
                  </a:moveTo>
                  <a:cubicBezTo>
                    <a:pt x="1087" y="1727"/>
                    <a:pt x="1171" y="1714"/>
                    <a:pt x="1254" y="1684"/>
                  </a:cubicBezTo>
                  <a:cubicBezTo>
                    <a:pt x="1639" y="1547"/>
                    <a:pt x="1839" y="1123"/>
                    <a:pt x="1702" y="738"/>
                  </a:cubicBezTo>
                  <a:cubicBezTo>
                    <a:pt x="1591" y="428"/>
                    <a:pt x="1295" y="238"/>
                    <a:pt x="982" y="247"/>
                  </a:cubicBezTo>
                  <a:cubicBezTo>
                    <a:pt x="949" y="248"/>
                    <a:pt x="915" y="252"/>
                    <a:pt x="882" y="257"/>
                  </a:cubicBezTo>
                  <a:cubicBezTo>
                    <a:pt x="840" y="265"/>
                    <a:pt x="798" y="275"/>
                    <a:pt x="755" y="290"/>
                  </a:cubicBezTo>
                  <a:cubicBezTo>
                    <a:pt x="528" y="372"/>
                    <a:pt x="365" y="553"/>
                    <a:pt x="298" y="767"/>
                  </a:cubicBezTo>
                  <a:cubicBezTo>
                    <a:pt x="252" y="915"/>
                    <a:pt x="252" y="1079"/>
                    <a:pt x="308" y="1236"/>
                  </a:cubicBezTo>
                  <a:cubicBezTo>
                    <a:pt x="313" y="1252"/>
                    <a:pt x="320" y="1267"/>
                    <a:pt x="326" y="1283"/>
                  </a:cubicBezTo>
                  <a:cubicBezTo>
                    <a:pt x="355" y="1351"/>
                    <a:pt x="394" y="1413"/>
                    <a:pt x="441" y="1467"/>
                  </a:cubicBezTo>
                  <a:cubicBezTo>
                    <a:pt x="581" y="1632"/>
                    <a:pt x="788" y="1727"/>
                    <a:pt x="1004" y="172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127">
              <a:extLst>
                <a:ext uri="{FF2B5EF4-FFF2-40B4-BE49-F238E27FC236}">
                  <a16:creationId xmlns:a16="http://schemas.microsoft.com/office/drawing/2014/main" id="{812F9973-53A2-FD45-8088-0E4BAAA9E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92534" y="4585875"/>
              <a:ext cx="651915" cy="542742"/>
            </a:xfrm>
            <a:custGeom>
              <a:avLst/>
              <a:gdLst>
                <a:gd name="T0" fmla="*/ 236 w 921"/>
                <a:gd name="T1" fmla="*/ 767 h 768"/>
                <a:gd name="T2" fmla="*/ 0 w 921"/>
                <a:gd name="T3" fmla="*/ 693 h 768"/>
                <a:gd name="T4" fmla="*/ 0 w 921"/>
                <a:gd name="T5" fmla="*/ 693 h 768"/>
                <a:gd name="T6" fmla="*/ 610 w 921"/>
                <a:gd name="T7" fmla="*/ 58 h 768"/>
                <a:gd name="T8" fmla="*/ 610 w 921"/>
                <a:gd name="T9" fmla="*/ 58 h 768"/>
                <a:gd name="T10" fmla="*/ 913 w 921"/>
                <a:gd name="T11" fmla="*/ 0 h 768"/>
                <a:gd name="T12" fmla="*/ 920 w 921"/>
                <a:gd name="T13" fmla="*/ 247 h 768"/>
                <a:gd name="T14" fmla="*/ 920 w 921"/>
                <a:gd name="T15" fmla="*/ 247 h 768"/>
                <a:gd name="T16" fmla="*/ 693 w 921"/>
                <a:gd name="T17" fmla="*/ 290 h 768"/>
                <a:gd name="T18" fmla="*/ 693 w 921"/>
                <a:gd name="T19" fmla="*/ 290 h 768"/>
                <a:gd name="T20" fmla="*/ 236 w 921"/>
                <a:gd name="T21" fmla="*/ 767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1" h="768">
                  <a:moveTo>
                    <a:pt x="236" y="767"/>
                  </a:moveTo>
                  <a:lnTo>
                    <a:pt x="0" y="693"/>
                  </a:lnTo>
                  <a:lnTo>
                    <a:pt x="0" y="693"/>
                  </a:lnTo>
                  <a:cubicBezTo>
                    <a:pt x="90" y="408"/>
                    <a:pt x="307" y="166"/>
                    <a:pt x="610" y="58"/>
                  </a:cubicBezTo>
                  <a:lnTo>
                    <a:pt x="610" y="58"/>
                  </a:lnTo>
                  <a:cubicBezTo>
                    <a:pt x="710" y="22"/>
                    <a:pt x="812" y="3"/>
                    <a:pt x="913" y="0"/>
                  </a:cubicBezTo>
                  <a:lnTo>
                    <a:pt x="920" y="247"/>
                  </a:lnTo>
                  <a:lnTo>
                    <a:pt x="920" y="247"/>
                  </a:lnTo>
                  <a:cubicBezTo>
                    <a:pt x="845" y="250"/>
                    <a:pt x="769" y="264"/>
                    <a:pt x="693" y="290"/>
                  </a:cubicBezTo>
                  <a:lnTo>
                    <a:pt x="693" y="290"/>
                  </a:lnTo>
                  <a:cubicBezTo>
                    <a:pt x="466" y="372"/>
                    <a:pt x="303" y="553"/>
                    <a:pt x="236" y="76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128">
              <a:extLst>
                <a:ext uri="{FF2B5EF4-FFF2-40B4-BE49-F238E27FC236}">
                  <a16:creationId xmlns:a16="http://schemas.microsoft.com/office/drawing/2014/main" id="{A650F496-9715-F34C-ABA5-1AA128604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866" y="5075591"/>
              <a:ext cx="230821" cy="486596"/>
            </a:xfrm>
            <a:custGeom>
              <a:avLst/>
              <a:gdLst>
                <a:gd name="T0" fmla="*/ 326 w 327"/>
                <a:gd name="T1" fmla="*/ 590 h 689"/>
                <a:gd name="T2" fmla="*/ 99 w 327"/>
                <a:gd name="T3" fmla="*/ 688 h 689"/>
                <a:gd name="T4" fmla="*/ 99 w 327"/>
                <a:gd name="T5" fmla="*/ 688 h 689"/>
                <a:gd name="T6" fmla="*/ 75 w 327"/>
                <a:gd name="T7" fmla="*/ 627 h 689"/>
                <a:gd name="T8" fmla="*/ 75 w 327"/>
                <a:gd name="T9" fmla="*/ 627 h 689"/>
                <a:gd name="T10" fmla="*/ 62 w 327"/>
                <a:gd name="T11" fmla="*/ 0 h 689"/>
                <a:gd name="T12" fmla="*/ 298 w 327"/>
                <a:gd name="T13" fmla="*/ 74 h 689"/>
                <a:gd name="T14" fmla="*/ 298 w 327"/>
                <a:gd name="T15" fmla="*/ 74 h 689"/>
                <a:gd name="T16" fmla="*/ 308 w 327"/>
                <a:gd name="T17" fmla="*/ 543 h 689"/>
                <a:gd name="T18" fmla="*/ 308 w 327"/>
                <a:gd name="T19" fmla="*/ 543 h 689"/>
                <a:gd name="T20" fmla="*/ 326 w 327"/>
                <a:gd name="T21" fmla="*/ 59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7" h="689">
                  <a:moveTo>
                    <a:pt x="326" y="590"/>
                  </a:moveTo>
                  <a:lnTo>
                    <a:pt x="99" y="688"/>
                  </a:lnTo>
                  <a:lnTo>
                    <a:pt x="99" y="688"/>
                  </a:lnTo>
                  <a:cubicBezTo>
                    <a:pt x="91" y="668"/>
                    <a:pt x="82" y="647"/>
                    <a:pt x="75" y="627"/>
                  </a:cubicBezTo>
                  <a:lnTo>
                    <a:pt x="75" y="627"/>
                  </a:lnTo>
                  <a:cubicBezTo>
                    <a:pt x="0" y="417"/>
                    <a:pt x="0" y="198"/>
                    <a:pt x="62" y="0"/>
                  </a:cubicBezTo>
                  <a:lnTo>
                    <a:pt x="298" y="74"/>
                  </a:lnTo>
                  <a:lnTo>
                    <a:pt x="298" y="74"/>
                  </a:lnTo>
                  <a:cubicBezTo>
                    <a:pt x="252" y="222"/>
                    <a:pt x="252" y="386"/>
                    <a:pt x="308" y="543"/>
                  </a:cubicBezTo>
                  <a:lnTo>
                    <a:pt x="308" y="543"/>
                  </a:lnTo>
                  <a:cubicBezTo>
                    <a:pt x="313" y="559"/>
                    <a:pt x="320" y="574"/>
                    <a:pt x="326" y="59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129">
              <a:extLst>
                <a:ext uri="{FF2B5EF4-FFF2-40B4-BE49-F238E27FC236}">
                  <a16:creationId xmlns:a16="http://schemas.microsoft.com/office/drawing/2014/main" id="{D5FE9808-2C7A-7A43-97D8-605AAC40A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7488" y="5493565"/>
              <a:ext cx="243299" cy="243299"/>
            </a:xfrm>
            <a:custGeom>
              <a:avLst/>
              <a:gdLst>
                <a:gd name="T0" fmla="*/ 153 w 343"/>
                <a:gd name="T1" fmla="*/ 344 h 345"/>
                <a:gd name="T2" fmla="*/ 153 w 343"/>
                <a:gd name="T3" fmla="*/ 344 h 345"/>
                <a:gd name="T4" fmla="*/ 0 w 343"/>
                <a:gd name="T5" fmla="*/ 98 h 345"/>
                <a:gd name="T6" fmla="*/ 227 w 343"/>
                <a:gd name="T7" fmla="*/ 0 h 345"/>
                <a:gd name="T8" fmla="*/ 227 w 343"/>
                <a:gd name="T9" fmla="*/ 0 h 345"/>
                <a:gd name="T10" fmla="*/ 342 w 343"/>
                <a:gd name="T11" fmla="*/ 184 h 345"/>
                <a:gd name="T12" fmla="*/ 153 w 343"/>
                <a:gd name="T13" fmla="*/ 34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3" h="345">
                  <a:moveTo>
                    <a:pt x="153" y="344"/>
                  </a:moveTo>
                  <a:lnTo>
                    <a:pt x="153" y="344"/>
                  </a:lnTo>
                  <a:cubicBezTo>
                    <a:pt x="92" y="272"/>
                    <a:pt x="40" y="189"/>
                    <a:pt x="0" y="98"/>
                  </a:cubicBezTo>
                  <a:lnTo>
                    <a:pt x="227" y="0"/>
                  </a:lnTo>
                  <a:lnTo>
                    <a:pt x="227" y="0"/>
                  </a:lnTo>
                  <a:cubicBezTo>
                    <a:pt x="256" y="68"/>
                    <a:pt x="295" y="130"/>
                    <a:pt x="342" y="184"/>
                  </a:cubicBezTo>
                  <a:lnTo>
                    <a:pt x="153" y="34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130">
              <a:extLst>
                <a:ext uri="{FF2B5EF4-FFF2-40B4-BE49-F238E27FC236}">
                  <a16:creationId xmlns:a16="http://schemas.microsoft.com/office/drawing/2014/main" id="{3412968D-C8DD-5148-80DD-391DA4A12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5449896"/>
              <a:ext cx="577054" cy="577052"/>
            </a:xfrm>
            <a:custGeom>
              <a:avLst/>
              <a:gdLst>
                <a:gd name="T0" fmla="*/ 816 w 817"/>
                <a:gd name="T1" fmla="*/ 421 h 816"/>
                <a:gd name="T2" fmla="*/ 777 w 817"/>
                <a:gd name="T3" fmla="*/ 582 h 816"/>
                <a:gd name="T4" fmla="*/ 440 w 817"/>
                <a:gd name="T5" fmla="*/ 815 h 816"/>
                <a:gd name="T6" fmla="*/ 376 w 817"/>
                <a:gd name="T7" fmla="*/ 815 h 816"/>
                <a:gd name="T8" fmla="*/ 259 w 817"/>
                <a:gd name="T9" fmla="*/ 788 h 816"/>
                <a:gd name="T10" fmla="*/ 233 w 817"/>
                <a:gd name="T11" fmla="*/ 777 h 816"/>
                <a:gd name="T12" fmla="*/ 47 w 817"/>
                <a:gd name="T13" fmla="*/ 598 h 816"/>
                <a:gd name="T14" fmla="*/ 0 w 817"/>
                <a:gd name="T15" fmla="*/ 423 h 816"/>
                <a:gd name="T16" fmla="*/ 0 w 817"/>
                <a:gd name="T17" fmla="*/ 392 h 816"/>
                <a:gd name="T18" fmla="*/ 39 w 817"/>
                <a:gd name="T19" fmla="*/ 234 h 816"/>
                <a:gd name="T20" fmla="*/ 111 w 817"/>
                <a:gd name="T21" fmla="*/ 128 h 816"/>
                <a:gd name="T22" fmla="*/ 408 w 817"/>
                <a:gd name="T23" fmla="*/ 0 h 816"/>
                <a:gd name="T24" fmla="*/ 583 w 817"/>
                <a:gd name="T25" fmla="*/ 39 h 816"/>
                <a:gd name="T26" fmla="*/ 816 w 817"/>
                <a:gd name="T27" fmla="*/ 394 h 816"/>
                <a:gd name="T28" fmla="*/ 816 w 817"/>
                <a:gd name="T29" fmla="*/ 421 h 816"/>
                <a:gd name="T30" fmla="*/ 408 w 817"/>
                <a:gd name="T31" fmla="*/ 714 h 816"/>
                <a:gd name="T32" fmla="*/ 685 w 817"/>
                <a:gd name="T33" fmla="*/ 539 h 816"/>
                <a:gd name="T34" fmla="*/ 539 w 817"/>
                <a:gd name="T35" fmla="*/ 131 h 816"/>
                <a:gd name="T36" fmla="*/ 185 w 817"/>
                <a:gd name="T37" fmla="*/ 198 h 816"/>
                <a:gd name="T38" fmla="*/ 159 w 817"/>
                <a:gd name="T39" fmla="*/ 230 h 816"/>
                <a:gd name="T40" fmla="*/ 132 w 817"/>
                <a:gd name="T41" fmla="*/ 277 h 816"/>
                <a:gd name="T42" fmla="*/ 137 w 817"/>
                <a:gd name="T43" fmla="*/ 550 h 816"/>
                <a:gd name="T44" fmla="*/ 277 w 817"/>
                <a:gd name="T45" fmla="*/ 685 h 816"/>
                <a:gd name="T46" fmla="*/ 296 w 817"/>
                <a:gd name="T47" fmla="*/ 693 h 816"/>
                <a:gd name="T48" fmla="*/ 384 w 817"/>
                <a:gd name="T49" fmla="*/ 713 h 816"/>
                <a:gd name="T50" fmla="*/ 408 w 817"/>
                <a:gd name="T51" fmla="*/ 714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17" h="816">
                  <a:moveTo>
                    <a:pt x="816" y="421"/>
                  </a:moveTo>
                  <a:cubicBezTo>
                    <a:pt x="814" y="475"/>
                    <a:pt x="802" y="530"/>
                    <a:pt x="777" y="582"/>
                  </a:cubicBezTo>
                  <a:cubicBezTo>
                    <a:pt x="713" y="719"/>
                    <a:pt x="581" y="804"/>
                    <a:pt x="440" y="815"/>
                  </a:cubicBezTo>
                  <a:lnTo>
                    <a:pt x="376" y="815"/>
                  </a:lnTo>
                  <a:cubicBezTo>
                    <a:pt x="336" y="812"/>
                    <a:pt x="297" y="803"/>
                    <a:pt x="259" y="788"/>
                  </a:cubicBezTo>
                  <a:cubicBezTo>
                    <a:pt x="251" y="784"/>
                    <a:pt x="242" y="781"/>
                    <a:pt x="233" y="777"/>
                  </a:cubicBezTo>
                  <a:cubicBezTo>
                    <a:pt x="150" y="737"/>
                    <a:pt x="87" y="673"/>
                    <a:pt x="47" y="598"/>
                  </a:cubicBezTo>
                  <a:cubicBezTo>
                    <a:pt x="19" y="544"/>
                    <a:pt x="3" y="484"/>
                    <a:pt x="0" y="423"/>
                  </a:cubicBezTo>
                  <a:lnTo>
                    <a:pt x="0" y="392"/>
                  </a:lnTo>
                  <a:cubicBezTo>
                    <a:pt x="2" y="339"/>
                    <a:pt x="15" y="285"/>
                    <a:pt x="39" y="234"/>
                  </a:cubicBezTo>
                  <a:cubicBezTo>
                    <a:pt x="58" y="194"/>
                    <a:pt x="82" y="158"/>
                    <a:pt x="111" y="128"/>
                  </a:cubicBezTo>
                  <a:cubicBezTo>
                    <a:pt x="188" y="46"/>
                    <a:pt x="297" y="0"/>
                    <a:pt x="408" y="0"/>
                  </a:cubicBezTo>
                  <a:cubicBezTo>
                    <a:pt x="467" y="0"/>
                    <a:pt x="527" y="12"/>
                    <a:pt x="583" y="39"/>
                  </a:cubicBezTo>
                  <a:cubicBezTo>
                    <a:pt x="726" y="106"/>
                    <a:pt x="812" y="246"/>
                    <a:pt x="816" y="394"/>
                  </a:cubicBezTo>
                  <a:lnTo>
                    <a:pt x="816" y="421"/>
                  </a:lnTo>
                  <a:close/>
                  <a:moveTo>
                    <a:pt x="408" y="714"/>
                  </a:moveTo>
                  <a:cubicBezTo>
                    <a:pt x="523" y="714"/>
                    <a:pt x="633" y="649"/>
                    <a:pt x="685" y="539"/>
                  </a:cubicBezTo>
                  <a:cubicBezTo>
                    <a:pt x="757" y="386"/>
                    <a:pt x="692" y="204"/>
                    <a:pt x="539" y="131"/>
                  </a:cubicBezTo>
                  <a:cubicBezTo>
                    <a:pt x="416" y="73"/>
                    <a:pt x="274" y="104"/>
                    <a:pt x="185" y="198"/>
                  </a:cubicBezTo>
                  <a:cubicBezTo>
                    <a:pt x="176" y="207"/>
                    <a:pt x="167" y="218"/>
                    <a:pt x="159" y="230"/>
                  </a:cubicBezTo>
                  <a:cubicBezTo>
                    <a:pt x="149" y="244"/>
                    <a:pt x="140" y="260"/>
                    <a:pt x="132" y="277"/>
                  </a:cubicBezTo>
                  <a:cubicBezTo>
                    <a:pt x="89" y="368"/>
                    <a:pt x="94" y="468"/>
                    <a:pt x="137" y="550"/>
                  </a:cubicBezTo>
                  <a:cubicBezTo>
                    <a:pt x="167" y="607"/>
                    <a:pt x="215" y="655"/>
                    <a:pt x="277" y="685"/>
                  </a:cubicBezTo>
                  <a:cubicBezTo>
                    <a:pt x="283" y="687"/>
                    <a:pt x="290" y="691"/>
                    <a:pt x="296" y="693"/>
                  </a:cubicBezTo>
                  <a:cubicBezTo>
                    <a:pt x="325" y="704"/>
                    <a:pt x="354" y="711"/>
                    <a:pt x="384" y="713"/>
                  </a:cubicBezTo>
                  <a:cubicBezTo>
                    <a:pt x="392" y="714"/>
                    <a:pt x="400" y="714"/>
                    <a:pt x="408" y="7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131">
              <a:extLst>
                <a:ext uri="{FF2B5EF4-FFF2-40B4-BE49-F238E27FC236}">
                  <a16:creationId xmlns:a16="http://schemas.microsoft.com/office/drawing/2014/main" id="{6047EF50-9F82-6542-B737-13433C25F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70" y="5540353"/>
              <a:ext cx="131007" cy="333756"/>
            </a:xfrm>
            <a:custGeom>
              <a:avLst/>
              <a:gdLst>
                <a:gd name="T0" fmla="*/ 0 w 186"/>
                <a:gd name="T1" fmla="*/ 264 h 471"/>
                <a:gd name="T2" fmla="*/ 39 w 186"/>
                <a:gd name="T3" fmla="*/ 106 h 471"/>
                <a:gd name="T4" fmla="*/ 111 w 186"/>
                <a:gd name="T5" fmla="*/ 0 h 471"/>
                <a:gd name="T6" fmla="*/ 185 w 186"/>
                <a:gd name="T7" fmla="*/ 70 h 471"/>
                <a:gd name="T8" fmla="*/ 132 w 186"/>
                <a:gd name="T9" fmla="*/ 149 h 471"/>
                <a:gd name="T10" fmla="*/ 137 w 186"/>
                <a:gd name="T11" fmla="*/ 422 h 471"/>
                <a:gd name="T12" fmla="*/ 47 w 186"/>
                <a:gd name="T13" fmla="*/ 470 h 471"/>
                <a:gd name="T14" fmla="*/ 0 w 186"/>
                <a:gd name="T15" fmla="*/ 295 h 471"/>
                <a:gd name="T16" fmla="*/ 0 w 186"/>
                <a:gd name="T17" fmla="*/ 26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471">
                  <a:moveTo>
                    <a:pt x="0" y="264"/>
                  </a:moveTo>
                  <a:cubicBezTo>
                    <a:pt x="2" y="211"/>
                    <a:pt x="15" y="157"/>
                    <a:pt x="39" y="106"/>
                  </a:cubicBezTo>
                  <a:cubicBezTo>
                    <a:pt x="58" y="66"/>
                    <a:pt x="82" y="30"/>
                    <a:pt x="111" y="0"/>
                  </a:cubicBezTo>
                  <a:lnTo>
                    <a:pt x="185" y="70"/>
                  </a:lnTo>
                  <a:cubicBezTo>
                    <a:pt x="164" y="92"/>
                    <a:pt x="146" y="119"/>
                    <a:pt x="132" y="149"/>
                  </a:cubicBezTo>
                  <a:cubicBezTo>
                    <a:pt x="89" y="240"/>
                    <a:pt x="94" y="340"/>
                    <a:pt x="137" y="422"/>
                  </a:cubicBezTo>
                  <a:lnTo>
                    <a:pt x="47" y="470"/>
                  </a:lnTo>
                  <a:cubicBezTo>
                    <a:pt x="19" y="416"/>
                    <a:pt x="3" y="356"/>
                    <a:pt x="0" y="295"/>
                  </a:cubicBezTo>
                  <a:lnTo>
                    <a:pt x="0" y="2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132">
              <a:extLst>
                <a:ext uri="{FF2B5EF4-FFF2-40B4-BE49-F238E27FC236}">
                  <a16:creationId xmlns:a16="http://schemas.microsoft.com/office/drawing/2014/main" id="{84C4B657-2AC8-BE4A-90A1-EF29BAF21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42782" y="5836678"/>
              <a:ext cx="177793" cy="168437"/>
            </a:xfrm>
            <a:custGeom>
              <a:avLst/>
              <a:gdLst>
                <a:gd name="T0" fmla="*/ 249 w 250"/>
                <a:gd name="T1" fmla="*/ 143 h 239"/>
                <a:gd name="T2" fmla="*/ 212 w 250"/>
                <a:gd name="T3" fmla="*/ 238 h 239"/>
                <a:gd name="T4" fmla="*/ 212 w 250"/>
                <a:gd name="T5" fmla="*/ 238 h 239"/>
                <a:gd name="T6" fmla="*/ 186 w 250"/>
                <a:gd name="T7" fmla="*/ 227 h 239"/>
                <a:gd name="T8" fmla="*/ 186 w 250"/>
                <a:gd name="T9" fmla="*/ 227 h 239"/>
                <a:gd name="T10" fmla="*/ 0 w 250"/>
                <a:gd name="T11" fmla="*/ 48 h 239"/>
                <a:gd name="T12" fmla="*/ 90 w 250"/>
                <a:gd name="T13" fmla="*/ 0 h 239"/>
                <a:gd name="T14" fmla="*/ 90 w 250"/>
                <a:gd name="T15" fmla="*/ 0 h 239"/>
                <a:gd name="T16" fmla="*/ 230 w 250"/>
                <a:gd name="T17" fmla="*/ 135 h 239"/>
                <a:gd name="T18" fmla="*/ 230 w 250"/>
                <a:gd name="T19" fmla="*/ 135 h 239"/>
                <a:gd name="T20" fmla="*/ 249 w 250"/>
                <a:gd name="T21" fmla="*/ 14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239">
                  <a:moveTo>
                    <a:pt x="249" y="143"/>
                  </a:moveTo>
                  <a:lnTo>
                    <a:pt x="212" y="238"/>
                  </a:lnTo>
                  <a:lnTo>
                    <a:pt x="212" y="238"/>
                  </a:lnTo>
                  <a:cubicBezTo>
                    <a:pt x="204" y="234"/>
                    <a:pt x="195" y="231"/>
                    <a:pt x="186" y="227"/>
                  </a:cubicBezTo>
                  <a:lnTo>
                    <a:pt x="186" y="227"/>
                  </a:lnTo>
                  <a:cubicBezTo>
                    <a:pt x="103" y="187"/>
                    <a:pt x="40" y="123"/>
                    <a:pt x="0" y="48"/>
                  </a:cubicBezTo>
                  <a:lnTo>
                    <a:pt x="90" y="0"/>
                  </a:lnTo>
                  <a:lnTo>
                    <a:pt x="90" y="0"/>
                  </a:lnTo>
                  <a:cubicBezTo>
                    <a:pt x="120" y="57"/>
                    <a:pt x="168" y="105"/>
                    <a:pt x="230" y="135"/>
                  </a:cubicBezTo>
                  <a:lnTo>
                    <a:pt x="230" y="135"/>
                  </a:lnTo>
                  <a:cubicBezTo>
                    <a:pt x="236" y="137"/>
                    <a:pt x="243" y="141"/>
                    <a:pt x="249" y="14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133">
              <a:extLst>
                <a:ext uri="{FF2B5EF4-FFF2-40B4-BE49-F238E27FC236}">
                  <a16:creationId xmlns:a16="http://schemas.microsoft.com/office/drawing/2014/main" id="{FA46A05A-62D3-1546-916C-265F6101D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4570279"/>
              <a:ext cx="577054" cy="617603"/>
            </a:xfrm>
            <a:custGeom>
              <a:avLst/>
              <a:gdLst>
                <a:gd name="T0" fmla="*/ 813 w 814"/>
                <a:gd name="T1" fmla="*/ 454 h 875"/>
                <a:gd name="T2" fmla="*/ 776 w 814"/>
                <a:gd name="T3" fmla="*/ 583 h 875"/>
                <a:gd name="T4" fmla="*/ 232 w 814"/>
                <a:gd name="T5" fmla="*/ 777 h 875"/>
                <a:gd name="T6" fmla="*/ 0 w 814"/>
                <a:gd name="T7" fmla="*/ 439 h 875"/>
                <a:gd name="T8" fmla="*/ 0 w 814"/>
                <a:gd name="T9" fmla="*/ 376 h 875"/>
                <a:gd name="T10" fmla="*/ 28 w 814"/>
                <a:gd name="T11" fmla="*/ 259 h 875"/>
                <a:gd name="T12" fmla="*/ 38 w 814"/>
                <a:gd name="T13" fmla="*/ 234 h 875"/>
                <a:gd name="T14" fmla="*/ 218 w 814"/>
                <a:gd name="T15" fmla="*/ 47 h 875"/>
                <a:gd name="T16" fmla="*/ 407 w 814"/>
                <a:gd name="T17" fmla="*/ 0 h 875"/>
                <a:gd name="T18" fmla="*/ 582 w 814"/>
                <a:gd name="T19" fmla="*/ 39 h 875"/>
                <a:gd name="T20" fmla="*/ 688 w 814"/>
                <a:gd name="T21" fmla="*/ 111 h 875"/>
                <a:gd name="T22" fmla="*/ 813 w 814"/>
                <a:gd name="T23" fmla="*/ 361 h 875"/>
                <a:gd name="T24" fmla="*/ 813 w 814"/>
                <a:gd name="T25" fmla="*/ 454 h 875"/>
                <a:gd name="T26" fmla="*/ 407 w 814"/>
                <a:gd name="T27" fmla="*/ 714 h 875"/>
                <a:gd name="T28" fmla="*/ 684 w 814"/>
                <a:gd name="T29" fmla="*/ 540 h 875"/>
                <a:gd name="T30" fmla="*/ 617 w 814"/>
                <a:gd name="T31" fmla="*/ 185 h 875"/>
                <a:gd name="T32" fmla="*/ 538 w 814"/>
                <a:gd name="T33" fmla="*/ 132 h 875"/>
                <a:gd name="T34" fmla="*/ 265 w 814"/>
                <a:gd name="T35" fmla="*/ 137 h 875"/>
                <a:gd name="T36" fmla="*/ 229 w 814"/>
                <a:gd name="T37" fmla="*/ 160 h 875"/>
                <a:gd name="T38" fmla="*/ 131 w 814"/>
                <a:gd name="T39" fmla="*/ 278 h 875"/>
                <a:gd name="T40" fmla="*/ 123 w 814"/>
                <a:gd name="T41" fmla="*/ 296 h 875"/>
                <a:gd name="T42" fmla="*/ 102 w 814"/>
                <a:gd name="T43" fmla="*/ 384 h 875"/>
                <a:gd name="T44" fmla="*/ 276 w 814"/>
                <a:gd name="T45" fmla="*/ 685 h 875"/>
                <a:gd name="T46" fmla="*/ 407 w 814"/>
                <a:gd name="T47" fmla="*/ 714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4" h="875">
                  <a:moveTo>
                    <a:pt x="813" y="454"/>
                  </a:moveTo>
                  <a:cubicBezTo>
                    <a:pt x="808" y="498"/>
                    <a:pt x="796" y="541"/>
                    <a:pt x="776" y="583"/>
                  </a:cubicBezTo>
                  <a:cubicBezTo>
                    <a:pt x="680" y="787"/>
                    <a:pt x="437" y="874"/>
                    <a:pt x="232" y="777"/>
                  </a:cubicBezTo>
                  <a:cubicBezTo>
                    <a:pt x="96" y="712"/>
                    <a:pt x="11" y="581"/>
                    <a:pt x="0" y="439"/>
                  </a:cubicBezTo>
                  <a:lnTo>
                    <a:pt x="0" y="376"/>
                  </a:lnTo>
                  <a:cubicBezTo>
                    <a:pt x="3" y="336"/>
                    <a:pt x="12" y="297"/>
                    <a:pt x="28" y="259"/>
                  </a:cubicBezTo>
                  <a:cubicBezTo>
                    <a:pt x="30" y="250"/>
                    <a:pt x="34" y="242"/>
                    <a:pt x="38" y="234"/>
                  </a:cubicBezTo>
                  <a:cubicBezTo>
                    <a:pt x="78" y="150"/>
                    <a:pt x="142" y="87"/>
                    <a:pt x="218" y="47"/>
                  </a:cubicBezTo>
                  <a:cubicBezTo>
                    <a:pt x="276" y="16"/>
                    <a:pt x="341" y="0"/>
                    <a:pt x="407" y="0"/>
                  </a:cubicBezTo>
                  <a:cubicBezTo>
                    <a:pt x="466" y="0"/>
                    <a:pt x="526" y="13"/>
                    <a:pt x="582" y="39"/>
                  </a:cubicBezTo>
                  <a:cubicBezTo>
                    <a:pt x="622" y="58"/>
                    <a:pt x="657" y="83"/>
                    <a:pt x="688" y="111"/>
                  </a:cubicBezTo>
                  <a:cubicBezTo>
                    <a:pt x="759" y="177"/>
                    <a:pt x="802" y="267"/>
                    <a:pt x="813" y="361"/>
                  </a:cubicBezTo>
                  <a:lnTo>
                    <a:pt x="813" y="454"/>
                  </a:lnTo>
                  <a:close/>
                  <a:moveTo>
                    <a:pt x="407" y="714"/>
                  </a:moveTo>
                  <a:cubicBezTo>
                    <a:pt x="522" y="714"/>
                    <a:pt x="632" y="650"/>
                    <a:pt x="684" y="540"/>
                  </a:cubicBezTo>
                  <a:cubicBezTo>
                    <a:pt x="742" y="416"/>
                    <a:pt x="711" y="274"/>
                    <a:pt x="617" y="185"/>
                  </a:cubicBezTo>
                  <a:cubicBezTo>
                    <a:pt x="594" y="164"/>
                    <a:pt x="568" y="146"/>
                    <a:pt x="538" y="132"/>
                  </a:cubicBezTo>
                  <a:cubicBezTo>
                    <a:pt x="448" y="89"/>
                    <a:pt x="347" y="94"/>
                    <a:pt x="265" y="137"/>
                  </a:cubicBezTo>
                  <a:cubicBezTo>
                    <a:pt x="253" y="143"/>
                    <a:pt x="240" y="151"/>
                    <a:pt x="229" y="160"/>
                  </a:cubicBezTo>
                  <a:cubicBezTo>
                    <a:pt x="188" y="189"/>
                    <a:pt x="154" y="229"/>
                    <a:pt x="131" y="278"/>
                  </a:cubicBezTo>
                  <a:cubicBezTo>
                    <a:pt x="128" y="284"/>
                    <a:pt x="125" y="290"/>
                    <a:pt x="123" y="296"/>
                  </a:cubicBezTo>
                  <a:cubicBezTo>
                    <a:pt x="111" y="325"/>
                    <a:pt x="104" y="355"/>
                    <a:pt x="102" y="384"/>
                  </a:cubicBezTo>
                  <a:cubicBezTo>
                    <a:pt x="92" y="507"/>
                    <a:pt x="158" y="629"/>
                    <a:pt x="276" y="685"/>
                  </a:cubicBezTo>
                  <a:cubicBezTo>
                    <a:pt x="319" y="705"/>
                    <a:pt x="363" y="714"/>
                    <a:pt x="407" y="7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134">
              <a:extLst>
                <a:ext uri="{FF2B5EF4-FFF2-40B4-BE49-F238E27FC236}">
                  <a16:creationId xmlns:a16="http://schemas.microsoft.com/office/drawing/2014/main" id="{BD666B54-F8D8-3541-975B-9BDA05CCE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4430" y="4570279"/>
              <a:ext cx="333756" cy="131007"/>
            </a:xfrm>
            <a:custGeom>
              <a:avLst/>
              <a:gdLst>
                <a:gd name="T0" fmla="*/ 206 w 471"/>
                <a:gd name="T1" fmla="*/ 0 h 186"/>
                <a:gd name="T2" fmla="*/ 364 w 471"/>
                <a:gd name="T3" fmla="*/ 39 h 186"/>
                <a:gd name="T4" fmla="*/ 470 w 471"/>
                <a:gd name="T5" fmla="*/ 111 h 186"/>
                <a:gd name="T6" fmla="*/ 399 w 471"/>
                <a:gd name="T7" fmla="*/ 185 h 186"/>
                <a:gd name="T8" fmla="*/ 320 w 471"/>
                <a:gd name="T9" fmla="*/ 132 h 186"/>
                <a:gd name="T10" fmla="*/ 47 w 471"/>
                <a:gd name="T11" fmla="*/ 137 h 186"/>
                <a:gd name="T12" fmla="*/ 0 w 471"/>
                <a:gd name="T13" fmla="*/ 47 h 186"/>
                <a:gd name="T14" fmla="*/ 175 w 471"/>
                <a:gd name="T15" fmla="*/ 0 h 186"/>
                <a:gd name="T16" fmla="*/ 206 w 471"/>
                <a:gd name="T1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1" h="186">
                  <a:moveTo>
                    <a:pt x="206" y="0"/>
                  </a:moveTo>
                  <a:cubicBezTo>
                    <a:pt x="259" y="2"/>
                    <a:pt x="313" y="14"/>
                    <a:pt x="364" y="39"/>
                  </a:cubicBezTo>
                  <a:cubicBezTo>
                    <a:pt x="404" y="58"/>
                    <a:pt x="439" y="83"/>
                    <a:pt x="470" y="111"/>
                  </a:cubicBezTo>
                  <a:lnTo>
                    <a:pt x="399" y="185"/>
                  </a:lnTo>
                  <a:cubicBezTo>
                    <a:pt x="377" y="164"/>
                    <a:pt x="350" y="146"/>
                    <a:pt x="320" y="132"/>
                  </a:cubicBezTo>
                  <a:cubicBezTo>
                    <a:pt x="230" y="89"/>
                    <a:pt x="129" y="94"/>
                    <a:pt x="47" y="137"/>
                  </a:cubicBezTo>
                  <a:lnTo>
                    <a:pt x="0" y="47"/>
                  </a:lnTo>
                  <a:cubicBezTo>
                    <a:pt x="54" y="18"/>
                    <a:pt x="113" y="2"/>
                    <a:pt x="175" y="0"/>
                  </a:cubicBezTo>
                  <a:lnTo>
                    <a:pt x="206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35C442D2-F18E-B443-80C9-0D56E735FF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08469" y="4601472"/>
              <a:ext cx="189565" cy="239460"/>
            </a:xfrm>
            <a:custGeom>
              <a:avLst/>
              <a:gdLst>
                <a:gd name="connsiteX0" fmla="*/ 144331 w 175046"/>
                <a:gd name="connsiteY0" fmla="*/ 0 h 221119"/>
                <a:gd name="connsiteX1" fmla="*/ 175046 w 175046"/>
                <a:gd name="connsiteY1" fmla="*/ 59103 h 221119"/>
                <a:gd name="connsiteX2" fmla="*/ 87476 w 175046"/>
                <a:gd name="connsiteY2" fmla="*/ 151699 h 221119"/>
                <a:gd name="connsiteX3" fmla="*/ 82248 w 175046"/>
                <a:gd name="connsiteY3" fmla="*/ 163520 h 221119"/>
                <a:gd name="connsiteX4" fmla="*/ 54443 w 175046"/>
                <a:gd name="connsiteY4" fmla="*/ 152638 h 221119"/>
                <a:gd name="connsiteX5" fmla="*/ 79998 w 175046"/>
                <a:gd name="connsiteY5" fmla="*/ 162782 h 221119"/>
                <a:gd name="connsiteX6" fmla="*/ 66339 w 175046"/>
                <a:gd name="connsiteY6" fmla="*/ 221119 h 221119"/>
                <a:gd name="connsiteX7" fmla="*/ 0 w 175046"/>
                <a:gd name="connsiteY7" fmla="*/ 215816 h 221119"/>
                <a:gd name="connsiteX8" fmla="*/ 18211 w 175046"/>
                <a:gd name="connsiteY8" fmla="*/ 138254 h 221119"/>
                <a:gd name="connsiteX9" fmla="*/ 20230 w 175046"/>
                <a:gd name="connsiteY9" fmla="*/ 139056 h 221119"/>
                <a:gd name="connsiteX10" fmla="*/ 26699 w 175046"/>
                <a:gd name="connsiteY10" fmla="*/ 122804 h 221119"/>
                <a:gd name="connsiteX11" fmla="*/ 144331 w 175046"/>
                <a:gd name="connsiteY11" fmla="*/ 0 h 22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046" h="221119">
                  <a:moveTo>
                    <a:pt x="144331" y="0"/>
                  </a:moveTo>
                  <a:lnTo>
                    <a:pt x="175046" y="59103"/>
                  </a:lnTo>
                  <a:cubicBezTo>
                    <a:pt x="137796" y="78805"/>
                    <a:pt x="106428" y="110326"/>
                    <a:pt x="87476" y="151699"/>
                  </a:cubicBezTo>
                  <a:cubicBezTo>
                    <a:pt x="85515" y="155639"/>
                    <a:pt x="83555" y="159579"/>
                    <a:pt x="82248" y="163520"/>
                  </a:cubicBezTo>
                  <a:lnTo>
                    <a:pt x="54443" y="152638"/>
                  </a:lnTo>
                  <a:lnTo>
                    <a:pt x="79998" y="162782"/>
                  </a:lnTo>
                  <a:cubicBezTo>
                    <a:pt x="72193" y="182007"/>
                    <a:pt x="67640" y="201895"/>
                    <a:pt x="66339" y="221119"/>
                  </a:cubicBezTo>
                  <a:lnTo>
                    <a:pt x="0" y="215816"/>
                  </a:lnTo>
                  <a:cubicBezTo>
                    <a:pt x="1951" y="189299"/>
                    <a:pt x="7805" y="163445"/>
                    <a:pt x="18211" y="138254"/>
                  </a:cubicBezTo>
                  <a:lnTo>
                    <a:pt x="20230" y="139056"/>
                  </a:lnTo>
                  <a:lnTo>
                    <a:pt x="26699" y="122804"/>
                  </a:lnTo>
                  <a:cubicBezTo>
                    <a:pt x="52840" y="67641"/>
                    <a:pt x="94664" y="26268"/>
                    <a:pt x="14433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C93F2913-FE82-1943-A21D-71373E7A2745}"/>
                </a:ext>
              </a:extLst>
            </p:cNvPr>
            <p:cNvSpPr/>
            <p:nvPr/>
          </p:nvSpPr>
          <p:spPr>
            <a:xfrm>
              <a:off x="8999697" y="3019220"/>
              <a:ext cx="957138" cy="469507"/>
            </a:xfrm>
            <a:custGeom>
              <a:avLst/>
              <a:gdLst>
                <a:gd name="connsiteX0" fmla="*/ 0 w 883829"/>
                <a:gd name="connsiteY0" fmla="*/ 342107 h 433547"/>
                <a:gd name="connsiteX1" fmla="*/ 883829 w 883829"/>
                <a:gd name="connsiteY1" fmla="*/ 342107 h 433547"/>
                <a:gd name="connsiteX2" fmla="*/ 883829 w 883829"/>
                <a:gd name="connsiteY2" fmla="*/ 433547 h 433547"/>
                <a:gd name="connsiteX3" fmla="*/ 0 w 883829"/>
                <a:gd name="connsiteY3" fmla="*/ 433547 h 433547"/>
                <a:gd name="connsiteX4" fmla="*/ 0 w 883829"/>
                <a:gd name="connsiteY4" fmla="*/ 171054 h 433547"/>
                <a:gd name="connsiteX5" fmla="*/ 883829 w 883829"/>
                <a:gd name="connsiteY5" fmla="*/ 171054 h 433547"/>
                <a:gd name="connsiteX6" fmla="*/ 883829 w 883829"/>
                <a:gd name="connsiteY6" fmla="*/ 262494 h 433547"/>
                <a:gd name="connsiteX7" fmla="*/ 0 w 883829"/>
                <a:gd name="connsiteY7" fmla="*/ 262494 h 433547"/>
                <a:gd name="connsiteX8" fmla="*/ 0 w 883829"/>
                <a:gd name="connsiteY8" fmla="*/ 0 h 433547"/>
                <a:gd name="connsiteX9" fmla="*/ 883829 w 883829"/>
                <a:gd name="connsiteY9" fmla="*/ 0 h 433547"/>
                <a:gd name="connsiteX10" fmla="*/ 883829 w 883829"/>
                <a:gd name="connsiteY10" fmla="*/ 91440 h 433547"/>
                <a:gd name="connsiteX11" fmla="*/ 0 w 883829"/>
                <a:gd name="connsiteY11" fmla="*/ 91440 h 43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3829" h="433547">
                  <a:moveTo>
                    <a:pt x="0" y="342107"/>
                  </a:moveTo>
                  <a:lnTo>
                    <a:pt x="883829" y="342107"/>
                  </a:lnTo>
                  <a:lnTo>
                    <a:pt x="883829" y="433547"/>
                  </a:lnTo>
                  <a:lnTo>
                    <a:pt x="0" y="433547"/>
                  </a:lnTo>
                  <a:close/>
                  <a:moveTo>
                    <a:pt x="0" y="171054"/>
                  </a:moveTo>
                  <a:lnTo>
                    <a:pt x="883829" y="171054"/>
                  </a:lnTo>
                  <a:lnTo>
                    <a:pt x="883829" y="262494"/>
                  </a:lnTo>
                  <a:lnTo>
                    <a:pt x="0" y="262494"/>
                  </a:lnTo>
                  <a:close/>
                  <a:moveTo>
                    <a:pt x="0" y="0"/>
                  </a:moveTo>
                  <a:lnTo>
                    <a:pt x="883829" y="0"/>
                  </a:lnTo>
                  <a:lnTo>
                    <a:pt x="883829" y="91440"/>
                  </a:lnTo>
                  <a:lnTo>
                    <a:pt x="0" y="914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F6F28DF0-FEE7-CA43-AA7D-132F479B0094}"/>
                </a:ext>
              </a:extLst>
            </p:cNvPr>
            <p:cNvSpPr/>
            <p:nvPr/>
          </p:nvSpPr>
          <p:spPr>
            <a:xfrm>
              <a:off x="10121444" y="3003934"/>
              <a:ext cx="495643" cy="495643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D9947A16-ED13-D44E-B3B6-CBB19D5C8D4B}"/>
                </a:ext>
              </a:extLst>
            </p:cNvPr>
            <p:cNvSpPr/>
            <p:nvPr/>
          </p:nvSpPr>
          <p:spPr>
            <a:xfrm>
              <a:off x="9023203" y="3978419"/>
              <a:ext cx="2196267" cy="2676420"/>
            </a:xfrm>
            <a:custGeom>
              <a:avLst/>
              <a:gdLst>
                <a:gd name="connsiteX0" fmla="*/ 1841976 w 2028052"/>
                <a:gd name="connsiteY0" fmla="*/ 2379989 h 2471429"/>
                <a:gd name="connsiteX1" fmla="*/ 2024856 w 2028052"/>
                <a:gd name="connsiteY1" fmla="*/ 2379989 h 2471429"/>
                <a:gd name="connsiteX2" fmla="*/ 2024856 w 2028052"/>
                <a:gd name="connsiteY2" fmla="*/ 2471429 h 2471429"/>
                <a:gd name="connsiteX3" fmla="*/ 1841976 w 2028052"/>
                <a:gd name="connsiteY3" fmla="*/ 2471429 h 2471429"/>
                <a:gd name="connsiteX4" fmla="*/ 842136 w 2028052"/>
                <a:gd name="connsiteY4" fmla="*/ 2379989 h 2471429"/>
                <a:gd name="connsiteX5" fmla="*/ 1725965 w 2028052"/>
                <a:gd name="connsiteY5" fmla="*/ 2379989 h 2471429"/>
                <a:gd name="connsiteX6" fmla="*/ 1725965 w 2028052"/>
                <a:gd name="connsiteY6" fmla="*/ 2471429 h 2471429"/>
                <a:gd name="connsiteX7" fmla="*/ 842136 w 2028052"/>
                <a:gd name="connsiteY7" fmla="*/ 2471429 h 2471429"/>
                <a:gd name="connsiteX8" fmla="*/ 0 w 2028052"/>
                <a:gd name="connsiteY8" fmla="*/ 2379989 h 2471429"/>
                <a:gd name="connsiteX9" fmla="*/ 731520 w 2028052"/>
                <a:gd name="connsiteY9" fmla="*/ 2379989 h 2471429"/>
                <a:gd name="connsiteX10" fmla="*/ 731520 w 2028052"/>
                <a:gd name="connsiteY10" fmla="*/ 2471429 h 2471429"/>
                <a:gd name="connsiteX11" fmla="*/ 0 w 2028052"/>
                <a:gd name="connsiteY11" fmla="*/ 2471429 h 2471429"/>
                <a:gd name="connsiteX12" fmla="*/ 1841976 w 2028052"/>
                <a:gd name="connsiteY12" fmla="*/ 2198093 h 2471429"/>
                <a:gd name="connsiteX13" fmla="*/ 2024856 w 2028052"/>
                <a:gd name="connsiteY13" fmla="*/ 2198093 h 2471429"/>
                <a:gd name="connsiteX14" fmla="*/ 2024856 w 2028052"/>
                <a:gd name="connsiteY14" fmla="*/ 2289533 h 2471429"/>
                <a:gd name="connsiteX15" fmla="*/ 1841976 w 2028052"/>
                <a:gd name="connsiteY15" fmla="*/ 2289533 h 2471429"/>
                <a:gd name="connsiteX16" fmla="*/ 842136 w 2028052"/>
                <a:gd name="connsiteY16" fmla="*/ 2198093 h 2471429"/>
                <a:gd name="connsiteX17" fmla="*/ 1725965 w 2028052"/>
                <a:gd name="connsiteY17" fmla="*/ 2198093 h 2471429"/>
                <a:gd name="connsiteX18" fmla="*/ 1725965 w 2028052"/>
                <a:gd name="connsiteY18" fmla="*/ 2289533 h 2471429"/>
                <a:gd name="connsiteX19" fmla="*/ 842136 w 2028052"/>
                <a:gd name="connsiteY19" fmla="*/ 2289533 h 2471429"/>
                <a:gd name="connsiteX20" fmla="*/ 0 w 2028052"/>
                <a:gd name="connsiteY20" fmla="*/ 2198093 h 2471429"/>
                <a:gd name="connsiteX21" fmla="*/ 731520 w 2028052"/>
                <a:gd name="connsiteY21" fmla="*/ 2198093 h 2471429"/>
                <a:gd name="connsiteX22" fmla="*/ 731520 w 2028052"/>
                <a:gd name="connsiteY22" fmla="*/ 2289533 h 2471429"/>
                <a:gd name="connsiteX23" fmla="*/ 0 w 2028052"/>
                <a:gd name="connsiteY23" fmla="*/ 2289533 h 2471429"/>
                <a:gd name="connsiteX24" fmla="*/ 1296532 w 2028052"/>
                <a:gd name="connsiteY24" fmla="*/ 181896 h 2471429"/>
                <a:gd name="connsiteX25" fmla="*/ 2028052 w 2028052"/>
                <a:gd name="connsiteY25" fmla="*/ 181896 h 2471429"/>
                <a:gd name="connsiteX26" fmla="*/ 2028052 w 2028052"/>
                <a:gd name="connsiteY26" fmla="*/ 273336 h 2471429"/>
                <a:gd name="connsiteX27" fmla="*/ 1296532 w 2028052"/>
                <a:gd name="connsiteY27" fmla="*/ 273336 h 2471429"/>
                <a:gd name="connsiteX28" fmla="*/ 1000829 w 2028052"/>
                <a:gd name="connsiteY28" fmla="*/ 181896 h 2471429"/>
                <a:gd name="connsiteX29" fmla="*/ 1183709 w 2028052"/>
                <a:gd name="connsiteY29" fmla="*/ 181896 h 2471429"/>
                <a:gd name="connsiteX30" fmla="*/ 1183709 w 2028052"/>
                <a:gd name="connsiteY30" fmla="*/ 273336 h 2471429"/>
                <a:gd name="connsiteX31" fmla="*/ 1000829 w 2028052"/>
                <a:gd name="connsiteY31" fmla="*/ 273336 h 2471429"/>
                <a:gd name="connsiteX32" fmla="*/ 989 w 2028052"/>
                <a:gd name="connsiteY32" fmla="*/ 181896 h 2471429"/>
                <a:gd name="connsiteX33" fmla="*/ 884818 w 2028052"/>
                <a:gd name="connsiteY33" fmla="*/ 181896 h 2471429"/>
                <a:gd name="connsiteX34" fmla="*/ 884818 w 2028052"/>
                <a:gd name="connsiteY34" fmla="*/ 273336 h 2471429"/>
                <a:gd name="connsiteX35" fmla="*/ 989 w 2028052"/>
                <a:gd name="connsiteY35" fmla="*/ 273336 h 2471429"/>
                <a:gd name="connsiteX36" fmla="*/ 1296532 w 2028052"/>
                <a:gd name="connsiteY36" fmla="*/ 0 h 2471429"/>
                <a:gd name="connsiteX37" fmla="*/ 2028052 w 2028052"/>
                <a:gd name="connsiteY37" fmla="*/ 0 h 2471429"/>
                <a:gd name="connsiteX38" fmla="*/ 2028052 w 2028052"/>
                <a:gd name="connsiteY38" fmla="*/ 91440 h 2471429"/>
                <a:gd name="connsiteX39" fmla="*/ 1296532 w 2028052"/>
                <a:gd name="connsiteY39" fmla="*/ 91440 h 2471429"/>
                <a:gd name="connsiteX40" fmla="*/ 1000829 w 2028052"/>
                <a:gd name="connsiteY40" fmla="*/ 0 h 2471429"/>
                <a:gd name="connsiteX41" fmla="*/ 1183709 w 2028052"/>
                <a:gd name="connsiteY41" fmla="*/ 0 h 2471429"/>
                <a:gd name="connsiteX42" fmla="*/ 1183709 w 2028052"/>
                <a:gd name="connsiteY42" fmla="*/ 91440 h 2471429"/>
                <a:gd name="connsiteX43" fmla="*/ 1000829 w 2028052"/>
                <a:gd name="connsiteY43" fmla="*/ 91440 h 2471429"/>
                <a:gd name="connsiteX44" fmla="*/ 989 w 2028052"/>
                <a:gd name="connsiteY44" fmla="*/ 0 h 2471429"/>
                <a:gd name="connsiteX45" fmla="*/ 884818 w 2028052"/>
                <a:gd name="connsiteY45" fmla="*/ 0 h 2471429"/>
                <a:gd name="connsiteX46" fmla="*/ 884818 w 2028052"/>
                <a:gd name="connsiteY46" fmla="*/ 91440 h 2471429"/>
                <a:gd name="connsiteX47" fmla="*/ 989 w 2028052"/>
                <a:gd name="connsiteY47" fmla="*/ 91440 h 24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028052" h="2471429">
                  <a:moveTo>
                    <a:pt x="1841976" y="2379989"/>
                  </a:moveTo>
                  <a:lnTo>
                    <a:pt x="2024856" y="2379989"/>
                  </a:lnTo>
                  <a:lnTo>
                    <a:pt x="2024856" y="2471429"/>
                  </a:lnTo>
                  <a:lnTo>
                    <a:pt x="1841976" y="2471429"/>
                  </a:lnTo>
                  <a:close/>
                  <a:moveTo>
                    <a:pt x="842136" y="2379989"/>
                  </a:moveTo>
                  <a:lnTo>
                    <a:pt x="1725965" y="2379989"/>
                  </a:lnTo>
                  <a:lnTo>
                    <a:pt x="1725965" y="2471429"/>
                  </a:lnTo>
                  <a:lnTo>
                    <a:pt x="842136" y="2471429"/>
                  </a:lnTo>
                  <a:close/>
                  <a:moveTo>
                    <a:pt x="0" y="2379989"/>
                  </a:moveTo>
                  <a:lnTo>
                    <a:pt x="731520" y="2379989"/>
                  </a:lnTo>
                  <a:lnTo>
                    <a:pt x="731520" y="2471429"/>
                  </a:lnTo>
                  <a:lnTo>
                    <a:pt x="0" y="2471429"/>
                  </a:lnTo>
                  <a:close/>
                  <a:moveTo>
                    <a:pt x="1841976" y="2198093"/>
                  </a:moveTo>
                  <a:lnTo>
                    <a:pt x="2024856" y="2198093"/>
                  </a:lnTo>
                  <a:lnTo>
                    <a:pt x="2024856" y="2289533"/>
                  </a:lnTo>
                  <a:lnTo>
                    <a:pt x="1841976" y="2289533"/>
                  </a:lnTo>
                  <a:close/>
                  <a:moveTo>
                    <a:pt x="842136" y="2198093"/>
                  </a:moveTo>
                  <a:lnTo>
                    <a:pt x="1725965" y="2198093"/>
                  </a:lnTo>
                  <a:lnTo>
                    <a:pt x="1725965" y="2289533"/>
                  </a:lnTo>
                  <a:lnTo>
                    <a:pt x="842136" y="2289533"/>
                  </a:lnTo>
                  <a:close/>
                  <a:moveTo>
                    <a:pt x="0" y="2198093"/>
                  </a:moveTo>
                  <a:lnTo>
                    <a:pt x="731520" y="2198093"/>
                  </a:lnTo>
                  <a:lnTo>
                    <a:pt x="731520" y="2289533"/>
                  </a:lnTo>
                  <a:lnTo>
                    <a:pt x="0" y="2289533"/>
                  </a:lnTo>
                  <a:close/>
                  <a:moveTo>
                    <a:pt x="1296532" y="181896"/>
                  </a:moveTo>
                  <a:lnTo>
                    <a:pt x="2028052" y="181896"/>
                  </a:lnTo>
                  <a:lnTo>
                    <a:pt x="2028052" y="273336"/>
                  </a:lnTo>
                  <a:lnTo>
                    <a:pt x="1296532" y="273336"/>
                  </a:lnTo>
                  <a:close/>
                  <a:moveTo>
                    <a:pt x="1000829" y="181896"/>
                  </a:moveTo>
                  <a:lnTo>
                    <a:pt x="1183709" y="181896"/>
                  </a:lnTo>
                  <a:lnTo>
                    <a:pt x="1183709" y="273336"/>
                  </a:lnTo>
                  <a:lnTo>
                    <a:pt x="1000829" y="273336"/>
                  </a:lnTo>
                  <a:close/>
                  <a:moveTo>
                    <a:pt x="989" y="181896"/>
                  </a:moveTo>
                  <a:lnTo>
                    <a:pt x="884818" y="181896"/>
                  </a:lnTo>
                  <a:lnTo>
                    <a:pt x="884818" y="273336"/>
                  </a:lnTo>
                  <a:lnTo>
                    <a:pt x="989" y="273336"/>
                  </a:lnTo>
                  <a:close/>
                  <a:moveTo>
                    <a:pt x="1296532" y="0"/>
                  </a:moveTo>
                  <a:lnTo>
                    <a:pt x="2028052" y="0"/>
                  </a:lnTo>
                  <a:lnTo>
                    <a:pt x="2028052" y="91440"/>
                  </a:lnTo>
                  <a:lnTo>
                    <a:pt x="1296532" y="91440"/>
                  </a:lnTo>
                  <a:close/>
                  <a:moveTo>
                    <a:pt x="1000829" y="0"/>
                  </a:moveTo>
                  <a:lnTo>
                    <a:pt x="1183709" y="0"/>
                  </a:lnTo>
                  <a:lnTo>
                    <a:pt x="1183709" y="91440"/>
                  </a:lnTo>
                  <a:lnTo>
                    <a:pt x="1000829" y="91440"/>
                  </a:lnTo>
                  <a:close/>
                  <a:moveTo>
                    <a:pt x="989" y="0"/>
                  </a:moveTo>
                  <a:lnTo>
                    <a:pt x="884818" y="0"/>
                  </a:lnTo>
                  <a:lnTo>
                    <a:pt x="884818" y="91440"/>
                  </a:lnTo>
                  <a:lnTo>
                    <a:pt x="989" y="914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27F971E-9D30-5242-9F41-AF2622A30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Workload</a:t>
            </a:r>
          </a:p>
        </p:txBody>
      </p:sp>
    </p:spTree>
    <p:extLst>
      <p:ext uri="{BB962C8B-B14F-4D97-AF65-F5344CB8AC3E}">
        <p14:creationId xmlns:p14="http://schemas.microsoft.com/office/powerpoint/2010/main" val="344832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692</TotalTime>
  <Words>3159</Words>
  <Application>Microsoft Macintosh PowerPoint</Application>
  <PresentationFormat>Widescreen</PresentationFormat>
  <Paragraphs>677</Paragraphs>
  <Slides>52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4" baseType="lpstr">
      <vt:lpstr>Arial</vt:lpstr>
      <vt:lpstr>Avenir Next Condensed</vt:lpstr>
      <vt:lpstr>Calibri</vt:lpstr>
      <vt:lpstr>Courier New</vt:lpstr>
      <vt:lpstr>Fairwater Script</vt:lpstr>
      <vt:lpstr>Lato Light</vt:lpstr>
      <vt:lpstr>Poppins</vt:lpstr>
      <vt:lpstr>Roboto</vt:lpstr>
      <vt:lpstr>Verdana</vt:lpstr>
      <vt:lpstr>Wingdings</vt:lpstr>
      <vt:lpstr>PLE19 Master</vt:lpstr>
      <vt:lpstr>think-cell Slide</vt:lpstr>
      <vt:lpstr>PowerPoint Presentation</vt:lpstr>
      <vt:lpstr>PowerPoint Presentation</vt:lpstr>
      <vt:lpstr>Database Performance</vt:lpstr>
      <vt:lpstr>Database Performance</vt:lpstr>
      <vt:lpstr>Database Performance</vt:lpstr>
      <vt:lpstr>Software</vt:lpstr>
      <vt:lpstr>Hardware</vt:lpstr>
      <vt:lpstr>Operating System</vt:lpstr>
      <vt:lpstr>Workload</vt:lpstr>
      <vt:lpstr>Database</vt:lpstr>
      <vt:lpstr>PostgreSQL Architecture</vt:lpstr>
      <vt:lpstr>PostgreSQL Architecture</vt:lpstr>
      <vt:lpstr>PostgreSQL Performance Tuning</vt:lpstr>
      <vt:lpstr>Database Performance</vt:lpstr>
      <vt:lpstr>Tunning Parameters</vt:lpstr>
      <vt:lpstr>shared_buffers</vt:lpstr>
      <vt:lpstr>wal_buffer</vt:lpstr>
      <vt:lpstr>effective_cache_size </vt:lpstr>
      <vt:lpstr>work_mem</vt:lpstr>
      <vt:lpstr>work_mem</vt:lpstr>
      <vt:lpstr>maintenance_work_mem</vt:lpstr>
      <vt:lpstr>maintenance_work_mem</vt:lpstr>
      <vt:lpstr>synchronous_commit</vt:lpstr>
      <vt:lpstr>Tunning Parameters</vt:lpstr>
      <vt:lpstr>checkpoint_timeout</vt:lpstr>
      <vt:lpstr>checkpoint_completion_target</vt:lpstr>
      <vt:lpstr>max_wal_size</vt:lpstr>
      <vt:lpstr>PostgreSQL Indexes</vt:lpstr>
      <vt:lpstr>Heap / Index</vt:lpstr>
      <vt:lpstr>PostgreSQL Indexes</vt:lpstr>
      <vt:lpstr>Sequential Scan</vt:lpstr>
      <vt:lpstr>B-Tree Index</vt:lpstr>
      <vt:lpstr>Hash Index</vt:lpstr>
      <vt:lpstr>Linux Tuning for PostgreSQL</vt:lpstr>
      <vt:lpstr>Linux Tunning</vt:lpstr>
      <vt:lpstr>Input Output Handling</vt:lpstr>
      <vt:lpstr>Virtual Memory</vt:lpstr>
      <vt:lpstr>Translation Lookaside Buffer (TLB)</vt:lpstr>
      <vt:lpstr>Memory Pages</vt:lpstr>
      <vt:lpstr>Linux Page sizes</vt:lpstr>
      <vt:lpstr>Classic Huge Pages</vt:lpstr>
      <vt:lpstr>Tunning Parameters</vt:lpstr>
      <vt:lpstr>Classic Huge Pages</vt:lpstr>
      <vt:lpstr>Classic Huge Pages</vt:lpstr>
      <vt:lpstr>Transparent Huge pages</vt:lpstr>
      <vt:lpstr>Disabling Transparent Huge pages</vt:lpstr>
      <vt:lpstr>vm.swappines</vt:lpstr>
      <vt:lpstr>vm.overcommit_memory and vm.overcommit_ratio</vt:lpstr>
      <vt:lpstr>vm.dirty_background_ratio and vm.dirty_background_bytes</vt:lpstr>
      <vt:lpstr>vm.dirty_ratio / vm.dirty_byt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ppt.com</dc:creator>
  <cp:lastModifiedBy>Ibrar Ahmed</cp:lastModifiedBy>
  <cp:revision>177</cp:revision>
  <dcterms:created xsi:type="dcterms:W3CDTF">2019-01-14T06:35:35Z</dcterms:created>
  <dcterms:modified xsi:type="dcterms:W3CDTF">2022-04-09T06:42:46Z</dcterms:modified>
</cp:coreProperties>
</file>